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omments/modernComment_19D_C5CB738D.xml" ContentType="application/vnd.ms-powerpoint.comments+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67" r:id="rId5"/>
    <p:sldMasterId id="2147483678" r:id="rId6"/>
  </p:sldMasterIdLst>
  <p:notesMasterIdLst>
    <p:notesMasterId r:id="rId32"/>
  </p:notesMasterIdLst>
  <p:handoutMasterIdLst>
    <p:handoutMasterId r:id="rId33"/>
  </p:handoutMasterIdLst>
  <p:sldIdLst>
    <p:sldId id="452" r:id="rId7"/>
    <p:sldId id="453" r:id="rId8"/>
    <p:sldId id="256" r:id="rId9"/>
    <p:sldId id="826" r:id="rId10"/>
    <p:sldId id="828" r:id="rId11"/>
    <p:sldId id="827" r:id="rId12"/>
    <p:sldId id="470" r:id="rId13"/>
    <p:sldId id="1123" r:id="rId14"/>
    <p:sldId id="1124" r:id="rId15"/>
    <p:sldId id="829" r:id="rId16"/>
    <p:sldId id="831" r:id="rId17"/>
    <p:sldId id="832" r:id="rId18"/>
    <p:sldId id="463" r:id="rId19"/>
    <p:sldId id="833" r:id="rId20"/>
    <p:sldId id="278" r:id="rId21"/>
    <p:sldId id="297" r:id="rId22"/>
    <p:sldId id="1121" r:id="rId23"/>
    <p:sldId id="529" r:id="rId24"/>
    <p:sldId id="566" r:id="rId25"/>
    <p:sldId id="1122" r:id="rId26"/>
    <p:sldId id="1081" r:id="rId27"/>
    <p:sldId id="1120" r:id="rId28"/>
    <p:sldId id="266" r:id="rId29"/>
    <p:sldId id="413" r:id="rId30"/>
    <p:sldId id="830" r:id="rId31"/>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25B64C-017E-9048-1304-E08AEE46E184}" name="Cuddy, Josh (EHS)" initials="CJ(" userId="S::Josh.Cuddy@mass.gov::750e0ac1-d142-4271-9416-5dc2c5f2183f" providerId="AD"/>
  <p188:author id="{1CEFA0B9-1EE4-F8FC-B3C4-63CCBCFCA682}" name="Diamond, Bekah (EHS)" initials="DB(" userId="S::Bekah.Diamond@mass.gov::62283d1f-d819-4869-836c-847d81f8d8e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Fine, Mark (ANF)" initials="FM" lastIdx="8" clrIdx="0"/>
  <p:cmAuthor id="7" name="Cohen, Gabriel R. (EHS)" initials="CGR(" lastIdx="8" clrIdx="7">
    <p:extLst>
      <p:ext uri="{19B8F6BF-5375-455C-9EA6-DF929625EA0E}">
        <p15:presenceInfo xmlns:p15="http://schemas.microsoft.com/office/powerpoint/2012/main" userId="S::Gabriel.R.Cohen@mass.gov::e20ddc8d-0929-4427-8e44-0c6a2a0adacf" providerId="AD"/>
      </p:ext>
    </p:extLst>
  </p:cmAuthor>
  <p:cmAuthor id="1" name="Sanchez, Natalie (ANF)" initials="SN(" lastIdx="0" clrIdx="1"/>
  <p:cmAuthor id="8" name="Nicole Charon" initials="NC" lastIdx="3" clrIdx="8">
    <p:extLst>
      <p:ext uri="{19B8F6BF-5375-455C-9EA6-DF929625EA0E}">
        <p15:presenceInfo xmlns:p15="http://schemas.microsoft.com/office/powerpoint/2012/main" userId="d9d9a5f5567776e4" providerId="Windows Live"/>
      </p:ext>
    </p:extLst>
  </p:cmAuthor>
  <p:cmAuthor id="2" name="O'Malley, Helen (ANF)" initials="OH" lastIdx="1" clrIdx="2"/>
  <p:cmAuthor id="9" name="Diamond, Bekah (EHS)" initials="DB(" lastIdx="3" clrIdx="9">
    <p:extLst>
      <p:ext uri="{19B8F6BF-5375-455C-9EA6-DF929625EA0E}">
        <p15:presenceInfo xmlns:p15="http://schemas.microsoft.com/office/powerpoint/2012/main" userId="S::Bekah.Diamond@mass.gov::62283d1f-d819-4869-836c-847d81f8d8e2" providerId="AD"/>
      </p:ext>
    </p:extLst>
  </p:cmAuthor>
  <p:cmAuthor id="3" name="Gabriel Cohen" initials="GC" lastIdx="18" clrIdx="3"/>
  <p:cmAuthor id="4" name="Ruiz, Sarah (DPH)" initials="RS(" lastIdx="19" clrIdx="4"/>
  <p:cmAuthor id="5" name="Sudders, Marylou (EHS)" initials="SM(" lastIdx="13" clrIdx="5"/>
  <p:cmAuthor id="6" name="Sully Roberts" initials="SR" lastIdx="4"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9D6E9E-B5FD-4C4F-B28A-9F9CD4010A71}" v="3" dt="2022-09-30T17:46:23.3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12" autoAdjust="0"/>
    <p:restoredTop sz="81003" autoAdjust="0"/>
  </p:normalViewPr>
  <p:slideViewPr>
    <p:cSldViewPr>
      <p:cViewPr>
        <p:scale>
          <a:sx n="66" d="100"/>
          <a:sy n="66" d="100"/>
        </p:scale>
        <p:origin x="1596" y="-1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uddy, Josh (EHS)" userId="750e0ac1-d142-4271-9416-5dc2c5f2183f" providerId="ADAL" clId="{839D6E9E-B5FD-4C4F-B28A-9F9CD4010A71}"/>
    <pc:docChg chg="addSld delSld modSld">
      <pc:chgData name="Cuddy, Josh (EHS)" userId="750e0ac1-d142-4271-9416-5dc2c5f2183f" providerId="ADAL" clId="{839D6E9E-B5FD-4C4F-B28A-9F9CD4010A71}" dt="2022-09-30T17:20:23.309" v="3" actId="2696"/>
      <pc:docMkLst>
        <pc:docMk/>
      </pc:docMkLst>
      <pc:sldChg chg="del">
        <pc:chgData name="Cuddy, Josh (EHS)" userId="750e0ac1-d142-4271-9416-5dc2c5f2183f" providerId="ADAL" clId="{839D6E9E-B5FD-4C4F-B28A-9F9CD4010A71}" dt="2022-09-30T17:20:23.309" v="3" actId="2696"/>
        <pc:sldMkLst>
          <pc:docMk/>
          <pc:sldMk cId="2978789786" sldId="461"/>
        </pc:sldMkLst>
      </pc:sldChg>
      <pc:sldChg chg="del">
        <pc:chgData name="Cuddy, Josh (EHS)" userId="750e0ac1-d142-4271-9416-5dc2c5f2183f" providerId="ADAL" clId="{839D6E9E-B5FD-4C4F-B28A-9F9CD4010A71}" dt="2022-09-30T17:19:09.672" v="1" actId="2696"/>
        <pc:sldMkLst>
          <pc:docMk/>
          <pc:sldMk cId="3351203184" sldId="462"/>
        </pc:sldMkLst>
      </pc:sldChg>
      <pc:sldChg chg="add">
        <pc:chgData name="Cuddy, Josh (EHS)" userId="750e0ac1-d142-4271-9416-5dc2c5f2183f" providerId="ADAL" clId="{839D6E9E-B5FD-4C4F-B28A-9F9CD4010A71}" dt="2022-09-30T17:19:05.482" v="0"/>
        <pc:sldMkLst>
          <pc:docMk/>
          <pc:sldMk cId="4149295057" sldId="1123"/>
        </pc:sldMkLst>
      </pc:sldChg>
      <pc:sldChg chg="add">
        <pc:chgData name="Cuddy, Josh (EHS)" userId="750e0ac1-d142-4271-9416-5dc2c5f2183f" providerId="ADAL" clId="{839D6E9E-B5FD-4C4F-B28A-9F9CD4010A71}" dt="2022-09-30T17:19:18.866" v="2"/>
        <pc:sldMkLst>
          <pc:docMk/>
          <pc:sldMk cId="4106881207" sldId="1124"/>
        </pc:sldMkLst>
      </pc:sldChg>
    </pc:docChg>
  </pc:docChgLst>
</pc:chgInfo>
</file>

<file path=ppt/comments/modernComment_19D_C5CB738D.xml><?xml version="1.0" encoding="utf-8"?>
<p188:cmLst xmlns:a="http://schemas.openxmlformats.org/drawingml/2006/main" xmlns:r="http://schemas.openxmlformats.org/officeDocument/2006/relationships" xmlns:p188="http://schemas.microsoft.com/office/powerpoint/2018/8/main">
  <p188:cm id="{C868E7D6-A39C-4601-8566-EABCBC083D0C}" authorId="{E025B64C-017E-9048-1304-E08AEE46E184}" created="2022-09-22T20:50:34.183">
    <ac:deMkLst xmlns:ac="http://schemas.microsoft.com/office/drawing/2013/main/command">
      <pc:docMk xmlns:pc="http://schemas.microsoft.com/office/powerpoint/2013/main/command"/>
      <pc:sldMk xmlns:pc="http://schemas.microsoft.com/office/powerpoint/2013/main/command" cId="3318444941" sldId="413"/>
      <ac:graphicFrameMk id="5" creationId="{00000000-0000-0000-0000-000000000000}"/>
    </ac:deMkLst>
    <p188:txBody>
      <a:bodyPr/>
      <a:lstStyle/>
      <a:p>
        <a:r>
          <a:rPr lang="en-US"/>
          <a:t>Can coordinate with Nury potential Dec. date</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43979" cy="465773"/>
          </a:xfrm>
          <a:prstGeom prst="rect">
            <a:avLst/>
          </a:prstGeom>
        </p:spPr>
        <p:txBody>
          <a:bodyPr vert="horz" lIns="92446" tIns="46223" rIns="92446" bIns="46223" rtlCol="0"/>
          <a:lstStyle>
            <a:lvl1pPr algn="l">
              <a:defRPr sz="1200"/>
            </a:lvl1pPr>
          </a:lstStyle>
          <a:p>
            <a:endParaRPr lang="en-US" dirty="0"/>
          </a:p>
        </p:txBody>
      </p:sp>
      <p:sp>
        <p:nvSpPr>
          <p:cNvPr id="3" name="Date Placeholder 2"/>
          <p:cNvSpPr>
            <a:spLocks noGrp="1"/>
          </p:cNvSpPr>
          <p:nvPr>
            <p:ph type="dt" sz="quarter" idx="1"/>
          </p:nvPr>
        </p:nvSpPr>
        <p:spPr>
          <a:xfrm>
            <a:off x="3977532" y="0"/>
            <a:ext cx="3043979" cy="465773"/>
          </a:xfrm>
          <a:prstGeom prst="rect">
            <a:avLst/>
          </a:prstGeom>
        </p:spPr>
        <p:txBody>
          <a:bodyPr vert="horz" lIns="92446" tIns="46223" rIns="92446" bIns="46223" rtlCol="0"/>
          <a:lstStyle>
            <a:lvl1pPr algn="r">
              <a:defRPr sz="1200"/>
            </a:lvl1pPr>
          </a:lstStyle>
          <a:p>
            <a:fld id="{67FC91CD-EC66-4A18-8356-1EE436EAD520}" type="datetimeFigureOut">
              <a:rPr lang="en-US" smtClean="0"/>
              <a:pPr/>
              <a:t>9/28/2022</a:t>
            </a:fld>
            <a:endParaRPr lang="en-US" dirty="0"/>
          </a:p>
        </p:txBody>
      </p:sp>
      <p:sp>
        <p:nvSpPr>
          <p:cNvPr id="4" name="Footer Placeholder 3"/>
          <p:cNvSpPr>
            <a:spLocks noGrp="1"/>
          </p:cNvSpPr>
          <p:nvPr>
            <p:ph type="ftr" sz="quarter" idx="2"/>
          </p:nvPr>
        </p:nvSpPr>
        <p:spPr>
          <a:xfrm>
            <a:off x="2" y="8841738"/>
            <a:ext cx="3043979" cy="465773"/>
          </a:xfrm>
          <a:prstGeom prst="rect">
            <a:avLst/>
          </a:prstGeom>
        </p:spPr>
        <p:txBody>
          <a:bodyPr vert="horz" lIns="92446" tIns="46223" rIns="92446" bIns="4622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7532" y="8841738"/>
            <a:ext cx="3043979" cy="465773"/>
          </a:xfrm>
          <a:prstGeom prst="rect">
            <a:avLst/>
          </a:prstGeom>
        </p:spPr>
        <p:txBody>
          <a:bodyPr vert="horz" lIns="92446" tIns="46223" rIns="92446" bIns="46223" rtlCol="0" anchor="b"/>
          <a:lstStyle>
            <a:lvl1pPr algn="r">
              <a:defRPr sz="1200"/>
            </a:lvl1pPr>
          </a:lstStyle>
          <a:p>
            <a:fld id="{0067DF2E-02ED-4A4C-8E06-6129E718A6A6}" type="slidenum">
              <a:rPr lang="en-US" smtClean="0"/>
              <a:pPr/>
              <a:t>‹#›</a:t>
            </a:fld>
            <a:endParaRPr lang="en-US" dirty="0"/>
          </a:p>
        </p:txBody>
      </p:sp>
    </p:spTree>
    <p:extLst>
      <p:ext uri="{BB962C8B-B14F-4D97-AF65-F5344CB8AC3E}">
        <p14:creationId xmlns:p14="http://schemas.microsoft.com/office/powerpoint/2010/main" val="33333639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4202" tIns="47101" rIns="94202" bIns="47101" rtlCol="0"/>
          <a:lstStyle>
            <a:lvl1pPr algn="l">
              <a:defRPr sz="1200"/>
            </a:lvl1pPr>
          </a:lstStyle>
          <a:p>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4202" tIns="47101" rIns="94202" bIns="47101" rtlCol="0"/>
          <a:lstStyle>
            <a:lvl1pPr algn="r">
              <a:defRPr sz="1200"/>
            </a:lvl1pPr>
          </a:lstStyle>
          <a:p>
            <a:fld id="{EBDB8D75-8256-4DE6-960E-3CB80FF15074}" type="datetimeFigureOut">
              <a:rPr lang="en-US" smtClean="0"/>
              <a:pPr/>
              <a:t>9/28/202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4202" tIns="47101" rIns="94202" bIns="47101"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4202" tIns="47101" rIns="94202" bIns="4710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4202" tIns="47101" rIns="94202" bIns="4710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4202" tIns="47101" rIns="94202" bIns="47101" rtlCol="0" anchor="b"/>
          <a:lstStyle>
            <a:lvl1pPr algn="r">
              <a:defRPr sz="1200"/>
            </a:lvl1pPr>
          </a:lstStyle>
          <a:p>
            <a:fld id="{9B3A0E2F-76B9-417E-B0DC-AF868851F63D}" type="slidenum">
              <a:rPr lang="en-US" smtClean="0"/>
              <a:pPr/>
              <a:t>‹#›</a:t>
            </a:fld>
            <a:endParaRPr lang="en-US" dirty="0"/>
          </a:p>
        </p:txBody>
      </p:sp>
    </p:spTree>
    <p:extLst>
      <p:ext uri="{BB962C8B-B14F-4D97-AF65-F5344CB8AC3E}">
        <p14:creationId xmlns:p14="http://schemas.microsoft.com/office/powerpoint/2010/main" val="28147906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pewtrusts.org/en/research-and-analysis/issue-briefs/2022/09/overview-of-opioid-treatment-program-regulations-by-state?utm_campaign=LM+-+PHG+-+SUPTI+-+OTP+State+Rules+Chartbook+-+State+and+Leg+-+Sep+2022&amp;utm_medium=email&amp;utm_source=Pew&amp;subscriberkey=0030e00002WDnOKAA1"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399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84A392C-5817-4A90-AD3D-FFFF30B52D05}" type="slidenum">
              <a:rPr lang="en-US">
                <a:solidFill>
                  <a:srgbClr val="FFFFFF"/>
                </a:solidFill>
              </a:rPr>
              <a:pPr>
                <a:defRPr/>
              </a:pPr>
              <a:t>1</a:t>
            </a:fld>
            <a:endParaRPr lang="en-US" dirty="0">
              <a:solidFill>
                <a:srgbClr val="FFFFFF"/>
              </a:solidFill>
            </a:endParaRPr>
          </a:p>
        </p:txBody>
      </p:sp>
    </p:spTree>
    <p:extLst>
      <p:ext uri="{BB962C8B-B14F-4D97-AF65-F5344CB8AC3E}">
        <p14:creationId xmlns:p14="http://schemas.microsoft.com/office/powerpoint/2010/main" val="498373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1AA8DB-5DE0-4576-9F56-0636532DC68B}" type="slidenum">
              <a:rPr lang="en-US" smtClean="0"/>
              <a:t>16</a:t>
            </a:fld>
            <a:endParaRPr lang="en-US"/>
          </a:p>
        </p:txBody>
      </p:sp>
    </p:spTree>
    <p:extLst>
      <p:ext uri="{BB962C8B-B14F-4D97-AF65-F5344CB8AC3E}">
        <p14:creationId xmlns:p14="http://schemas.microsoft.com/office/powerpoint/2010/main" val="37713749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2252D9A-2AE6-49B6-9BFF-156BA80CE8B3}" type="slidenum">
              <a:rPr lang="en-US" smtClean="0"/>
              <a:t>18</a:t>
            </a:fld>
            <a:endParaRPr lang="en-US"/>
          </a:p>
        </p:txBody>
      </p:sp>
    </p:spTree>
    <p:extLst>
      <p:ext uri="{BB962C8B-B14F-4D97-AF65-F5344CB8AC3E}">
        <p14:creationId xmlns:p14="http://schemas.microsoft.com/office/powerpoint/2010/main" val="8301026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a:t>Data Collection and Performance Management: </a:t>
            </a:r>
            <a:r>
              <a:rPr lang="en-US" sz="1200" b="0">
                <a:solidFill>
                  <a:schemeClr val="tx1"/>
                </a:solidFill>
                <a:latin typeface="Univers 45 Light"/>
              </a:rPr>
              <a:t>None of the states reviewed captured more upstream and qualitative metrics to elevate the role of monitoring positive outcomes. For data visualization, BSAS is developing a data dashboar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Univers 45 Light"/>
              </a:rPr>
              <a:t>Legislation and Regulation: </a:t>
            </a:r>
            <a:r>
              <a:rPr lang="en-US" sz="1200" b="0">
                <a:solidFill>
                  <a:schemeClr val="tx1"/>
                </a:solidFill>
                <a:latin typeface="Univers 45 Light"/>
              </a:rPr>
              <a:t>Most states are in the initial planning stages and have not yet identified priorities or allocated fund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Univers 45 Light"/>
              </a:rPr>
              <a:t>Funding Approaches: </a:t>
            </a:r>
            <a:r>
              <a:rPr lang="en-US" sz="1200" b="0">
                <a:solidFill>
                  <a:schemeClr val="tx1"/>
                </a:solidFill>
                <a:latin typeface="Univers 45 Light"/>
              </a:rPr>
              <a:t>Compared to some other states, investing in new data collection and research was less pronounced in M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a:solidFill>
                  <a:schemeClr val="tx1"/>
                </a:solidFill>
                <a:latin typeface="Univers 45 Light"/>
              </a:rPr>
              <a:t>Community Engagement and Health Equity: </a:t>
            </a:r>
            <a:r>
              <a:rPr lang="en-US" sz="1200" b="0" strike="noStrike" baseline="0">
                <a:solidFill>
                  <a:schemeClr val="tx1"/>
                </a:solidFill>
                <a:latin typeface="Univers 45 Light"/>
              </a:rPr>
              <a:t>Funding small, community-based, grassroots initiatives, particularly those led by women and people of color, could be an important strategy to reduce disparities across communit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solidFill>
                <a:schemeClr val="tx1"/>
              </a:solidFill>
              <a:latin typeface="Univers 45 Ligh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a:solidFill>
                <a:schemeClr val="tx1"/>
              </a:solidFill>
              <a:latin typeface="Univers 45 Light"/>
            </a:endParaRPr>
          </a:p>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252D9A-2AE6-49B6-9BFF-156BA80CE8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329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1AA8DB-5DE0-4576-9F56-0636532DC6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55661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fld id="{9B3A0E2F-76B9-417E-B0DC-AF868851F63D}" type="slidenum">
              <a:rPr lang="en-US" smtClean="0"/>
              <a:pPr/>
              <a:t>24</a:t>
            </a:fld>
            <a:endParaRPr lang="en-US" dirty="0"/>
          </a:p>
        </p:txBody>
      </p:sp>
    </p:spTree>
    <p:extLst>
      <p:ext uri="{BB962C8B-B14F-4D97-AF65-F5344CB8AC3E}">
        <p14:creationId xmlns:p14="http://schemas.microsoft.com/office/powerpoint/2010/main" val="42351022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3A0E2F-76B9-417E-B0DC-AF868851F63D}" type="slidenum">
              <a:rPr lang="en-US" smtClean="0"/>
              <a:pPr/>
              <a:t>25</a:t>
            </a:fld>
            <a:endParaRPr lang="en-US" dirty="0"/>
          </a:p>
        </p:txBody>
      </p:sp>
    </p:spTree>
    <p:extLst>
      <p:ext uri="{BB962C8B-B14F-4D97-AF65-F5344CB8AC3E}">
        <p14:creationId xmlns:p14="http://schemas.microsoft.com/office/powerpoint/2010/main" val="2314183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p:cNvSpPr>
            <a:spLocks noGrp="1"/>
          </p:cNvSpPr>
          <p:nvPr>
            <p:ph type="sldNum" sz="quarter" idx="11"/>
          </p:nvPr>
        </p:nvSpPr>
        <p:spPr/>
        <p:txBody>
          <a:bodyPr/>
          <a:lstStyle/>
          <a:p>
            <a:fld id="{9B3A0E2F-76B9-417E-B0DC-AF868851F63D}" type="slidenum">
              <a:rPr lang="en-US" smtClean="0"/>
              <a:pPr/>
              <a:t>2</a:t>
            </a:fld>
            <a:endParaRPr lang="en-US" dirty="0"/>
          </a:p>
        </p:txBody>
      </p:sp>
    </p:spTree>
    <p:extLst>
      <p:ext uri="{BB962C8B-B14F-4D97-AF65-F5344CB8AC3E}">
        <p14:creationId xmlns:p14="http://schemas.microsoft.com/office/powerpoint/2010/main" val="2355422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4FF4E1-3BF6-433E-AC5E-4815578B5B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6002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tal to ORRF &gt; $70M</a:t>
            </a:r>
          </a:p>
          <a:p>
            <a:endParaRPr lang="en-US" dirty="0"/>
          </a:p>
          <a:p>
            <a:r>
              <a:rPr lang="en-US" dirty="0"/>
              <a:t>An additional amount up to $44M going directly to </a:t>
            </a:r>
            <a:r>
              <a:rPr lang="en-US" dirty="0" err="1"/>
              <a:t>munis</a:t>
            </a:r>
            <a:r>
              <a:rPr lang="en-US" dirty="0"/>
              <a:t> this yea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4FF4E1-3BF6-433E-AC5E-4815578B5B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2308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200000"/>
              </a:lnSpc>
              <a:spcBef>
                <a:spcPts val="0"/>
              </a:spcBef>
              <a:spcAft>
                <a:spcPts val="0"/>
              </a:spcAft>
              <a:buClrTx/>
              <a:buSzTx/>
              <a:buFont typeface="TimesNewRomanPS-ItalicMT"/>
              <a:buNone/>
              <a:tabLst>
                <a:tab pos="228600" algn="l"/>
              </a:tabLst>
              <a:defRPr/>
            </a:pPr>
            <a:r>
              <a:rPr lang="en-US" dirty="0"/>
              <a:t> Awaiting an update from the trustees overseeing the MNK bk distributions on timing/amount of expected 2022 payments.</a:t>
            </a:r>
          </a:p>
          <a:p>
            <a:pPr marL="0" marR="0" lvl="0" indent="0">
              <a:lnSpc>
                <a:spcPct val="200000"/>
              </a:lnSpc>
              <a:spcBef>
                <a:spcPts val="0"/>
              </a:spcBef>
              <a:spcAft>
                <a:spcPts val="0"/>
              </a:spcAft>
              <a:buFont typeface="TimesNewRomanPS-ItalicMT"/>
              <a:buNone/>
              <a:tabLst>
                <a:tab pos="228600" algn="l"/>
              </a:tabLs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4FF4E1-3BF6-433E-AC5E-4815578B5B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2887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B3A0E2F-76B9-417E-B0DC-AF868851F63D}" type="slidenum">
              <a:rPr lang="en-US" smtClean="0"/>
              <a:pPr/>
              <a:t>7</a:t>
            </a:fld>
            <a:endParaRPr lang="en-US" dirty="0"/>
          </a:p>
        </p:txBody>
      </p:sp>
    </p:spTree>
    <p:extLst>
      <p:ext uri="{BB962C8B-B14F-4D97-AF65-F5344CB8AC3E}">
        <p14:creationId xmlns:p14="http://schemas.microsoft.com/office/powerpoint/2010/main" val="30816343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1 Existed = Habit Opco – Brockton (travels to Quincy)</a:t>
            </a:r>
          </a:p>
          <a:p>
            <a:pPr marL="171450" indent="-171450">
              <a:buFont typeface="Arial" panose="020B0604020202020204" pitchFamily="34" charset="0"/>
              <a:buChar char="•"/>
            </a:pPr>
            <a:r>
              <a:rPr lang="en-US" dirty="0"/>
              <a:t>1 Newly Approved Mobile Covering Worcester Area; not yet licensed / operational</a:t>
            </a:r>
          </a:p>
          <a:p>
            <a:pPr marL="171450" indent="-171450">
              <a:buFont typeface="Arial" panose="020B0604020202020204" pitchFamily="34" charset="0"/>
              <a:buChar char="•"/>
            </a:pPr>
            <a:r>
              <a:rPr lang="en-US" dirty="0"/>
              <a:t>2 Pending Applications to Add Mobile OTPs (Habit - Yarmouth that would travel to Wellfleet + Habit – Boston that would serve patients in Mass/Cass area)</a:t>
            </a:r>
          </a:p>
          <a:p>
            <a:endParaRPr lang="en-US" dirty="0"/>
          </a:p>
          <a:p>
            <a:pPr marL="171450" indent="-171450">
              <a:buFont typeface="Arial" panose="020B0604020202020204" pitchFamily="34" charset="0"/>
              <a:buChar char="•"/>
            </a:pPr>
            <a:r>
              <a:rPr lang="en-US" dirty="0"/>
              <a:t>BHN has submitted Innovations Application for alternative service delivery option in an underserved geographic area = Ware</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3A0E2F-76B9-417E-B0DC-AF868851F63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120776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3A0E2F-76B9-417E-B0DC-AF868851F63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189896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lude link to report in chat: </a:t>
            </a:r>
            <a:r>
              <a:rPr lang="en-US" dirty="0">
                <a:hlinkClick r:id="rId3"/>
              </a:rPr>
              <a:t>Overview of Opioid Treatment Program Regulations by State | The Pew Charitable Trusts (pewtrusts.org)</a:t>
            </a:r>
            <a:r>
              <a:rPr lang="en-US" dirty="0"/>
              <a:t> </a:t>
            </a:r>
          </a:p>
          <a:p>
            <a:endParaRPr lang="en-US" dirty="0"/>
          </a:p>
          <a:p>
            <a:r>
              <a:rPr lang="en-US" dirty="0"/>
              <a:t>Dee will note corrections to report </a:t>
            </a:r>
          </a:p>
        </p:txBody>
      </p:sp>
      <p:sp>
        <p:nvSpPr>
          <p:cNvPr id="4" name="Slide Number Placeholder 3"/>
          <p:cNvSpPr>
            <a:spLocks noGrp="1"/>
          </p:cNvSpPr>
          <p:nvPr>
            <p:ph type="sldNum" sz="quarter" idx="5"/>
          </p:nvPr>
        </p:nvSpPr>
        <p:spPr/>
        <p:txBody>
          <a:bodyPr/>
          <a:lstStyle/>
          <a:p>
            <a:fld id="{9B3A0E2F-76B9-417E-B0DC-AF868851F63D}" type="slidenum">
              <a:rPr lang="en-US" smtClean="0"/>
              <a:pPr/>
              <a:t>14</a:t>
            </a:fld>
            <a:endParaRPr lang="en-US" dirty="0"/>
          </a:p>
        </p:txBody>
      </p:sp>
    </p:spTree>
    <p:extLst>
      <p:ext uri="{BB962C8B-B14F-4D97-AF65-F5344CB8AC3E}">
        <p14:creationId xmlns:p14="http://schemas.microsoft.com/office/powerpoint/2010/main" val="22382577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image" Target="../media/image19.emf"/><Relationship Id="rId3" Type="http://schemas.openxmlformats.org/officeDocument/2006/relationships/image" Target="../media/image9.png"/><Relationship Id="rId7" Type="http://schemas.openxmlformats.org/officeDocument/2006/relationships/image" Target="../media/image13.svg"/><Relationship Id="rId12" Type="http://schemas.openxmlformats.org/officeDocument/2006/relationships/image" Target="../media/image18.emf"/><Relationship Id="rId2" Type="http://schemas.openxmlformats.org/officeDocument/2006/relationships/image" Target="../media/image8.emf"/><Relationship Id="rId1" Type="http://schemas.openxmlformats.org/officeDocument/2006/relationships/slideMaster" Target="../slideMasters/slideMaster3.xml"/><Relationship Id="rId6" Type="http://schemas.openxmlformats.org/officeDocument/2006/relationships/image" Target="../media/image12.png"/><Relationship Id="rId11" Type="http://schemas.openxmlformats.org/officeDocument/2006/relationships/image" Target="../media/image17.emf"/><Relationship Id="rId5" Type="http://schemas.openxmlformats.org/officeDocument/2006/relationships/image" Target="../media/image11.svg"/><Relationship Id="rId10" Type="http://schemas.openxmlformats.org/officeDocument/2006/relationships/image" Target="../media/image16.emf"/><Relationship Id="rId4" Type="http://schemas.openxmlformats.org/officeDocument/2006/relationships/image" Target="../media/image10.png"/><Relationship Id="rId9" Type="http://schemas.openxmlformats.org/officeDocument/2006/relationships/image" Target="../media/image15.emf"/><Relationship Id="rId14" Type="http://schemas.openxmlformats.org/officeDocument/2006/relationships/image" Target="../media/image20.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5.emf"/><Relationship Id="rId13" Type="http://schemas.openxmlformats.org/officeDocument/2006/relationships/image" Target="../media/image20.emf"/><Relationship Id="rId3" Type="http://schemas.openxmlformats.org/officeDocument/2006/relationships/image" Target="../media/image10.png"/><Relationship Id="rId7" Type="http://schemas.openxmlformats.org/officeDocument/2006/relationships/image" Target="../media/image14.emf"/><Relationship Id="rId12" Type="http://schemas.openxmlformats.org/officeDocument/2006/relationships/image" Target="../media/image19.emf"/><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22.svg"/><Relationship Id="rId11" Type="http://schemas.openxmlformats.org/officeDocument/2006/relationships/image" Target="../media/image18.emf"/><Relationship Id="rId5" Type="http://schemas.openxmlformats.org/officeDocument/2006/relationships/image" Target="../media/image12.png"/><Relationship Id="rId10" Type="http://schemas.openxmlformats.org/officeDocument/2006/relationships/image" Target="../media/image17.emf"/><Relationship Id="rId4" Type="http://schemas.openxmlformats.org/officeDocument/2006/relationships/image" Target="../media/image21.svg"/><Relationship Id="rId9" Type="http://schemas.openxmlformats.org/officeDocument/2006/relationships/image" Target="../media/image16.emf"/><Relationship Id="rId14" Type="http://schemas.openxmlformats.org/officeDocument/2006/relationships/image" Target="../media/image23.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24.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defRPr sz="2400">
                <a:latin typeface="+mj-lt"/>
                <a:cs typeface="Book Antiqua" pitchFamily="18" charset="0"/>
              </a:defRPr>
            </a:lvl1pPr>
          </a:lstStyle>
          <a:p>
            <a:r>
              <a:rPr lang="en-US" dirty="0"/>
              <a:t>Click to edit Master title style</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solidFill>
                  <a:schemeClr val="bg1"/>
                </a:solidFill>
              </a:defRPr>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solidFill>
                  <a:schemeClr val="bg1"/>
                </a:solidFill>
              </a:defRPr>
            </a:lvl1pPr>
            <a:lvl2pPr>
              <a:defRPr sz="2800">
                <a:solidFill>
                  <a:schemeClr val="bg1"/>
                </a:solidFill>
              </a:defRPr>
            </a:lvl2pPr>
            <a:lvl3pPr>
              <a:defRPr sz="2400">
                <a:solidFill>
                  <a:schemeClr val="bg1"/>
                </a:solidFill>
              </a:defRPr>
            </a:lvl3pPr>
            <a:lvl4pPr>
              <a:defRPr sz="2000">
                <a:solidFill>
                  <a:schemeClr val="bg1"/>
                </a:solidFill>
              </a:defRPr>
            </a:lvl4pPr>
            <a:lvl5pPr>
              <a:defRPr sz="2000">
                <a:solidFill>
                  <a:schemeClr val="bg1"/>
                </a:solidFill>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6" name="Date Placeholder 5"/>
          <p:cNvSpPr>
            <a:spLocks noGrp="1"/>
          </p:cNvSpPr>
          <p:nvPr>
            <p:ph type="dt" sz="half" idx="10"/>
          </p:nvPr>
        </p:nvSpPr>
        <p:spPr/>
        <p:txBody>
          <a:bodyPr/>
          <a:lstStyle/>
          <a:p>
            <a:endParaRPr lang="en-US"/>
          </a:p>
        </p:txBody>
      </p:sp>
      <p:sp>
        <p:nvSpPr>
          <p:cNvPr id="10" name="Slide Number Placeholder 9"/>
          <p:cNvSpPr>
            <a:spLocks noGrp="1"/>
          </p:cNvSpPr>
          <p:nvPr>
            <p:ph type="sldNum" sz="quarter" idx="11"/>
          </p:nvPr>
        </p:nvSpPr>
        <p:spPr/>
        <p:txBody>
          <a:bodyPr/>
          <a:lstStyle/>
          <a:p>
            <a:fld id="{1C078096-9997-49EF-9104-EC42DAE8B88D}" type="slidenum">
              <a:rPr lang="en-US" smtClean="0"/>
              <a:t>‹#›</a:t>
            </a:fld>
            <a:endParaRPr lang="en-US"/>
          </a:p>
        </p:txBody>
      </p:sp>
      <p:sp>
        <p:nvSpPr>
          <p:cNvPr id="9" name="Footer Placeholder 3"/>
          <p:cNvSpPr>
            <a:spLocks noGrp="1"/>
          </p:cNvSpPr>
          <p:nvPr>
            <p:ph type="ftr" sz="quarter" idx="3"/>
          </p:nvPr>
        </p:nvSpPr>
        <p:spPr>
          <a:xfrm>
            <a:off x="2743200" y="6477002"/>
            <a:ext cx="3657600" cy="244475"/>
          </a:xfrm>
        </p:spPr>
        <p:txBody>
          <a:bodyPr/>
          <a:lstStyle/>
          <a:p>
            <a:endParaRPr lang="en-US" dirty="0"/>
          </a:p>
        </p:txBody>
      </p:sp>
    </p:spTree>
    <p:extLst>
      <p:ext uri="{BB962C8B-B14F-4D97-AF65-F5344CB8AC3E}">
        <p14:creationId xmlns:p14="http://schemas.microsoft.com/office/powerpoint/2010/main" val="1877418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solidFill>
                  <a:schemeClr val="bg1"/>
                </a:solidFill>
              </a:defRPr>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6" name="Date Placeholder 5"/>
          <p:cNvSpPr>
            <a:spLocks noGrp="1"/>
          </p:cNvSpPr>
          <p:nvPr>
            <p:ph type="dt" sz="half" idx="10"/>
          </p:nvPr>
        </p:nvSpPr>
        <p:spPr/>
        <p:txBody>
          <a:bodyPr/>
          <a:lstStyle/>
          <a:p>
            <a:endParaRPr lang="en-US"/>
          </a:p>
        </p:txBody>
      </p:sp>
      <p:sp>
        <p:nvSpPr>
          <p:cNvPr id="10" name="Slide Number Placeholder 9"/>
          <p:cNvSpPr>
            <a:spLocks noGrp="1"/>
          </p:cNvSpPr>
          <p:nvPr>
            <p:ph type="sldNum" sz="quarter" idx="11"/>
          </p:nvPr>
        </p:nvSpPr>
        <p:spPr/>
        <p:txBody>
          <a:bodyPr/>
          <a:lstStyle/>
          <a:p>
            <a:fld id="{1C078096-9997-49EF-9104-EC42DAE8B88D}" type="slidenum">
              <a:rPr lang="en-US" smtClean="0"/>
              <a:t>‹#›</a:t>
            </a:fld>
            <a:endParaRPr lang="en-US"/>
          </a:p>
        </p:txBody>
      </p:sp>
      <p:sp>
        <p:nvSpPr>
          <p:cNvPr id="9" name="Footer Placeholder 3"/>
          <p:cNvSpPr>
            <a:spLocks noGrp="1"/>
          </p:cNvSpPr>
          <p:nvPr>
            <p:ph type="ftr" sz="quarter" idx="3"/>
          </p:nvPr>
        </p:nvSpPr>
        <p:spPr>
          <a:xfrm>
            <a:off x="2743200" y="6477002"/>
            <a:ext cx="3657600" cy="244475"/>
          </a:xfrm>
        </p:spPr>
        <p:txBody>
          <a:bodyPr/>
          <a:lstStyle/>
          <a:p>
            <a:endParaRPr lang="en-US" dirty="0"/>
          </a:p>
        </p:txBody>
      </p:sp>
    </p:spTree>
    <p:extLst>
      <p:ext uri="{BB962C8B-B14F-4D97-AF65-F5344CB8AC3E}">
        <p14:creationId xmlns:p14="http://schemas.microsoft.com/office/powerpoint/2010/main" val="1878173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9" name="Slide Number Placeholder 8"/>
          <p:cNvSpPr>
            <a:spLocks noGrp="1"/>
          </p:cNvSpPr>
          <p:nvPr>
            <p:ph type="sldNum" sz="quarter" idx="11"/>
          </p:nvPr>
        </p:nvSpPr>
        <p:spPr/>
        <p:txBody>
          <a:bodyPr/>
          <a:lstStyle/>
          <a:p>
            <a:fld id="{1C078096-9997-49EF-9104-EC42DAE8B88D}" type="slidenum">
              <a:rPr lang="en-US" smtClean="0"/>
              <a:t>‹#›</a:t>
            </a:fld>
            <a:endParaRPr lang="en-US"/>
          </a:p>
        </p:txBody>
      </p:sp>
      <p:sp>
        <p:nvSpPr>
          <p:cNvPr id="8" name="Footer Placeholder 3"/>
          <p:cNvSpPr>
            <a:spLocks noGrp="1"/>
          </p:cNvSpPr>
          <p:nvPr>
            <p:ph type="ftr" sz="quarter" idx="3"/>
          </p:nvPr>
        </p:nvSpPr>
        <p:spPr>
          <a:xfrm>
            <a:off x="2743200" y="6477002"/>
            <a:ext cx="3657600" cy="244475"/>
          </a:xfrm>
        </p:spPr>
        <p:txBody>
          <a:bodyPr/>
          <a:lstStyle/>
          <a:p>
            <a:endParaRPr lang="en-US" dirty="0"/>
          </a:p>
        </p:txBody>
      </p:sp>
    </p:spTree>
    <p:extLst>
      <p:ext uri="{BB962C8B-B14F-4D97-AF65-F5344CB8AC3E}">
        <p14:creationId xmlns:p14="http://schemas.microsoft.com/office/powerpoint/2010/main" val="41014498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lvl1pPr>
              <a:defRPr>
                <a:solidFill>
                  <a:schemeClr val="bg1"/>
                </a:solidFill>
              </a:defRPr>
            </a:lvl1pPr>
          </a:lstStyle>
          <a:p>
            <a:r>
              <a:rPr lang="en-US"/>
              <a:t>Click to edit Master title style</a:t>
            </a:r>
          </a:p>
        </p:txBody>
      </p:sp>
      <p:sp>
        <p:nvSpPr>
          <p:cNvPr id="3" name="Vertical Text Placeholder 2"/>
          <p:cNvSpPr>
            <a:spLocks noGrp="1"/>
          </p:cNvSpPr>
          <p:nvPr>
            <p:ph type="body" orient="vert" idx="1"/>
          </p:nvPr>
        </p:nvSpPr>
        <p:spPr>
          <a:xfrm>
            <a:off x="457200" y="274640"/>
            <a:ext cx="6019800" cy="5851525"/>
          </a:xfrm>
        </p:spPr>
        <p:txBody>
          <a:bodyPr vert="eaVert"/>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9" name="Slide Number Placeholder 8"/>
          <p:cNvSpPr>
            <a:spLocks noGrp="1"/>
          </p:cNvSpPr>
          <p:nvPr>
            <p:ph type="sldNum" sz="quarter" idx="11"/>
          </p:nvPr>
        </p:nvSpPr>
        <p:spPr/>
        <p:txBody>
          <a:bodyPr/>
          <a:lstStyle/>
          <a:p>
            <a:fld id="{1C078096-9997-49EF-9104-EC42DAE8B88D}" type="slidenum">
              <a:rPr lang="en-US" smtClean="0"/>
              <a:t>‹#›</a:t>
            </a:fld>
            <a:endParaRPr lang="en-US"/>
          </a:p>
        </p:txBody>
      </p:sp>
      <p:sp>
        <p:nvSpPr>
          <p:cNvPr id="8" name="Footer Placeholder 3"/>
          <p:cNvSpPr>
            <a:spLocks noGrp="1"/>
          </p:cNvSpPr>
          <p:nvPr>
            <p:ph type="ftr" sz="quarter" idx="3"/>
          </p:nvPr>
        </p:nvSpPr>
        <p:spPr>
          <a:xfrm>
            <a:off x="2743200" y="6477002"/>
            <a:ext cx="3657600" cy="244475"/>
          </a:xfrm>
        </p:spPr>
        <p:txBody>
          <a:bodyPr/>
          <a:lstStyle/>
          <a:p>
            <a:endParaRPr lang="en-US" dirty="0"/>
          </a:p>
        </p:txBody>
      </p:sp>
    </p:spTree>
    <p:extLst>
      <p:ext uri="{BB962C8B-B14F-4D97-AF65-F5344CB8AC3E}">
        <p14:creationId xmlns:p14="http://schemas.microsoft.com/office/powerpoint/2010/main" val="16231086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ITLE SLIDE 1 - Right light vertical imag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AE4BEC0-734E-4B60-B748-78DF0DFD566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6858000"/>
          </a:xfrm>
          <a:prstGeom prst="rect">
            <a:avLst/>
          </a:prstGeom>
        </p:spPr>
      </p:pic>
      <p:sp>
        <p:nvSpPr>
          <p:cNvPr id="2" name="Rectangle 1">
            <a:extLst>
              <a:ext uri="{FF2B5EF4-FFF2-40B4-BE49-F238E27FC236}">
                <a16:creationId xmlns:a16="http://schemas.microsoft.com/office/drawing/2014/main" id="{DD13FAE3-D864-4471-92BF-9C7DF48D003C}"/>
              </a:ext>
            </a:extLst>
          </p:cNvPr>
          <p:cNvSpPr/>
          <p:nvPr userDrawn="1"/>
        </p:nvSpPr>
        <p:spPr>
          <a:xfrm>
            <a:off x="0" y="0"/>
            <a:ext cx="9144000" cy="6858000"/>
          </a:xfrm>
          <a:prstGeom prst="rect">
            <a:avLst/>
          </a:prstGeom>
          <a:gradFill flip="none" rotWithShape="1">
            <a:gsLst>
              <a:gs pos="0">
                <a:srgbClr val="00121C">
                  <a:alpha val="98000"/>
                </a:srgbClr>
              </a:gs>
              <a:gs pos="100000">
                <a:srgbClr val="00121C">
                  <a:alpha val="0"/>
                </a:srgbClr>
              </a:gs>
              <a:gs pos="58000">
                <a:srgbClr val="00121C">
                  <a:alpha val="0"/>
                </a:srgbClr>
              </a:gs>
            </a:gsLst>
            <a:lin ang="3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a:solidFill>
                <a:schemeClr val="bg1"/>
              </a:solidFill>
              <a:latin typeface="Univers 45 Light" pitchFamily="2" charset="0"/>
            </a:endParaRPr>
          </a:p>
        </p:txBody>
      </p:sp>
      <p:sp>
        <p:nvSpPr>
          <p:cNvPr id="8" name="Title 1"/>
          <p:cNvSpPr>
            <a:spLocks noGrp="1"/>
          </p:cNvSpPr>
          <p:nvPr>
            <p:ph type="ctrTitle" hasCustomPrompt="1"/>
          </p:nvPr>
        </p:nvSpPr>
        <p:spPr>
          <a:xfrm>
            <a:off x="735620" y="1435300"/>
            <a:ext cx="3646969" cy="3510000"/>
          </a:xfrm>
        </p:spPr>
        <p:txBody>
          <a:bodyPr anchor="t" anchorCtr="0"/>
          <a:lstStyle>
            <a:lvl1pPr algn="l">
              <a:defRPr sz="8250" baseline="0">
                <a:solidFill>
                  <a:schemeClr val="bg1"/>
                </a:solidFill>
              </a:defRPr>
            </a:lvl1pPr>
          </a:lstStyle>
          <a:p>
            <a:r>
              <a:rPr lang="en-US" noProof="0"/>
              <a:t>Title slide 1</a:t>
            </a:r>
            <a:br>
              <a:rPr lang="en-US" noProof="0"/>
            </a:br>
            <a:r>
              <a:rPr lang="en-US" noProof="0"/>
              <a:t>light right vertical image</a:t>
            </a:r>
          </a:p>
        </p:txBody>
      </p:sp>
      <p:sp>
        <p:nvSpPr>
          <p:cNvPr id="6" name="Text Placeholder 3"/>
          <p:cNvSpPr>
            <a:spLocks noGrp="1"/>
          </p:cNvSpPr>
          <p:nvPr>
            <p:ph type="body" sz="quarter" idx="11" hasCustomPrompt="1"/>
          </p:nvPr>
        </p:nvSpPr>
        <p:spPr>
          <a:xfrm>
            <a:off x="765319" y="5390900"/>
            <a:ext cx="3625025" cy="216000"/>
          </a:xfrm>
        </p:spPr>
        <p:txBody>
          <a:bodyPr/>
          <a:lstStyle>
            <a:lvl1pPr marL="0" marR="0" indent="0" algn="l" defTabSz="685800" rtl="0" eaLnBrk="1" fontAlgn="auto" latinLnBrk="0" hangingPunct="1">
              <a:lnSpc>
                <a:spcPct val="100000"/>
              </a:lnSpc>
              <a:spcBef>
                <a:spcPts val="0"/>
              </a:spcBef>
              <a:spcAft>
                <a:spcPts val="450"/>
              </a:spcAft>
              <a:buClrTx/>
              <a:buSzTx/>
              <a:buFontTx/>
              <a:buNone/>
              <a:tabLst/>
              <a:defRPr sz="825">
                <a:solidFill>
                  <a:schemeClr val="bg1"/>
                </a:solidFill>
              </a:defRPr>
            </a:lvl1pPr>
            <a:lvl2pPr>
              <a:defRPr sz="825">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en-US"/>
              <a:t>Subtitle here</a:t>
            </a:r>
          </a:p>
        </p:txBody>
      </p:sp>
      <p:sp>
        <p:nvSpPr>
          <p:cNvPr id="7" name="Text Placeholder 4"/>
          <p:cNvSpPr>
            <a:spLocks noGrp="1"/>
          </p:cNvSpPr>
          <p:nvPr>
            <p:ph type="body" sz="quarter" idx="12" hasCustomPrompt="1"/>
          </p:nvPr>
        </p:nvSpPr>
        <p:spPr>
          <a:xfrm>
            <a:off x="765319" y="5823551"/>
            <a:ext cx="1416844" cy="487363"/>
          </a:xfrm>
        </p:spPr>
        <p:txBody>
          <a:bodyPr/>
          <a:lstStyle>
            <a:lvl1pPr>
              <a:defRPr sz="825" b="0">
                <a:solidFill>
                  <a:schemeClr val="bg1"/>
                </a:solidFill>
              </a:defRPr>
            </a:lvl1pPr>
          </a:lstStyle>
          <a:p>
            <a:pPr lvl="0"/>
            <a:r>
              <a:rPr lang="en-US"/>
              <a:t>Date here</a:t>
            </a:r>
          </a:p>
        </p:txBody>
      </p:sp>
    </p:spTree>
    <p:extLst>
      <p:ext uri="{BB962C8B-B14F-4D97-AF65-F5344CB8AC3E}">
        <p14:creationId xmlns:p14="http://schemas.microsoft.com/office/powerpoint/2010/main" val="590270580"/>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ITLE SLIDE 1 - Right light vertica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13FAE3-D864-4471-92BF-9C7DF48D003C}"/>
              </a:ext>
            </a:extLst>
          </p:cNvPr>
          <p:cNvSpPr/>
          <p:nvPr userDrawn="1"/>
        </p:nvSpPr>
        <p:spPr>
          <a:xfrm>
            <a:off x="0" y="1"/>
            <a:ext cx="9144000" cy="6858001"/>
          </a:xfrm>
          <a:prstGeom prst="rect">
            <a:avLst/>
          </a:prstGeom>
          <a:gradFill flip="none" rotWithShape="1">
            <a:gsLst>
              <a:gs pos="16000">
                <a:srgbClr val="01060A"/>
              </a:gs>
              <a:gs pos="69000">
                <a:srgbClr val="014A73"/>
              </a:gs>
              <a:gs pos="100000">
                <a:srgbClr val="006B99"/>
              </a:gs>
              <a:gs pos="36000">
                <a:srgbClr val="00141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a:solidFill>
                <a:schemeClr val="bg1"/>
              </a:solidFill>
              <a:latin typeface="Univers 45 Light" pitchFamily="2" charset="0"/>
            </a:endParaRPr>
          </a:p>
        </p:txBody>
      </p:sp>
      <p:sp>
        <p:nvSpPr>
          <p:cNvPr id="11" name="Rectangle 10">
            <a:extLst>
              <a:ext uri="{FF2B5EF4-FFF2-40B4-BE49-F238E27FC236}">
                <a16:creationId xmlns:a16="http://schemas.microsoft.com/office/drawing/2014/main" id="{BD62B0F8-0119-4369-A531-F687F65A45FC}"/>
              </a:ext>
            </a:extLst>
          </p:cNvPr>
          <p:cNvSpPr/>
          <p:nvPr userDrawn="1"/>
        </p:nvSpPr>
        <p:spPr>
          <a:xfrm flipH="1">
            <a:off x="0" y="0"/>
            <a:ext cx="9144000" cy="6858000"/>
          </a:xfrm>
          <a:prstGeom prst="rect">
            <a:avLst/>
          </a:prstGeom>
          <a:gradFill>
            <a:gsLst>
              <a:gs pos="37000">
                <a:srgbClr val="01060A">
                  <a:alpha val="28000"/>
                </a:srgbClr>
              </a:gs>
              <a:gs pos="85000">
                <a:srgbClr val="016D9B">
                  <a:alpha val="0"/>
                </a:srgb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a:solidFill>
                <a:schemeClr val="bg1"/>
              </a:solidFill>
              <a:latin typeface="Univers 45 Light" pitchFamily="2" charset="0"/>
            </a:endParaRPr>
          </a:p>
        </p:txBody>
      </p:sp>
      <p:pic>
        <p:nvPicPr>
          <p:cNvPr id="129" name="Picture 128">
            <a:extLst>
              <a:ext uri="{FF2B5EF4-FFF2-40B4-BE49-F238E27FC236}">
                <a16:creationId xmlns:a16="http://schemas.microsoft.com/office/drawing/2014/main" id="{2543D127-757C-4FF0-ABF9-21D03ECE5726}"/>
              </a:ext>
            </a:extLst>
          </p:cNvPr>
          <p:cNvPicPr>
            <a:picLocks noChangeAspect="1"/>
          </p:cNvPicPr>
          <p:nvPr userDrawn="1"/>
        </p:nvPicPr>
        <p:blipFill rotWithShape="1">
          <a:blip r:embed="rId2">
            <a:duotone>
              <a:schemeClr val="accent1">
                <a:shade val="45000"/>
                <a:satMod val="135000"/>
              </a:schemeClr>
              <a:prstClr val="white"/>
            </a:duotone>
            <a:alphaModFix amt="16000"/>
          </a:blip>
          <a:srcRect l="54748" b="19099"/>
          <a:stretch/>
        </p:blipFill>
        <p:spPr>
          <a:xfrm>
            <a:off x="0" y="1"/>
            <a:ext cx="5912313" cy="6858003"/>
          </a:xfrm>
          <a:prstGeom prst="rect">
            <a:avLst/>
          </a:prstGeom>
        </p:spPr>
      </p:pic>
      <p:pic>
        <p:nvPicPr>
          <p:cNvPr id="127" name="Picture 126" hidden="1">
            <a:extLst>
              <a:ext uri="{FF2B5EF4-FFF2-40B4-BE49-F238E27FC236}">
                <a16:creationId xmlns:a16="http://schemas.microsoft.com/office/drawing/2014/main" id="{9714924C-F470-4F5E-A23C-7CA224A9CF56}"/>
              </a:ext>
            </a:extLst>
          </p:cNvPr>
          <p:cNvPicPr>
            <a:picLocks noChangeAspect="1"/>
          </p:cNvPicPr>
          <p:nvPr userDrawn="1"/>
        </p:nvPicPr>
        <p:blipFill>
          <a:blip r:embed="rId3">
            <a:duotone>
              <a:prstClr val="black"/>
              <a:schemeClr val="accent4">
                <a:tint val="45000"/>
                <a:satMod val="400000"/>
              </a:schemeClr>
            </a:duotone>
            <a:alphaModFix amt="38000"/>
            <a:extLst>
              <a:ext uri="{28A0092B-C50C-407E-A947-70E740481C1C}">
                <a14:useLocalDpi xmlns:a14="http://schemas.microsoft.com/office/drawing/2010/main" val="0"/>
              </a:ext>
            </a:extLst>
          </a:blip>
          <a:stretch>
            <a:fillRect/>
          </a:stretch>
        </p:blipFill>
        <p:spPr>
          <a:xfrm>
            <a:off x="378" y="284"/>
            <a:ext cx="9143244" cy="6857433"/>
          </a:xfrm>
          <a:prstGeom prst="rect">
            <a:avLst/>
          </a:prstGeom>
        </p:spPr>
      </p:pic>
      <p:sp>
        <p:nvSpPr>
          <p:cNvPr id="8" name="Title 1"/>
          <p:cNvSpPr>
            <a:spLocks noGrp="1"/>
          </p:cNvSpPr>
          <p:nvPr>
            <p:ph type="ctrTitle" hasCustomPrompt="1"/>
          </p:nvPr>
        </p:nvSpPr>
        <p:spPr>
          <a:xfrm>
            <a:off x="735620" y="1435300"/>
            <a:ext cx="3646969" cy="3510000"/>
          </a:xfrm>
        </p:spPr>
        <p:txBody>
          <a:bodyPr anchor="t" anchorCtr="0"/>
          <a:lstStyle>
            <a:lvl1pPr algn="l">
              <a:defRPr sz="8250" baseline="0">
                <a:solidFill>
                  <a:schemeClr val="bg1"/>
                </a:solidFill>
              </a:defRPr>
            </a:lvl1pPr>
          </a:lstStyle>
          <a:p>
            <a:r>
              <a:rPr lang="en-US" noProof="0"/>
              <a:t>Title slide 1</a:t>
            </a:r>
            <a:br>
              <a:rPr lang="en-US" noProof="0"/>
            </a:br>
            <a:r>
              <a:rPr lang="en-US" noProof="0"/>
              <a:t>light right vertical image</a:t>
            </a:r>
          </a:p>
        </p:txBody>
      </p:sp>
      <p:sp>
        <p:nvSpPr>
          <p:cNvPr id="6" name="Text Placeholder 3"/>
          <p:cNvSpPr>
            <a:spLocks noGrp="1"/>
          </p:cNvSpPr>
          <p:nvPr>
            <p:ph type="body" sz="quarter" idx="11" hasCustomPrompt="1"/>
          </p:nvPr>
        </p:nvSpPr>
        <p:spPr>
          <a:xfrm>
            <a:off x="765319" y="4095512"/>
            <a:ext cx="3625025" cy="1496398"/>
          </a:xfrm>
        </p:spPr>
        <p:txBody>
          <a:bodyPr/>
          <a:lstStyle>
            <a:lvl1pPr marL="0" marR="0" indent="0" algn="l" defTabSz="685800" rtl="0" eaLnBrk="1" fontAlgn="auto" latinLnBrk="0" hangingPunct="1">
              <a:lnSpc>
                <a:spcPct val="100000"/>
              </a:lnSpc>
              <a:spcBef>
                <a:spcPts val="0"/>
              </a:spcBef>
              <a:spcAft>
                <a:spcPts val="450"/>
              </a:spcAft>
              <a:buClrTx/>
              <a:buSzTx/>
              <a:buFontTx/>
              <a:buNone/>
              <a:tabLst/>
              <a:defRPr sz="825">
                <a:solidFill>
                  <a:schemeClr val="bg1"/>
                </a:solidFill>
              </a:defRPr>
            </a:lvl1pPr>
            <a:lvl2pPr>
              <a:defRPr sz="825">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en-US"/>
              <a:t>Subtitle here</a:t>
            </a:r>
          </a:p>
        </p:txBody>
      </p:sp>
      <p:sp>
        <p:nvSpPr>
          <p:cNvPr id="7" name="Text Placeholder 4"/>
          <p:cNvSpPr>
            <a:spLocks noGrp="1"/>
          </p:cNvSpPr>
          <p:nvPr>
            <p:ph type="body" sz="quarter" idx="12" hasCustomPrompt="1"/>
          </p:nvPr>
        </p:nvSpPr>
        <p:spPr>
          <a:xfrm>
            <a:off x="765319" y="5823551"/>
            <a:ext cx="1416844" cy="487363"/>
          </a:xfrm>
        </p:spPr>
        <p:txBody>
          <a:bodyPr/>
          <a:lstStyle>
            <a:lvl1pPr>
              <a:defRPr sz="825" b="0">
                <a:solidFill>
                  <a:schemeClr val="bg1"/>
                </a:solidFill>
              </a:defRPr>
            </a:lvl1pPr>
          </a:lstStyle>
          <a:p>
            <a:pPr lvl="0"/>
            <a:r>
              <a:rPr lang="en-US"/>
              <a:t>Date here</a:t>
            </a:r>
          </a:p>
        </p:txBody>
      </p:sp>
      <p:pic>
        <p:nvPicPr>
          <p:cNvPr id="130" name="Graphic 129">
            <a:extLst>
              <a:ext uri="{FF2B5EF4-FFF2-40B4-BE49-F238E27FC236}">
                <a16:creationId xmlns:a16="http://schemas.microsoft.com/office/drawing/2014/main" id="{828AF780-A6EE-4DF2-922E-B2BF0C1A3E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317761" y="2171819"/>
            <a:ext cx="1248140" cy="1442295"/>
          </a:xfrm>
          <a:prstGeom prst="rect">
            <a:avLst/>
          </a:prstGeom>
        </p:spPr>
      </p:pic>
      <p:pic>
        <p:nvPicPr>
          <p:cNvPr id="131" name="Graphic 130">
            <a:extLst>
              <a:ext uri="{FF2B5EF4-FFF2-40B4-BE49-F238E27FC236}">
                <a16:creationId xmlns:a16="http://schemas.microsoft.com/office/drawing/2014/main" id="{0A63B97A-C68F-4C3F-AC83-6D7300CB5F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458598" y="3042704"/>
            <a:ext cx="924059" cy="1067799"/>
          </a:xfrm>
          <a:prstGeom prst="rect">
            <a:avLst/>
          </a:prstGeom>
        </p:spPr>
      </p:pic>
      <p:pic>
        <p:nvPicPr>
          <p:cNvPr id="135" name="Picture 134">
            <a:extLst>
              <a:ext uri="{FF2B5EF4-FFF2-40B4-BE49-F238E27FC236}">
                <a16:creationId xmlns:a16="http://schemas.microsoft.com/office/drawing/2014/main" id="{D4A3CB40-4210-4072-A9EA-D2C6BAE8C641}"/>
              </a:ext>
            </a:extLst>
          </p:cNvPr>
          <p:cNvPicPr>
            <a:picLocks noChangeAspect="1"/>
          </p:cNvPicPr>
          <p:nvPr userDrawn="1"/>
        </p:nvPicPr>
        <p:blipFill>
          <a:blip r:embed="rId8"/>
          <a:stretch>
            <a:fillRect/>
          </a:stretch>
        </p:blipFill>
        <p:spPr>
          <a:xfrm>
            <a:off x="6460139" y="4349430"/>
            <a:ext cx="920977" cy="1067799"/>
          </a:xfrm>
          <a:prstGeom prst="rect">
            <a:avLst/>
          </a:prstGeom>
        </p:spPr>
      </p:pic>
      <p:pic>
        <p:nvPicPr>
          <p:cNvPr id="137" name="Picture 136">
            <a:extLst>
              <a:ext uri="{FF2B5EF4-FFF2-40B4-BE49-F238E27FC236}">
                <a16:creationId xmlns:a16="http://schemas.microsoft.com/office/drawing/2014/main" id="{4E3C6F7E-BF2E-45FD-BF1D-BA58F45AF113}"/>
              </a:ext>
            </a:extLst>
          </p:cNvPr>
          <p:cNvPicPr>
            <a:picLocks noChangeAspect="1"/>
          </p:cNvPicPr>
          <p:nvPr userDrawn="1"/>
        </p:nvPicPr>
        <p:blipFill>
          <a:blip r:embed="rId9"/>
          <a:stretch>
            <a:fillRect/>
          </a:stretch>
        </p:blipFill>
        <p:spPr>
          <a:xfrm>
            <a:off x="7322241" y="3765276"/>
            <a:ext cx="920977" cy="1067799"/>
          </a:xfrm>
          <a:prstGeom prst="rect">
            <a:avLst/>
          </a:prstGeom>
        </p:spPr>
      </p:pic>
      <p:pic>
        <p:nvPicPr>
          <p:cNvPr id="138" name="Picture 137">
            <a:extLst>
              <a:ext uri="{FF2B5EF4-FFF2-40B4-BE49-F238E27FC236}">
                <a16:creationId xmlns:a16="http://schemas.microsoft.com/office/drawing/2014/main" id="{E7E91F6D-DD21-4203-948B-B9CB85C7C454}"/>
              </a:ext>
            </a:extLst>
          </p:cNvPr>
          <p:cNvPicPr>
            <a:picLocks noChangeAspect="1"/>
          </p:cNvPicPr>
          <p:nvPr userDrawn="1"/>
        </p:nvPicPr>
        <p:blipFill>
          <a:blip r:embed="rId10"/>
          <a:stretch>
            <a:fillRect/>
          </a:stretch>
        </p:blipFill>
        <p:spPr>
          <a:xfrm>
            <a:off x="7315618" y="2448329"/>
            <a:ext cx="927600" cy="1067799"/>
          </a:xfrm>
          <a:prstGeom prst="rect">
            <a:avLst/>
          </a:prstGeom>
        </p:spPr>
      </p:pic>
      <p:pic>
        <p:nvPicPr>
          <p:cNvPr id="139" name="Picture 138">
            <a:extLst>
              <a:ext uri="{FF2B5EF4-FFF2-40B4-BE49-F238E27FC236}">
                <a16:creationId xmlns:a16="http://schemas.microsoft.com/office/drawing/2014/main" id="{1CD816D3-F40A-468C-9EFF-4B86E8E07496}"/>
              </a:ext>
            </a:extLst>
          </p:cNvPr>
          <p:cNvPicPr>
            <a:picLocks noChangeAspect="1"/>
          </p:cNvPicPr>
          <p:nvPr userDrawn="1"/>
        </p:nvPicPr>
        <p:blipFill>
          <a:blip r:embed="rId11"/>
          <a:stretch>
            <a:fillRect/>
          </a:stretch>
        </p:blipFill>
        <p:spPr>
          <a:xfrm>
            <a:off x="6623668" y="1942716"/>
            <a:ext cx="709454" cy="822555"/>
          </a:xfrm>
          <a:prstGeom prst="rect">
            <a:avLst/>
          </a:prstGeom>
        </p:spPr>
      </p:pic>
      <p:pic>
        <p:nvPicPr>
          <p:cNvPr id="140" name="Picture 139">
            <a:extLst>
              <a:ext uri="{FF2B5EF4-FFF2-40B4-BE49-F238E27FC236}">
                <a16:creationId xmlns:a16="http://schemas.microsoft.com/office/drawing/2014/main" id="{9FC93869-8C6A-4DA2-8BCA-52EE8E14E4AF}"/>
              </a:ext>
            </a:extLst>
          </p:cNvPr>
          <p:cNvPicPr>
            <a:picLocks noChangeAspect="1"/>
          </p:cNvPicPr>
          <p:nvPr userDrawn="1"/>
        </p:nvPicPr>
        <p:blipFill>
          <a:blip r:embed="rId12"/>
          <a:stretch>
            <a:fillRect/>
          </a:stretch>
        </p:blipFill>
        <p:spPr>
          <a:xfrm>
            <a:off x="7322241" y="1191858"/>
            <a:ext cx="920977" cy="1067799"/>
          </a:xfrm>
          <a:prstGeom prst="rect">
            <a:avLst/>
          </a:prstGeom>
        </p:spPr>
      </p:pic>
      <p:pic>
        <p:nvPicPr>
          <p:cNvPr id="141" name="Picture 140">
            <a:extLst>
              <a:ext uri="{FF2B5EF4-FFF2-40B4-BE49-F238E27FC236}">
                <a16:creationId xmlns:a16="http://schemas.microsoft.com/office/drawing/2014/main" id="{54D7A57E-7335-4E5E-BBCC-9D3DA708EC05}"/>
              </a:ext>
            </a:extLst>
          </p:cNvPr>
          <p:cNvPicPr>
            <a:picLocks noChangeAspect="1"/>
          </p:cNvPicPr>
          <p:nvPr userDrawn="1"/>
        </p:nvPicPr>
        <p:blipFill>
          <a:blip r:embed="rId13"/>
          <a:stretch>
            <a:fillRect/>
          </a:stretch>
        </p:blipFill>
        <p:spPr>
          <a:xfrm>
            <a:off x="5912313" y="3891547"/>
            <a:ext cx="620348" cy="714105"/>
          </a:xfrm>
          <a:prstGeom prst="rect">
            <a:avLst/>
          </a:prstGeom>
        </p:spPr>
      </p:pic>
      <p:pic>
        <p:nvPicPr>
          <p:cNvPr id="143" name="Picture 142">
            <a:extLst>
              <a:ext uri="{FF2B5EF4-FFF2-40B4-BE49-F238E27FC236}">
                <a16:creationId xmlns:a16="http://schemas.microsoft.com/office/drawing/2014/main" id="{A005C5E5-5B1C-4857-BCFD-972EE4BEBBB3}"/>
              </a:ext>
            </a:extLst>
          </p:cNvPr>
          <p:cNvPicPr>
            <a:picLocks noChangeAspect="1"/>
          </p:cNvPicPr>
          <p:nvPr userDrawn="1"/>
        </p:nvPicPr>
        <p:blipFill>
          <a:blip r:embed="rId14"/>
          <a:stretch>
            <a:fillRect/>
          </a:stretch>
        </p:blipFill>
        <p:spPr>
          <a:xfrm>
            <a:off x="5710514" y="4827287"/>
            <a:ext cx="728717" cy="838854"/>
          </a:xfrm>
          <a:prstGeom prst="rect">
            <a:avLst/>
          </a:prstGeom>
        </p:spPr>
      </p:pic>
      <p:sp>
        <p:nvSpPr>
          <p:cNvPr id="145" name="Oval 144">
            <a:extLst>
              <a:ext uri="{FF2B5EF4-FFF2-40B4-BE49-F238E27FC236}">
                <a16:creationId xmlns:a16="http://schemas.microsoft.com/office/drawing/2014/main" id="{4CDA1B5C-77B1-4782-A0F4-2C8E469A068F}"/>
              </a:ext>
            </a:extLst>
          </p:cNvPr>
          <p:cNvSpPr/>
          <p:nvPr userDrawn="1"/>
        </p:nvSpPr>
        <p:spPr>
          <a:xfrm>
            <a:off x="5239063" y="6048886"/>
            <a:ext cx="3316574" cy="259390"/>
          </a:xfrm>
          <a:prstGeom prst="ellipse">
            <a:avLst/>
          </a:prstGeom>
          <a:solidFill>
            <a:srgbClr val="001623">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a:solidFill>
                <a:schemeClr val="bg1"/>
              </a:solidFill>
            </a:endParaRPr>
          </a:p>
        </p:txBody>
      </p:sp>
    </p:spTree>
    <p:extLst>
      <p:ext uri="{BB962C8B-B14F-4D97-AF65-F5344CB8AC3E}">
        <p14:creationId xmlns:p14="http://schemas.microsoft.com/office/powerpoint/2010/main" val="420005579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ITLE SLIDE 1 - Right light vertica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13FAE3-D864-4471-92BF-9C7DF48D003C}"/>
              </a:ext>
            </a:extLst>
          </p:cNvPr>
          <p:cNvSpPr/>
          <p:nvPr userDrawn="1"/>
        </p:nvSpPr>
        <p:spPr>
          <a:xfrm>
            <a:off x="0" y="1"/>
            <a:ext cx="9144000" cy="6858001"/>
          </a:xfrm>
          <a:prstGeom prst="rect">
            <a:avLst/>
          </a:prstGeom>
          <a:gradFill flip="none" rotWithShape="1">
            <a:gsLst>
              <a:gs pos="16000">
                <a:srgbClr val="01060A"/>
              </a:gs>
              <a:gs pos="69000">
                <a:srgbClr val="014A73"/>
              </a:gs>
              <a:gs pos="100000">
                <a:srgbClr val="006B99"/>
              </a:gs>
              <a:gs pos="36000">
                <a:srgbClr val="00141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a:solidFill>
                <a:schemeClr val="bg1"/>
              </a:solidFill>
              <a:latin typeface="Univers 45 Light" pitchFamily="2" charset="0"/>
            </a:endParaRPr>
          </a:p>
        </p:txBody>
      </p:sp>
      <p:sp>
        <p:nvSpPr>
          <p:cNvPr id="11" name="Rectangle 10">
            <a:extLst>
              <a:ext uri="{FF2B5EF4-FFF2-40B4-BE49-F238E27FC236}">
                <a16:creationId xmlns:a16="http://schemas.microsoft.com/office/drawing/2014/main" id="{BD62B0F8-0119-4369-A531-F687F65A45FC}"/>
              </a:ext>
            </a:extLst>
          </p:cNvPr>
          <p:cNvSpPr/>
          <p:nvPr userDrawn="1"/>
        </p:nvSpPr>
        <p:spPr>
          <a:xfrm flipH="1">
            <a:off x="0" y="0"/>
            <a:ext cx="9144000" cy="6858000"/>
          </a:xfrm>
          <a:prstGeom prst="rect">
            <a:avLst/>
          </a:prstGeom>
          <a:gradFill>
            <a:gsLst>
              <a:gs pos="37000">
                <a:srgbClr val="01060A">
                  <a:alpha val="28000"/>
                </a:srgbClr>
              </a:gs>
              <a:gs pos="85000">
                <a:srgbClr val="016D9B">
                  <a:alpha val="0"/>
                </a:srgb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l"/>
            <a:endParaRPr lang="en-US" sz="1125">
              <a:solidFill>
                <a:schemeClr val="bg1"/>
              </a:solidFill>
              <a:latin typeface="Univers 45 Light" pitchFamily="2" charset="0"/>
            </a:endParaRPr>
          </a:p>
        </p:txBody>
      </p:sp>
      <p:pic>
        <p:nvPicPr>
          <p:cNvPr id="127" name="Picture 126" hidden="1">
            <a:extLst>
              <a:ext uri="{FF2B5EF4-FFF2-40B4-BE49-F238E27FC236}">
                <a16:creationId xmlns:a16="http://schemas.microsoft.com/office/drawing/2014/main" id="{9714924C-F470-4F5E-A23C-7CA224A9CF56}"/>
              </a:ext>
            </a:extLst>
          </p:cNvPr>
          <p:cNvPicPr>
            <a:picLocks noChangeAspect="1"/>
          </p:cNvPicPr>
          <p:nvPr userDrawn="1"/>
        </p:nvPicPr>
        <p:blipFill>
          <a:blip r:embed="rId2">
            <a:duotone>
              <a:prstClr val="black"/>
              <a:schemeClr val="accent4">
                <a:tint val="45000"/>
                <a:satMod val="400000"/>
              </a:schemeClr>
            </a:duotone>
            <a:alphaModFix amt="38000"/>
            <a:extLst>
              <a:ext uri="{28A0092B-C50C-407E-A947-70E740481C1C}">
                <a14:useLocalDpi xmlns:a14="http://schemas.microsoft.com/office/drawing/2010/main" val="0"/>
              </a:ext>
            </a:extLst>
          </a:blip>
          <a:stretch>
            <a:fillRect/>
          </a:stretch>
        </p:blipFill>
        <p:spPr>
          <a:xfrm>
            <a:off x="378" y="284"/>
            <a:ext cx="9143244" cy="6857433"/>
          </a:xfrm>
          <a:prstGeom prst="rect">
            <a:avLst/>
          </a:prstGeom>
        </p:spPr>
      </p:pic>
      <p:sp>
        <p:nvSpPr>
          <p:cNvPr id="8" name="Title 1"/>
          <p:cNvSpPr>
            <a:spLocks noGrp="1"/>
          </p:cNvSpPr>
          <p:nvPr>
            <p:ph type="ctrTitle" hasCustomPrompt="1"/>
          </p:nvPr>
        </p:nvSpPr>
        <p:spPr>
          <a:xfrm>
            <a:off x="735620" y="1435300"/>
            <a:ext cx="3646969" cy="3510000"/>
          </a:xfrm>
        </p:spPr>
        <p:txBody>
          <a:bodyPr anchor="t" anchorCtr="0"/>
          <a:lstStyle>
            <a:lvl1pPr algn="l">
              <a:defRPr sz="8250" baseline="0">
                <a:solidFill>
                  <a:schemeClr val="bg1"/>
                </a:solidFill>
              </a:defRPr>
            </a:lvl1pPr>
          </a:lstStyle>
          <a:p>
            <a:r>
              <a:rPr lang="en-US" noProof="0"/>
              <a:t>Title slide 1</a:t>
            </a:r>
            <a:br>
              <a:rPr lang="en-US" noProof="0"/>
            </a:br>
            <a:r>
              <a:rPr lang="en-US" noProof="0"/>
              <a:t>light right vertical image</a:t>
            </a:r>
          </a:p>
        </p:txBody>
      </p:sp>
      <p:sp>
        <p:nvSpPr>
          <p:cNvPr id="6" name="Text Placeholder 3"/>
          <p:cNvSpPr>
            <a:spLocks noGrp="1"/>
          </p:cNvSpPr>
          <p:nvPr>
            <p:ph type="body" sz="quarter" idx="11" hasCustomPrompt="1"/>
          </p:nvPr>
        </p:nvSpPr>
        <p:spPr>
          <a:xfrm>
            <a:off x="765319" y="4095512"/>
            <a:ext cx="3625025" cy="1496398"/>
          </a:xfrm>
        </p:spPr>
        <p:txBody>
          <a:bodyPr/>
          <a:lstStyle>
            <a:lvl1pPr marL="0" marR="0" indent="0" algn="l" defTabSz="685800" rtl="0" eaLnBrk="1" fontAlgn="auto" latinLnBrk="0" hangingPunct="1">
              <a:lnSpc>
                <a:spcPct val="100000"/>
              </a:lnSpc>
              <a:spcBef>
                <a:spcPts val="0"/>
              </a:spcBef>
              <a:spcAft>
                <a:spcPts val="450"/>
              </a:spcAft>
              <a:buClrTx/>
              <a:buSzTx/>
              <a:buFontTx/>
              <a:buNone/>
              <a:tabLst/>
              <a:defRPr sz="825">
                <a:solidFill>
                  <a:schemeClr val="bg1"/>
                </a:solidFill>
              </a:defRPr>
            </a:lvl1pPr>
            <a:lvl2pPr>
              <a:defRPr sz="825">
                <a:solidFill>
                  <a:schemeClr val="bg1"/>
                </a:solidFill>
              </a:defRPr>
            </a:lvl2pPr>
            <a:lvl3pPr>
              <a:buClr>
                <a:schemeClr val="bg1"/>
              </a:buClr>
              <a:defRPr sz="825">
                <a:solidFill>
                  <a:schemeClr val="bg1"/>
                </a:solidFill>
              </a:defRPr>
            </a:lvl3pPr>
            <a:lvl4pPr>
              <a:buClr>
                <a:schemeClr val="bg1"/>
              </a:buClr>
              <a:defRPr sz="825">
                <a:solidFill>
                  <a:schemeClr val="bg1"/>
                </a:solidFill>
              </a:defRPr>
            </a:lvl4pPr>
            <a:lvl5pPr>
              <a:buClr>
                <a:schemeClr val="bg1"/>
              </a:buClr>
              <a:defRPr sz="825">
                <a:solidFill>
                  <a:schemeClr val="bg1"/>
                </a:solidFill>
              </a:defRPr>
            </a:lvl5pPr>
          </a:lstStyle>
          <a:p>
            <a:pPr marL="0" marR="0" lvl="0" indent="0" algn="l" defTabSz="685800" rtl="0" eaLnBrk="1" fontAlgn="auto" latinLnBrk="0" hangingPunct="1">
              <a:lnSpc>
                <a:spcPct val="100000"/>
              </a:lnSpc>
              <a:spcBef>
                <a:spcPts val="0"/>
              </a:spcBef>
              <a:spcAft>
                <a:spcPts val="450"/>
              </a:spcAft>
              <a:buClrTx/>
              <a:buSzTx/>
              <a:buFontTx/>
              <a:buNone/>
              <a:tabLst/>
              <a:defRPr/>
            </a:pPr>
            <a:r>
              <a:rPr lang="en-US"/>
              <a:t>Subtitle here</a:t>
            </a:r>
          </a:p>
        </p:txBody>
      </p:sp>
      <p:sp>
        <p:nvSpPr>
          <p:cNvPr id="7" name="Text Placeholder 4"/>
          <p:cNvSpPr>
            <a:spLocks noGrp="1"/>
          </p:cNvSpPr>
          <p:nvPr>
            <p:ph type="body" sz="quarter" idx="12" hasCustomPrompt="1"/>
          </p:nvPr>
        </p:nvSpPr>
        <p:spPr>
          <a:xfrm>
            <a:off x="765319" y="5823551"/>
            <a:ext cx="1416844" cy="487363"/>
          </a:xfrm>
        </p:spPr>
        <p:txBody>
          <a:bodyPr/>
          <a:lstStyle>
            <a:lvl1pPr>
              <a:defRPr sz="825" b="0">
                <a:solidFill>
                  <a:schemeClr val="bg1"/>
                </a:solidFill>
              </a:defRPr>
            </a:lvl1pPr>
          </a:lstStyle>
          <a:p>
            <a:pPr lvl="0"/>
            <a:r>
              <a:rPr lang="en-US"/>
              <a:t>Date here</a:t>
            </a:r>
          </a:p>
        </p:txBody>
      </p:sp>
      <p:grpSp>
        <p:nvGrpSpPr>
          <p:cNvPr id="13" name="Group 12">
            <a:extLst>
              <a:ext uri="{FF2B5EF4-FFF2-40B4-BE49-F238E27FC236}">
                <a16:creationId xmlns:a16="http://schemas.microsoft.com/office/drawing/2014/main" id="{2A7F6FC8-C42E-4702-900E-02B326D73B7C}"/>
              </a:ext>
            </a:extLst>
          </p:cNvPr>
          <p:cNvGrpSpPr/>
          <p:nvPr userDrawn="1"/>
        </p:nvGrpSpPr>
        <p:grpSpPr>
          <a:xfrm>
            <a:off x="5239063" y="1191858"/>
            <a:ext cx="3316574" cy="5116419"/>
            <a:chOff x="6985417" y="1191857"/>
            <a:chExt cx="4422098" cy="5116419"/>
          </a:xfrm>
        </p:grpSpPr>
        <p:pic>
          <p:nvPicPr>
            <p:cNvPr id="130" name="Graphic 129">
              <a:extLst>
                <a:ext uri="{FF2B5EF4-FFF2-40B4-BE49-F238E27FC236}">
                  <a16:creationId xmlns:a16="http://schemas.microsoft.com/office/drawing/2014/main" id="{828AF780-A6EE-4DF2-922E-B2BF0C1A3E7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090348" y="2171818"/>
              <a:ext cx="1664186" cy="1442295"/>
            </a:xfrm>
            <a:prstGeom prst="rect">
              <a:avLst/>
            </a:prstGeom>
          </p:spPr>
        </p:pic>
        <p:pic>
          <p:nvPicPr>
            <p:cNvPr id="131" name="Graphic 130">
              <a:extLst>
                <a:ext uri="{FF2B5EF4-FFF2-40B4-BE49-F238E27FC236}">
                  <a16:creationId xmlns:a16="http://schemas.microsoft.com/office/drawing/2014/main" id="{0A63B97A-C68F-4C3F-AC83-6D7300CB5F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611464" y="3042703"/>
              <a:ext cx="1232078" cy="1067799"/>
            </a:xfrm>
            <a:prstGeom prst="rect">
              <a:avLst/>
            </a:prstGeom>
          </p:spPr>
        </p:pic>
        <p:pic>
          <p:nvPicPr>
            <p:cNvPr id="135" name="Picture 134">
              <a:extLst>
                <a:ext uri="{FF2B5EF4-FFF2-40B4-BE49-F238E27FC236}">
                  <a16:creationId xmlns:a16="http://schemas.microsoft.com/office/drawing/2014/main" id="{D4A3CB40-4210-4072-A9EA-D2C6BAE8C641}"/>
                </a:ext>
              </a:extLst>
            </p:cNvPr>
            <p:cNvPicPr>
              <a:picLocks noChangeAspect="1"/>
            </p:cNvPicPr>
            <p:nvPr userDrawn="1"/>
          </p:nvPicPr>
          <p:blipFill>
            <a:blip r:embed="rId7"/>
            <a:stretch>
              <a:fillRect/>
            </a:stretch>
          </p:blipFill>
          <p:spPr>
            <a:xfrm>
              <a:off x="8613518" y="4349429"/>
              <a:ext cx="1227969" cy="1067799"/>
            </a:xfrm>
            <a:prstGeom prst="rect">
              <a:avLst/>
            </a:prstGeom>
          </p:spPr>
        </p:pic>
        <p:pic>
          <p:nvPicPr>
            <p:cNvPr id="137" name="Picture 136">
              <a:extLst>
                <a:ext uri="{FF2B5EF4-FFF2-40B4-BE49-F238E27FC236}">
                  <a16:creationId xmlns:a16="http://schemas.microsoft.com/office/drawing/2014/main" id="{4E3C6F7E-BF2E-45FD-BF1D-BA58F45AF113}"/>
                </a:ext>
              </a:extLst>
            </p:cNvPr>
            <p:cNvPicPr>
              <a:picLocks noChangeAspect="1"/>
            </p:cNvPicPr>
            <p:nvPr userDrawn="1"/>
          </p:nvPicPr>
          <p:blipFill>
            <a:blip r:embed="rId8"/>
            <a:stretch>
              <a:fillRect/>
            </a:stretch>
          </p:blipFill>
          <p:spPr>
            <a:xfrm>
              <a:off x="9762988" y="3765275"/>
              <a:ext cx="1227969" cy="1067799"/>
            </a:xfrm>
            <a:prstGeom prst="rect">
              <a:avLst/>
            </a:prstGeom>
          </p:spPr>
        </p:pic>
        <p:pic>
          <p:nvPicPr>
            <p:cNvPr id="138" name="Picture 137">
              <a:extLst>
                <a:ext uri="{FF2B5EF4-FFF2-40B4-BE49-F238E27FC236}">
                  <a16:creationId xmlns:a16="http://schemas.microsoft.com/office/drawing/2014/main" id="{E7E91F6D-DD21-4203-948B-B9CB85C7C454}"/>
                </a:ext>
              </a:extLst>
            </p:cNvPr>
            <p:cNvPicPr>
              <a:picLocks noChangeAspect="1"/>
            </p:cNvPicPr>
            <p:nvPr userDrawn="1"/>
          </p:nvPicPr>
          <p:blipFill>
            <a:blip r:embed="rId9"/>
            <a:stretch>
              <a:fillRect/>
            </a:stretch>
          </p:blipFill>
          <p:spPr>
            <a:xfrm>
              <a:off x="9754157" y="2448328"/>
              <a:ext cx="1236800" cy="1067799"/>
            </a:xfrm>
            <a:prstGeom prst="rect">
              <a:avLst/>
            </a:prstGeom>
          </p:spPr>
        </p:pic>
        <p:pic>
          <p:nvPicPr>
            <p:cNvPr id="139" name="Picture 138">
              <a:extLst>
                <a:ext uri="{FF2B5EF4-FFF2-40B4-BE49-F238E27FC236}">
                  <a16:creationId xmlns:a16="http://schemas.microsoft.com/office/drawing/2014/main" id="{1CD816D3-F40A-468C-9EFF-4B86E8E07496}"/>
                </a:ext>
              </a:extLst>
            </p:cNvPr>
            <p:cNvPicPr>
              <a:picLocks noChangeAspect="1"/>
            </p:cNvPicPr>
            <p:nvPr userDrawn="1"/>
          </p:nvPicPr>
          <p:blipFill>
            <a:blip r:embed="rId10"/>
            <a:stretch>
              <a:fillRect/>
            </a:stretch>
          </p:blipFill>
          <p:spPr>
            <a:xfrm>
              <a:off x="8831557" y="1942715"/>
              <a:ext cx="945938" cy="822555"/>
            </a:xfrm>
            <a:prstGeom prst="rect">
              <a:avLst/>
            </a:prstGeom>
          </p:spPr>
        </p:pic>
        <p:pic>
          <p:nvPicPr>
            <p:cNvPr id="140" name="Picture 139">
              <a:extLst>
                <a:ext uri="{FF2B5EF4-FFF2-40B4-BE49-F238E27FC236}">
                  <a16:creationId xmlns:a16="http://schemas.microsoft.com/office/drawing/2014/main" id="{9FC93869-8C6A-4DA2-8BCA-52EE8E14E4AF}"/>
                </a:ext>
              </a:extLst>
            </p:cNvPr>
            <p:cNvPicPr>
              <a:picLocks noChangeAspect="1"/>
            </p:cNvPicPr>
            <p:nvPr userDrawn="1"/>
          </p:nvPicPr>
          <p:blipFill>
            <a:blip r:embed="rId11"/>
            <a:stretch>
              <a:fillRect/>
            </a:stretch>
          </p:blipFill>
          <p:spPr>
            <a:xfrm>
              <a:off x="9762988" y="1191857"/>
              <a:ext cx="1227969" cy="1067799"/>
            </a:xfrm>
            <a:prstGeom prst="rect">
              <a:avLst/>
            </a:prstGeom>
          </p:spPr>
        </p:pic>
        <p:pic>
          <p:nvPicPr>
            <p:cNvPr id="141" name="Picture 140">
              <a:extLst>
                <a:ext uri="{FF2B5EF4-FFF2-40B4-BE49-F238E27FC236}">
                  <a16:creationId xmlns:a16="http://schemas.microsoft.com/office/drawing/2014/main" id="{54D7A57E-7335-4E5E-BBCC-9D3DA708EC05}"/>
                </a:ext>
              </a:extLst>
            </p:cNvPr>
            <p:cNvPicPr>
              <a:picLocks noChangeAspect="1"/>
            </p:cNvPicPr>
            <p:nvPr userDrawn="1"/>
          </p:nvPicPr>
          <p:blipFill>
            <a:blip r:embed="rId12"/>
            <a:stretch>
              <a:fillRect/>
            </a:stretch>
          </p:blipFill>
          <p:spPr>
            <a:xfrm>
              <a:off x="7883084" y="3891546"/>
              <a:ext cx="827131" cy="714105"/>
            </a:xfrm>
            <a:prstGeom prst="rect">
              <a:avLst/>
            </a:prstGeom>
          </p:spPr>
        </p:pic>
        <p:pic>
          <p:nvPicPr>
            <p:cNvPr id="143" name="Picture 142">
              <a:extLst>
                <a:ext uri="{FF2B5EF4-FFF2-40B4-BE49-F238E27FC236}">
                  <a16:creationId xmlns:a16="http://schemas.microsoft.com/office/drawing/2014/main" id="{A005C5E5-5B1C-4857-BCFD-972EE4BEBBB3}"/>
                </a:ext>
              </a:extLst>
            </p:cNvPr>
            <p:cNvPicPr>
              <a:picLocks noChangeAspect="1"/>
            </p:cNvPicPr>
            <p:nvPr userDrawn="1"/>
          </p:nvPicPr>
          <p:blipFill>
            <a:blip r:embed="rId13"/>
            <a:stretch>
              <a:fillRect/>
            </a:stretch>
          </p:blipFill>
          <p:spPr>
            <a:xfrm>
              <a:off x="7614019" y="4827287"/>
              <a:ext cx="971622" cy="838854"/>
            </a:xfrm>
            <a:prstGeom prst="rect">
              <a:avLst/>
            </a:prstGeom>
          </p:spPr>
        </p:pic>
        <p:sp>
          <p:nvSpPr>
            <p:cNvPr id="145" name="Oval 144">
              <a:extLst>
                <a:ext uri="{FF2B5EF4-FFF2-40B4-BE49-F238E27FC236}">
                  <a16:creationId xmlns:a16="http://schemas.microsoft.com/office/drawing/2014/main" id="{4CDA1B5C-77B1-4782-A0F4-2C8E469A068F}"/>
                </a:ext>
              </a:extLst>
            </p:cNvPr>
            <p:cNvSpPr/>
            <p:nvPr userDrawn="1"/>
          </p:nvSpPr>
          <p:spPr>
            <a:xfrm>
              <a:off x="6985417" y="6048886"/>
              <a:ext cx="4422098" cy="259390"/>
            </a:xfrm>
            <a:prstGeom prst="ellipse">
              <a:avLst/>
            </a:prstGeom>
            <a:solidFill>
              <a:srgbClr val="001623">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25">
                <a:solidFill>
                  <a:schemeClr val="bg1"/>
                </a:solidFill>
              </a:endParaRPr>
            </a:p>
          </p:txBody>
        </p:sp>
      </p:grpSp>
      <p:pic>
        <p:nvPicPr>
          <p:cNvPr id="12" name="Picture 11">
            <a:extLst>
              <a:ext uri="{FF2B5EF4-FFF2-40B4-BE49-F238E27FC236}">
                <a16:creationId xmlns:a16="http://schemas.microsoft.com/office/drawing/2014/main" id="{E178E1C5-E3D2-4F50-ADA8-6F50ADF05B83}"/>
              </a:ext>
            </a:extLst>
          </p:cNvPr>
          <p:cNvPicPr>
            <a:picLocks noChangeAspect="1"/>
          </p:cNvPicPr>
          <p:nvPr userDrawn="1"/>
        </p:nvPicPr>
        <p:blipFill rotWithShape="1">
          <a:blip r:embed="rId14">
            <a:alphaModFix amt="14000"/>
          </a:blip>
          <a:srcRect l="10916" t="13840" r="1948" b="2830"/>
          <a:stretch/>
        </p:blipFill>
        <p:spPr>
          <a:xfrm>
            <a:off x="0" y="0"/>
            <a:ext cx="9144000" cy="6858000"/>
          </a:xfrm>
          <a:prstGeom prst="rect">
            <a:avLst/>
          </a:prstGeom>
        </p:spPr>
      </p:pic>
    </p:spTree>
    <p:extLst>
      <p:ext uri="{BB962C8B-B14F-4D97-AF65-F5344CB8AC3E}">
        <p14:creationId xmlns:p14="http://schemas.microsoft.com/office/powerpoint/2010/main" val="130383871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F19D24D-DEDB-4786-8C00-8D841A657C47}"/>
              </a:ext>
            </a:extLst>
          </p:cNvPr>
          <p:cNvGrpSpPr/>
          <p:nvPr userDrawn="1"/>
        </p:nvGrpSpPr>
        <p:grpSpPr>
          <a:xfrm flipH="1">
            <a:off x="0" y="1"/>
            <a:ext cx="9144000" cy="6858001"/>
            <a:chOff x="0" y="0"/>
            <a:chExt cx="12192000" cy="6858001"/>
          </a:xfrm>
        </p:grpSpPr>
        <p:sp>
          <p:nvSpPr>
            <p:cNvPr id="14" name="Rectangle 13">
              <a:extLst>
                <a:ext uri="{FF2B5EF4-FFF2-40B4-BE49-F238E27FC236}">
                  <a16:creationId xmlns:a16="http://schemas.microsoft.com/office/drawing/2014/main" id="{82E7DDA5-D87C-4CE4-B47F-8874ACF5729E}"/>
                </a:ext>
              </a:extLst>
            </p:cNvPr>
            <p:cNvSpPr/>
            <p:nvPr userDrawn="1"/>
          </p:nvSpPr>
          <p:spPr>
            <a:xfrm>
              <a:off x="0" y="0"/>
              <a:ext cx="12192000" cy="6858001"/>
            </a:xfrm>
            <a:prstGeom prst="rect">
              <a:avLst/>
            </a:prstGeom>
            <a:gradFill flip="none" rotWithShape="1">
              <a:gsLst>
                <a:gs pos="16000">
                  <a:srgbClr val="01060A"/>
                </a:gs>
                <a:gs pos="69000">
                  <a:srgbClr val="014A73"/>
                </a:gs>
                <a:gs pos="100000">
                  <a:srgbClr val="006B99"/>
                </a:gs>
                <a:gs pos="36000">
                  <a:srgbClr val="00141F"/>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25">
                <a:solidFill>
                  <a:schemeClr val="bg1"/>
                </a:solidFill>
                <a:latin typeface="Univers 45 Light" pitchFamily="2" charset="0"/>
              </a:endParaRPr>
            </a:p>
          </p:txBody>
        </p:sp>
        <p:sp>
          <p:nvSpPr>
            <p:cNvPr id="19" name="Rectangle 18">
              <a:extLst>
                <a:ext uri="{FF2B5EF4-FFF2-40B4-BE49-F238E27FC236}">
                  <a16:creationId xmlns:a16="http://schemas.microsoft.com/office/drawing/2014/main" id="{C171EACD-0040-4DF5-ADE8-0169BBF2199F}"/>
                </a:ext>
              </a:extLst>
            </p:cNvPr>
            <p:cNvSpPr/>
            <p:nvPr userDrawn="1"/>
          </p:nvSpPr>
          <p:spPr>
            <a:xfrm flipH="1">
              <a:off x="0" y="0"/>
              <a:ext cx="12192000" cy="6858000"/>
            </a:xfrm>
            <a:prstGeom prst="rect">
              <a:avLst/>
            </a:prstGeom>
            <a:gradFill>
              <a:gsLst>
                <a:gs pos="37000">
                  <a:srgbClr val="01060A">
                    <a:alpha val="28000"/>
                  </a:srgbClr>
                </a:gs>
                <a:gs pos="85000">
                  <a:srgbClr val="016D9B">
                    <a:alpha val="0"/>
                  </a:srgb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125">
                <a:solidFill>
                  <a:schemeClr val="bg1"/>
                </a:solidFill>
                <a:latin typeface="Univers 45 Light" pitchFamily="2" charset="0"/>
              </a:endParaRPr>
            </a:p>
          </p:txBody>
        </p:sp>
      </p:grpSp>
      <p:pic>
        <p:nvPicPr>
          <p:cNvPr id="21" name="Picture 20">
            <a:extLst>
              <a:ext uri="{FF2B5EF4-FFF2-40B4-BE49-F238E27FC236}">
                <a16:creationId xmlns:a16="http://schemas.microsoft.com/office/drawing/2014/main" id="{527737FA-E638-4BE4-A7DE-8853E73E8E00}"/>
              </a:ext>
            </a:extLst>
          </p:cNvPr>
          <p:cNvPicPr>
            <a:picLocks noChangeAspect="1"/>
          </p:cNvPicPr>
          <p:nvPr userDrawn="1"/>
        </p:nvPicPr>
        <p:blipFill rotWithShape="1">
          <a:blip r:embed="rId2">
            <a:duotone>
              <a:schemeClr val="accent1">
                <a:shade val="45000"/>
                <a:satMod val="135000"/>
              </a:schemeClr>
              <a:prstClr val="white"/>
            </a:duotone>
            <a:alphaModFix amt="16000"/>
          </a:blip>
          <a:srcRect l="39300" b="19099"/>
          <a:stretch/>
        </p:blipFill>
        <p:spPr>
          <a:xfrm flipH="1">
            <a:off x="1213335" y="1"/>
            <a:ext cx="7930665" cy="6858003"/>
          </a:xfrm>
          <a:prstGeom prst="rect">
            <a:avLst/>
          </a:prstGeom>
        </p:spPr>
      </p:pic>
      <p:sp>
        <p:nvSpPr>
          <p:cNvPr id="17" name="Title 1">
            <a:extLst>
              <a:ext uri="{FF2B5EF4-FFF2-40B4-BE49-F238E27FC236}">
                <a16:creationId xmlns:a16="http://schemas.microsoft.com/office/drawing/2014/main" id="{69359458-9ACF-4D32-BD81-F7DD6EADA603}"/>
              </a:ext>
            </a:extLst>
          </p:cNvPr>
          <p:cNvSpPr>
            <a:spLocks noGrp="1"/>
          </p:cNvSpPr>
          <p:nvPr>
            <p:ph type="ctrTitle"/>
          </p:nvPr>
        </p:nvSpPr>
        <p:spPr>
          <a:xfrm>
            <a:off x="735620" y="1435300"/>
            <a:ext cx="4184515" cy="3510000"/>
          </a:xfrm>
        </p:spPr>
        <p:txBody>
          <a:bodyPr anchor="t" anchorCtr="0"/>
          <a:lstStyle>
            <a:lvl1pPr algn="l">
              <a:defRPr sz="4500" baseline="0">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6394147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lnSpc>
                <a:spcPct val="100000"/>
              </a:lnSpc>
              <a:defRPr>
                <a:latin typeface="+mn-lt"/>
              </a:defRPr>
            </a:lvl1pPr>
          </a:lstStyle>
          <a:p>
            <a:r>
              <a:rPr lang="en-US" noProof="0"/>
              <a:t>Click to edit Master title style</a:t>
            </a:r>
          </a:p>
        </p:txBody>
      </p:sp>
    </p:spTree>
    <p:extLst>
      <p:ext uri="{BB962C8B-B14F-4D97-AF65-F5344CB8AC3E}">
        <p14:creationId xmlns:p14="http://schemas.microsoft.com/office/powerpoint/2010/main" val="3393977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1D803AF9-9F6A-4DAF-86D9-A53E34EE7B47}"/>
              </a:ext>
            </a:extLst>
          </p:cNvPr>
          <p:cNvCxnSpPr/>
          <p:nvPr userDrawn="1"/>
        </p:nvCxnSpPr>
        <p:spPr>
          <a:xfrm>
            <a:off x="690094" y="958332"/>
            <a:ext cx="845390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89A53F4-9560-4A30-9754-912EA9175B06}"/>
              </a:ext>
            </a:extLst>
          </p:cNvPr>
          <p:cNvSpPr txBox="1"/>
          <p:nvPr userDrawn="1"/>
        </p:nvSpPr>
        <p:spPr>
          <a:xfrm>
            <a:off x="0" y="900412"/>
            <a:ext cx="2448233" cy="121269"/>
          </a:xfrm>
          <a:prstGeom prst="homePlate">
            <a:avLst/>
          </a:prstGeom>
          <a:solidFill>
            <a:schemeClr val="tx2"/>
          </a:solidFill>
          <a:ln>
            <a:solidFill>
              <a:srgbClr val="00338D"/>
            </a:solidFill>
          </a:ln>
          <a:effectLst/>
        </p:spPr>
        <p:txBody>
          <a:bodyPr wrap="square" lIns="43065" tIns="8613" rIns="43065" bIns="8613" rtlCol="0" anchor="ctr">
            <a:spAutoFit/>
          </a:bodyPr>
          <a:lstStyle>
            <a:defPPr>
              <a:defRPr lang="en-US"/>
            </a:defPPr>
            <a:lvl1pPr>
              <a:defRPr sz="800" b="1">
                <a:solidFill>
                  <a:schemeClr val="bg1"/>
                </a:solidFill>
              </a:defRPr>
            </a:lvl1pPr>
          </a:lstStyle>
          <a:p>
            <a:endParaRPr lang="en-US" sz="675" i="1"/>
          </a:p>
        </p:txBody>
      </p:sp>
      <p:sp>
        <p:nvSpPr>
          <p:cNvPr id="7" name="Title 24">
            <a:extLst>
              <a:ext uri="{FF2B5EF4-FFF2-40B4-BE49-F238E27FC236}">
                <a16:creationId xmlns:a16="http://schemas.microsoft.com/office/drawing/2014/main" id="{D4EC492A-326F-4186-AE7E-E4C0B1DA2994}"/>
              </a:ext>
            </a:extLst>
          </p:cNvPr>
          <p:cNvSpPr>
            <a:spLocks noGrp="1"/>
          </p:cNvSpPr>
          <p:nvPr>
            <p:ph type="title"/>
          </p:nvPr>
        </p:nvSpPr>
        <p:spPr>
          <a:xfrm>
            <a:off x="1126672" y="201980"/>
            <a:ext cx="6990204" cy="437303"/>
          </a:xfrm>
        </p:spPr>
        <p:txBody>
          <a:bodyPr anchor="ctr"/>
          <a:lstStyle/>
          <a:p>
            <a:endParaRPr lang="en-US" sz="1050" b="1">
              <a:latin typeface="+mj-lt"/>
            </a:endParaRPr>
          </a:p>
        </p:txBody>
      </p:sp>
      <p:sp>
        <p:nvSpPr>
          <p:cNvPr id="8" name="TextBox 7">
            <a:extLst>
              <a:ext uri="{FF2B5EF4-FFF2-40B4-BE49-F238E27FC236}">
                <a16:creationId xmlns:a16="http://schemas.microsoft.com/office/drawing/2014/main" id="{851EA571-830C-47A9-B753-05EE6BD57B40}"/>
              </a:ext>
            </a:extLst>
          </p:cNvPr>
          <p:cNvSpPr txBox="1"/>
          <p:nvPr userDrawn="1"/>
        </p:nvSpPr>
        <p:spPr>
          <a:xfrm>
            <a:off x="235010" y="1150532"/>
            <a:ext cx="8512301" cy="640080"/>
          </a:xfrm>
          <a:prstGeom prst="rect">
            <a:avLst/>
          </a:prstGeom>
          <a:noFill/>
        </p:spPr>
        <p:txBody>
          <a:bodyPr wrap="square" lIns="40958" tIns="40958" rIns="40958" bIns="40958" rtlCol="0" anchor="t">
            <a:noAutofit/>
          </a:bodyPr>
          <a:lstStyle>
            <a:defPPr>
              <a:defRPr lang="en-US"/>
            </a:defPPr>
            <a:lvl1pPr algn="ctr">
              <a:spcAft>
                <a:spcPts val="600"/>
              </a:spcAft>
              <a:defRPr sz="1200" b="1">
                <a:solidFill>
                  <a:schemeClr val="tx2"/>
                </a:solidFill>
              </a:defRPr>
            </a:lvl1pPr>
          </a:lstStyle>
          <a:p>
            <a:pPr algn="l"/>
            <a:endParaRPr lang="en-US" sz="1050"/>
          </a:p>
        </p:txBody>
      </p:sp>
    </p:spTree>
    <p:extLst>
      <p:ext uri="{BB962C8B-B14F-4D97-AF65-F5344CB8AC3E}">
        <p14:creationId xmlns:p14="http://schemas.microsoft.com/office/powerpoint/2010/main" val="17683605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AEDD70FA-59E1-4157-923E-C4A67B08AD84}" type="slidenum">
              <a:rPr lang="en-US"/>
              <a:pPr fontAlgn="base">
                <a:spcAft>
                  <a:spcPct val="0"/>
                </a:spcAft>
                <a:defRPr/>
              </a:pPr>
              <a:t>‹#›</a:t>
            </a:fld>
            <a:endParaRPr lang="en-US" dirty="0"/>
          </a:p>
        </p:txBody>
      </p:sp>
      <p:sp>
        <p:nvSpPr>
          <p:cNvPr id="5" name="Title 1"/>
          <p:cNvSpPr>
            <a:spLocks noGrp="1"/>
          </p:cNvSpPr>
          <p:nvPr>
            <p:ph type="title"/>
          </p:nvPr>
        </p:nvSpPr>
        <p:spPr>
          <a:xfrm>
            <a:off x="736600" y="109538"/>
            <a:ext cx="5664200" cy="762000"/>
          </a:xfrm>
        </p:spPr>
        <p:txBody>
          <a:bodyPr anchor="b"/>
          <a:lstStyle>
            <a:lvl1pPr>
              <a:defRPr sz="2400">
                <a:latin typeface="+mj-lt"/>
                <a:cs typeface="Book Antiqua" pitchFamily="18" charset="0"/>
              </a:defRPr>
            </a:lvl1pPr>
          </a:lstStyle>
          <a:p>
            <a:r>
              <a:rPr lang="en-US" dirty="0"/>
              <a:t>Click to edit Master title style</a:t>
            </a:r>
          </a:p>
        </p:txBody>
      </p:sp>
    </p:spTree>
    <p:extLst>
      <p:ext uri="{BB962C8B-B14F-4D97-AF65-F5344CB8AC3E}">
        <p14:creationId xmlns:p14="http://schemas.microsoft.com/office/powerpoint/2010/main" val="33781087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Title 2"/>
          <p:cNvSpPr>
            <a:spLocks noGrp="1"/>
          </p:cNvSpPr>
          <p:nvPr>
            <p:ph type="title"/>
          </p:nvPr>
        </p:nvSpPr>
        <p:spPr>
          <a:xfrm>
            <a:off x="748800" y="431800"/>
            <a:ext cx="7646400" cy="533400"/>
          </a:xfrm>
        </p:spPr>
        <p:txBody>
          <a:bodyPr/>
          <a:lstStyle>
            <a:lvl1pPr>
              <a:lnSpc>
                <a:spcPct val="72000"/>
              </a:lnSpc>
              <a:defRPr/>
            </a:lvl1pPr>
          </a:lstStyle>
          <a:p>
            <a:r>
              <a:rPr lang="en-US" noProof="0"/>
              <a:t>Click to edit Master title style</a:t>
            </a:r>
          </a:p>
        </p:txBody>
      </p:sp>
      <p:sp>
        <p:nvSpPr>
          <p:cNvPr id="7" name="Content Placeholder 3">
            <a:extLst>
              <a:ext uri="{FF2B5EF4-FFF2-40B4-BE49-F238E27FC236}">
                <a16:creationId xmlns:a16="http://schemas.microsoft.com/office/drawing/2014/main" id="{F8B1C0DB-806D-47A3-B78D-A2F399848C80}"/>
              </a:ext>
            </a:extLst>
          </p:cNvPr>
          <p:cNvSpPr>
            <a:spLocks noGrp="1"/>
          </p:cNvSpPr>
          <p:nvPr>
            <p:ph sz="quarter" idx="11"/>
          </p:nvPr>
        </p:nvSpPr>
        <p:spPr>
          <a:xfrm>
            <a:off x="748904" y="1330325"/>
            <a:ext cx="7646194"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11045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ONE COLUMN TEXT">
    <p:spTree>
      <p:nvGrpSpPr>
        <p:cNvPr id="1" name=""/>
        <p:cNvGrpSpPr/>
        <p:nvPr/>
      </p:nvGrpSpPr>
      <p:grpSpPr>
        <a:xfrm>
          <a:off x="0" y="0"/>
          <a:ext cx="0" cy="0"/>
          <a:chOff x="0" y="0"/>
          <a:chExt cx="0" cy="0"/>
        </a:xfrm>
      </p:grpSpPr>
      <p:sp>
        <p:nvSpPr>
          <p:cNvPr id="3" name="Title 2"/>
          <p:cNvSpPr>
            <a:spLocks noGrp="1"/>
          </p:cNvSpPr>
          <p:nvPr>
            <p:ph type="title"/>
          </p:nvPr>
        </p:nvSpPr>
        <p:spPr>
          <a:xfrm>
            <a:off x="342900" y="431800"/>
            <a:ext cx="7516827" cy="533400"/>
          </a:xfrm>
        </p:spPr>
        <p:txBody>
          <a:bodyPr/>
          <a:lstStyle>
            <a:lvl1pPr>
              <a:lnSpc>
                <a:spcPct val="72000"/>
              </a:lnSpc>
              <a:defRPr sz="2400"/>
            </a:lvl1pPr>
          </a:lstStyle>
          <a:p>
            <a:r>
              <a:rPr lang="en-US" noProof="0"/>
              <a:t>Click to edit Master title style</a:t>
            </a:r>
          </a:p>
        </p:txBody>
      </p:sp>
      <p:sp>
        <p:nvSpPr>
          <p:cNvPr id="85" name="Text Placeholder 4">
            <a:extLst>
              <a:ext uri="{FF2B5EF4-FFF2-40B4-BE49-F238E27FC236}">
                <a16:creationId xmlns:a16="http://schemas.microsoft.com/office/drawing/2014/main" id="{17F88BDB-2C68-4E69-B12A-07FD6448B496}"/>
              </a:ext>
            </a:extLst>
          </p:cNvPr>
          <p:cNvSpPr>
            <a:spLocks noGrp="1"/>
          </p:cNvSpPr>
          <p:nvPr>
            <p:ph type="body" sz="quarter" idx="14" hasCustomPrompt="1"/>
          </p:nvPr>
        </p:nvSpPr>
        <p:spPr>
          <a:xfrm>
            <a:off x="342900" y="227993"/>
            <a:ext cx="6213348" cy="169200"/>
          </a:xfrm>
        </p:spPr>
        <p:txBody>
          <a:bodyPr anchor="b"/>
          <a:lstStyle>
            <a:lvl1pPr>
              <a:spcAft>
                <a:spcPts val="0"/>
              </a:spcAft>
              <a:defRPr sz="900" b="0">
                <a:solidFill>
                  <a:schemeClr val="accent1"/>
                </a:solidFill>
              </a:defRPr>
            </a:lvl1pPr>
          </a:lstStyle>
          <a:p>
            <a:pPr lvl="0"/>
            <a:r>
              <a:rPr lang="en-US"/>
              <a:t>Super title here</a:t>
            </a:r>
          </a:p>
        </p:txBody>
      </p:sp>
    </p:spTree>
    <p:extLst>
      <p:ext uri="{BB962C8B-B14F-4D97-AF65-F5344CB8AC3E}">
        <p14:creationId xmlns:p14="http://schemas.microsoft.com/office/powerpoint/2010/main" val="18520632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Title 2"/>
          <p:cNvSpPr>
            <a:spLocks noGrp="1"/>
          </p:cNvSpPr>
          <p:nvPr>
            <p:ph type="title"/>
          </p:nvPr>
        </p:nvSpPr>
        <p:spPr>
          <a:xfrm>
            <a:off x="342900" y="431800"/>
            <a:ext cx="8335222" cy="533400"/>
          </a:xfrm>
        </p:spPr>
        <p:txBody>
          <a:bodyPr vert="horz" lIns="0" tIns="0" rIns="0" bIns="0" rtlCol="0" anchor="t" anchorCtr="0">
            <a:noAutofit/>
          </a:bodyPr>
          <a:lstStyle>
            <a:lvl1pPr>
              <a:defRPr lang="en-US" sz="2400" noProof="0" dirty="0"/>
            </a:lvl1pPr>
          </a:lstStyle>
          <a:p>
            <a:pPr lvl="0"/>
            <a:r>
              <a:rPr lang="en-US" noProof="0"/>
              <a:t>Click to edit Master title style</a:t>
            </a:r>
          </a:p>
        </p:txBody>
      </p:sp>
      <p:sp>
        <p:nvSpPr>
          <p:cNvPr id="4" name="Text Placeholder 4">
            <a:extLst>
              <a:ext uri="{FF2B5EF4-FFF2-40B4-BE49-F238E27FC236}">
                <a16:creationId xmlns:a16="http://schemas.microsoft.com/office/drawing/2014/main" id="{6B87FF7E-32DB-4943-8A00-56EA9B695DEA}"/>
              </a:ext>
            </a:extLst>
          </p:cNvPr>
          <p:cNvSpPr>
            <a:spLocks noGrp="1"/>
          </p:cNvSpPr>
          <p:nvPr>
            <p:ph type="body" sz="quarter" idx="14" hasCustomPrompt="1"/>
          </p:nvPr>
        </p:nvSpPr>
        <p:spPr>
          <a:xfrm>
            <a:off x="342900" y="227993"/>
            <a:ext cx="6213348" cy="169200"/>
          </a:xfrm>
        </p:spPr>
        <p:txBody>
          <a:bodyPr anchor="b"/>
          <a:lstStyle>
            <a:lvl1pPr>
              <a:spcAft>
                <a:spcPts val="0"/>
              </a:spcAft>
              <a:defRPr sz="900" b="0">
                <a:solidFill>
                  <a:schemeClr val="accent1"/>
                </a:solidFill>
              </a:defRPr>
            </a:lvl1pPr>
          </a:lstStyle>
          <a:p>
            <a:pPr lvl="0"/>
            <a:r>
              <a:rPr lang="en-US"/>
              <a:t>Super title here</a:t>
            </a:r>
          </a:p>
        </p:txBody>
      </p:sp>
    </p:spTree>
    <p:extLst>
      <p:ext uri="{BB962C8B-B14F-4D97-AF65-F5344CB8AC3E}">
        <p14:creationId xmlns:p14="http://schemas.microsoft.com/office/powerpoint/2010/main" val="11516581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ONE COLUMN TEXT">
    <p:spTree>
      <p:nvGrpSpPr>
        <p:cNvPr id="1" name=""/>
        <p:cNvGrpSpPr/>
        <p:nvPr/>
      </p:nvGrpSpPr>
      <p:grpSpPr>
        <a:xfrm>
          <a:off x="0" y="0"/>
          <a:ext cx="0" cy="0"/>
          <a:chOff x="0" y="0"/>
          <a:chExt cx="0" cy="0"/>
        </a:xfrm>
      </p:grpSpPr>
      <p:sp>
        <p:nvSpPr>
          <p:cNvPr id="3" name="Title 2"/>
          <p:cNvSpPr>
            <a:spLocks noGrp="1"/>
          </p:cNvSpPr>
          <p:nvPr>
            <p:ph type="title"/>
          </p:nvPr>
        </p:nvSpPr>
        <p:spPr>
          <a:xfrm>
            <a:off x="342900" y="431800"/>
            <a:ext cx="7516827" cy="533400"/>
          </a:xfrm>
        </p:spPr>
        <p:txBody>
          <a:bodyPr vert="horz" lIns="0" tIns="0" rIns="0" bIns="0" rtlCol="0" anchor="t" anchorCtr="0">
            <a:noAutofit/>
          </a:bodyPr>
          <a:lstStyle>
            <a:lvl1pPr>
              <a:defRPr lang="en-US" sz="2400" noProof="0" dirty="0"/>
            </a:lvl1pPr>
          </a:lstStyle>
          <a:p>
            <a:pPr lvl="0"/>
            <a:r>
              <a:rPr lang="en-US" noProof="0"/>
              <a:t>Click to edit Master title style</a:t>
            </a:r>
          </a:p>
        </p:txBody>
      </p:sp>
      <p:sp>
        <p:nvSpPr>
          <p:cNvPr id="7" name="Content Placeholder 3">
            <a:extLst>
              <a:ext uri="{FF2B5EF4-FFF2-40B4-BE49-F238E27FC236}">
                <a16:creationId xmlns:a16="http://schemas.microsoft.com/office/drawing/2014/main" id="{F8B1C0DB-806D-47A3-B78D-A2F399848C80}"/>
              </a:ext>
            </a:extLst>
          </p:cNvPr>
          <p:cNvSpPr>
            <a:spLocks noGrp="1"/>
          </p:cNvSpPr>
          <p:nvPr>
            <p:ph sz="quarter" idx="11"/>
          </p:nvPr>
        </p:nvSpPr>
        <p:spPr>
          <a:xfrm>
            <a:off x="342900" y="1086315"/>
            <a:ext cx="8335222" cy="50602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63B14D82-1999-449E-933B-8BB358E96C1F}"/>
              </a:ext>
            </a:extLst>
          </p:cNvPr>
          <p:cNvSpPr>
            <a:spLocks noGrp="1"/>
          </p:cNvSpPr>
          <p:nvPr>
            <p:ph type="body" sz="quarter" idx="14" hasCustomPrompt="1"/>
          </p:nvPr>
        </p:nvSpPr>
        <p:spPr>
          <a:xfrm>
            <a:off x="342900" y="227993"/>
            <a:ext cx="6213348" cy="169200"/>
          </a:xfrm>
        </p:spPr>
        <p:txBody>
          <a:bodyPr anchor="b"/>
          <a:lstStyle>
            <a:lvl1pPr>
              <a:spcAft>
                <a:spcPts val="0"/>
              </a:spcAft>
              <a:defRPr sz="900" b="0">
                <a:solidFill>
                  <a:schemeClr val="accent1"/>
                </a:solidFill>
              </a:defRPr>
            </a:lvl1pPr>
          </a:lstStyle>
          <a:p>
            <a:pPr lvl="0"/>
            <a:r>
              <a:rPr lang="en-US"/>
              <a:t>Super title here</a:t>
            </a:r>
          </a:p>
        </p:txBody>
      </p:sp>
    </p:spTree>
    <p:extLst>
      <p:ext uri="{BB962C8B-B14F-4D97-AF65-F5344CB8AC3E}">
        <p14:creationId xmlns:p14="http://schemas.microsoft.com/office/powerpoint/2010/main" val="3351751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lvl1pPr>
              <a:lnSpc>
                <a:spcPct val="72000"/>
              </a:lnSpc>
              <a:defRPr/>
            </a:lvl1pPr>
          </a:lstStyle>
          <a:p>
            <a:r>
              <a:rPr lang="en-US" noProof="0"/>
              <a:t>Click to edit Master title style</a:t>
            </a:r>
          </a:p>
        </p:txBody>
      </p:sp>
      <p:sp>
        <p:nvSpPr>
          <p:cNvPr id="10" name="Content Placeholder 4">
            <a:extLst>
              <a:ext uri="{FF2B5EF4-FFF2-40B4-BE49-F238E27FC236}">
                <a16:creationId xmlns:a16="http://schemas.microsoft.com/office/drawing/2014/main" id="{50F868ED-95AF-4343-98A0-ABF6E6560C3C}"/>
              </a:ext>
            </a:extLst>
          </p:cNvPr>
          <p:cNvSpPr>
            <a:spLocks noGrp="1"/>
          </p:cNvSpPr>
          <p:nvPr>
            <p:ph sz="quarter" idx="12"/>
          </p:nvPr>
        </p:nvSpPr>
        <p:spPr>
          <a:xfrm>
            <a:off x="752475" y="1330325"/>
            <a:ext cx="3725466"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6">
            <a:extLst>
              <a:ext uri="{FF2B5EF4-FFF2-40B4-BE49-F238E27FC236}">
                <a16:creationId xmlns:a16="http://schemas.microsoft.com/office/drawing/2014/main" id="{27B4424D-AC62-497B-A940-0042C0AF6991}"/>
              </a:ext>
            </a:extLst>
          </p:cNvPr>
          <p:cNvSpPr>
            <a:spLocks noGrp="1"/>
          </p:cNvSpPr>
          <p:nvPr>
            <p:ph sz="quarter" idx="13"/>
          </p:nvPr>
        </p:nvSpPr>
        <p:spPr>
          <a:xfrm>
            <a:off x="4664869" y="1330325"/>
            <a:ext cx="3725466" cy="4546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7AD57380-FE97-4CC7-8295-8017CD7626EB}"/>
              </a:ext>
            </a:extLst>
          </p:cNvPr>
          <p:cNvSpPr>
            <a:spLocks noGrp="1"/>
          </p:cNvSpPr>
          <p:nvPr>
            <p:ph type="body" sz="quarter" idx="14" hasCustomPrompt="1"/>
          </p:nvPr>
        </p:nvSpPr>
        <p:spPr>
          <a:xfrm>
            <a:off x="748800" y="227993"/>
            <a:ext cx="6213348" cy="169200"/>
          </a:xfrm>
        </p:spPr>
        <p:txBody>
          <a:bodyPr anchor="b"/>
          <a:lstStyle>
            <a:lvl1pPr>
              <a:spcAft>
                <a:spcPts val="0"/>
              </a:spcAft>
              <a:defRPr sz="900" b="0">
                <a:solidFill>
                  <a:schemeClr val="accent1"/>
                </a:solidFill>
              </a:defRPr>
            </a:lvl1pPr>
          </a:lstStyle>
          <a:p>
            <a:pPr lvl="0"/>
            <a:r>
              <a:rPr lang="en-US"/>
              <a:t>Super title here</a:t>
            </a:r>
          </a:p>
        </p:txBody>
      </p:sp>
    </p:spTree>
    <p:extLst>
      <p:ext uri="{BB962C8B-B14F-4D97-AF65-F5344CB8AC3E}">
        <p14:creationId xmlns:p14="http://schemas.microsoft.com/office/powerpoint/2010/main" val="25556390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lvl1pPr>
              <a:lnSpc>
                <a:spcPct val="72000"/>
              </a:lnSpc>
              <a:defRPr/>
            </a:lvl1pPr>
          </a:lstStyle>
          <a:p>
            <a:r>
              <a:rPr lang="en-US" noProof="0"/>
              <a:t>Click to edit Master title style</a:t>
            </a:r>
          </a:p>
        </p:txBody>
      </p:sp>
      <p:sp>
        <p:nvSpPr>
          <p:cNvPr id="10" name="Content Placeholder 4">
            <a:extLst>
              <a:ext uri="{FF2B5EF4-FFF2-40B4-BE49-F238E27FC236}">
                <a16:creationId xmlns:a16="http://schemas.microsoft.com/office/drawing/2014/main" id="{50F868ED-95AF-4343-98A0-ABF6E6560C3C}"/>
              </a:ext>
            </a:extLst>
          </p:cNvPr>
          <p:cNvSpPr>
            <a:spLocks noGrp="1"/>
          </p:cNvSpPr>
          <p:nvPr>
            <p:ph sz="quarter" idx="12"/>
          </p:nvPr>
        </p:nvSpPr>
        <p:spPr>
          <a:xfrm>
            <a:off x="2993164" y="1330325"/>
            <a:ext cx="5397170" cy="1828800"/>
          </a:xfrm>
        </p:spPr>
        <p:txBody>
          <a:bodyPr lIns="45720" tIns="45720" rIns="4572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6">
            <a:extLst>
              <a:ext uri="{FF2B5EF4-FFF2-40B4-BE49-F238E27FC236}">
                <a16:creationId xmlns:a16="http://schemas.microsoft.com/office/drawing/2014/main" id="{27B4424D-AC62-497B-A940-0042C0AF6991}"/>
              </a:ext>
            </a:extLst>
          </p:cNvPr>
          <p:cNvSpPr>
            <a:spLocks noGrp="1"/>
          </p:cNvSpPr>
          <p:nvPr>
            <p:ph sz="quarter" idx="13"/>
          </p:nvPr>
        </p:nvSpPr>
        <p:spPr>
          <a:xfrm>
            <a:off x="2993164" y="3429000"/>
            <a:ext cx="5397171" cy="2447925"/>
          </a:xfrm>
        </p:spPr>
        <p:txBody>
          <a:bodyPr lIns="45720" tIns="45720" rIns="4572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7AD57380-FE97-4CC7-8295-8017CD7626EB}"/>
              </a:ext>
            </a:extLst>
          </p:cNvPr>
          <p:cNvSpPr>
            <a:spLocks noGrp="1"/>
          </p:cNvSpPr>
          <p:nvPr>
            <p:ph type="body" sz="quarter" idx="14" hasCustomPrompt="1"/>
          </p:nvPr>
        </p:nvSpPr>
        <p:spPr>
          <a:xfrm>
            <a:off x="748800" y="227993"/>
            <a:ext cx="6213348" cy="169200"/>
          </a:xfrm>
        </p:spPr>
        <p:txBody>
          <a:bodyPr anchor="b"/>
          <a:lstStyle>
            <a:lvl1pPr>
              <a:spcAft>
                <a:spcPts val="0"/>
              </a:spcAft>
              <a:defRPr sz="900" b="0">
                <a:solidFill>
                  <a:schemeClr val="accent1"/>
                </a:solidFill>
              </a:defRPr>
            </a:lvl1pPr>
          </a:lstStyle>
          <a:p>
            <a:pPr lvl="0"/>
            <a:r>
              <a:rPr lang="en-US"/>
              <a:t>Super title here</a:t>
            </a:r>
          </a:p>
        </p:txBody>
      </p:sp>
      <p:sp>
        <p:nvSpPr>
          <p:cNvPr id="6" name="Content Placeholder 3">
            <a:extLst>
              <a:ext uri="{FF2B5EF4-FFF2-40B4-BE49-F238E27FC236}">
                <a16:creationId xmlns:a16="http://schemas.microsoft.com/office/drawing/2014/main" id="{D61908AF-5AD1-4AD0-969A-D85946BFA593}"/>
              </a:ext>
            </a:extLst>
          </p:cNvPr>
          <p:cNvSpPr>
            <a:spLocks noGrp="1"/>
          </p:cNvSpPr>
          <p:nvPr>
            <p:ph sz="quarter" idx="11"/>
          </p:nvPr>
        </p:nvSpPr>
        <p:spPr>
          <a:xfrm>
            <a:off x="748904" y="1330325"/>
            <a:ext cx="2057400" cy="4546600"/>
          </a:xfrm>
          <a:solidFill>
            <a:schemeClr val="accent3"/>
          </a:solidFill>
        </p:spPr>
        <p:txBody>
          <a:bodyPr lIns="45720" tIns="45720" rIns="45720" bIns="4572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97875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752400" y="432000"/>
            <a:ext cx="7639200" cy="518400"/>
          </a:xfrm>
        </p:spPr>
        <p:txBody>
          <a:bodyPr/>
          <a:lstStyle>
            <a:lvl1pPr>
              <a:lnSpc>
                <a:spcPct val="72000"/>
              </a:lnSpc>
              <a:defRPr/>
            </a:lvl1pPr>
          </a:lstStyle>
          <a:p>
            <a:r>
              <a:rPr lang="en-US" noProof="0"/>
              <a:t>Click to edit Master title style</a:t>
            </a:r>
          </a:p>
        </p:txBody>
      </p:sp>
      <p:sp>
        <p:nvSpPr>
          <p:cNvPr id="12" name="Text Placeholder 4">
            <a:extLst>
              <a:ext uri="{FF2B5EF4-FFF2-40B4-BE49-F238E27FC236}">
                <a16:creationId xmlns:a16="http://schemas.microsoft.com/office/drawing/2014/main" id="{7AD57380-FE97-4CC7-8295-8017CD7626EB}"/>
              </a:ext>
            </a:extLst>
          </p:cNvPr>
          <p:cNvSpPr>
            <a:spLocks noGrp="1"/>
          </p:cNvSpPr>
          <p:nvPr>
            <p:ph type="body" sz="quarter" idx="14" hasCustomPrompt="1"/>
          </p:nvPr>
        </p:nvSpPr>
        <p:spPr>
          <a:xfrm>
            <a:off x="748800" y="227993"/>
            <a:ext cx="6213348" cy="169200"/>
          </a:xfrm>
        </p:spPr>
        <p:txBody>
          <a:bodyPr anchor="b"/>
          <a:lstStyle>
            <a:lvl1pPr>
              <a:spcAft>
                <a:spcPts val="0"/>
              </a:spcAft>
              <a:defRPr sz="900" b="0">
                <a:solidFill>
                  <a:schemeClr val="accent1"/>
                </a:solidFill>
              </a:defRPr>
            </a:lvl1pPr>
          </a:lstStyle>
          <a:p>
            <a:pPr lvl="0"/>
            <a:r>
              <a:rPr lang="en-US"/>
              <a:t>Super title here</a:t>
            </a:r>
          </a:p>
        </p:txBody>
      </p:sp>
      <p:sp>
        <p:nvSpPr>
          <p:cNvPr id="6" name="Content Placeholder 3">
            <a:extLst>
              <a:ext uri="{FF2B5EF4-FFF2-40B4-BE49-F238E27FC236}">
                <a16:creationId xmlns:a16="http://schemas.microsoft.com/office/drawing/2014/main" id="{D61908AF-5AD1-4AD0-969A-D85946BFA593}"/>
              </a:ext>
            </a:extLst>
          </p:cNvPr>
          <p:cNvSpPr>
            <a:spLocks noGrp="1"/>
          </p:cNvSpPr>
          <p:nvPr>
            <p:ph sz="quarter" idx="11"/>
          </p:nvPr>
        </p:nvSpPr>
        <p:spPr>
          <a:xfrm>
            <a:off x="748903" y="1330325"/>
            <a:ext cx="7639199" cy="1828800"/>
          </a:xfrm>
          <a:solidFill>
            <a:schemeClr val="accent3"/>
          </a:solidFill>
        </p:spPr>
        <p:txBody>
          <a:bodyPr lIns="45720" tIns="45720" rIns="45720" bIns="4572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4">
            <a:extLst>
              <a:ext uri="{FF2B5EF4-FFF2-40B4-BE49-F238E27FC236}">
                <a16:creationId xmlns:a16="http://schemas.microsoft.com/office/drawing/2014/main" id="{330EA15A-1B54-44E3-9357-265E2E173D69}"/>
              </a:ext>
            </a:extLst>
          </p:cNvPr>
          <p:cNvSpPr>
            <a:spLocks noGrp="1"/>
          </p:cNvSpPr>
          <p:nvPr>
            <p:ph sz="quarter" idx="12"/>
          </p:nvPr>
        </p:nvSpPr>
        <p:spPr>
          <a:xfrm>
            <a:off x="752475" y="3429000"/>
            <a:ext cx="3725466" cy="2447925"/>
          </a:xfrm>
        </p:spPr>
        <p:txBody>
          <a:bodyPr lIns="45720" tIns="45720" rIns="4572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38CEC4D5-DA1C-4BE7-A885-1E083CAFE699}"/>
              </a:ext>
            </a:extLst>
          </p:cNvPr>
          <p:cNvSpPr>
            <a:spLocks noGrp="1"/>
          </p:cNvSpPr>
          <p:nvPr>
            <p:ph sz="quarter" idx="13"/>
          </p:nvPr>
        </p:nvSpPr>
        <p:spPr>
          <a:xfrm>
            <a:off x="4664869" y="3429000"/>
            <a:ext cx="3725466" cy="2447925"/>
          </a:xfrm>
        </p:spPr>
        <p:txBody>
          <a:bodyPr lIns="45720" tIns="45720" rIns="4572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566326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10" name="object 3"/>
          <p:cNvSpPr/>
          <p:nvPr userDrawn="1"/>
        </p:nvSpPr>
        <p:spPr>
          <a:xfrm>
            <a:off x="1" y="1"/>
            <a:ext cx="1190798"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2"/>
          </a:solidFill>
        </p:spPr>
        <p:txBody>
          <a:bodyPr wrap="square" lIns="0" tIns="0" rIns="0" bIns="0" rtlCol="0">
            <a:noAutofit/>
          </a:bodyPr>
          <a:lstStyle/>
          <a:p>
            <a:endParaRPr sz="1350">
              <a:latin typeface="Univers 45 Light" pitchFamily="2" charset="0"/>
            </a:endParaRPr>
          </a:p>
        </p:txBody>
      </p:sp>
      <p:sp>
        <p:nvSpPr>
          <p:cNvPr id="22" name="Text Placeholder 2"/>
          <p:cNvSpPr>
            <a:spLocks noGrp="1"/>
          </p:cNvSpPr>
          <p:nvPr>
            <p:ph type="body" sz="quarter" idx="11"/>
          </p:nvPr>
        </p:nvSpPr>
        <p:spPr>
          <a:xfrm>
            <a:off x="2046873" y="4642765"/>
            <a:ext cx="5888813" cy="398273"/>
          </a:xfrm>
        </p:spPr>
        <p:txBody>
          <a:bodyPr/>
          <a:lstStyle>
            <a:lvl1pPr>
              <a:buFontTx/>
              <a:buNone/>
              <a:defRPr sz="825" b="0">
                <a:solidFill>
                  <a:schemeClr val="bg1">
                    <a:lumMod val="65000"/>
                  </a:schemeClr>
                </a:solidFill>
              </a:defRPr>
            </a:lvl1pPr>
            <a:lvl2pPr>
              <a:buFontTx/>
              <a:buNone/>
              <a:defRPr sz="825" b="0">
                <a:solidFill>
                  <a:schemeClr val="bg1">
                    <a:lumMod val="65000"/>
                  </a:schemeClr>
                </a:solidFill>
              </a:defRPr>
            </a:lvl2pPr>
            <a:lvl3pPr marL="0" indent="0">
              <a:buFontTx/>
              <a:buNone/>
              <a:defRPr sz="675" b="0">
                <a:solidFill>
                  <a:schemeClr val="bg1">
                    <a:lumMod val="65000"/>
                  </a:schemeClr>
                </a:solidFill>
              </a:defRPr>
            </a:lvl3pPr>
            <a:lvl4pPr marL="259200" indent="0">
              <a:buFontTx/>
              <a:buNone/>
              <a:defRPr sz="675" b="0">
                <a:solidFill>
                  <a:schemeClr val="bg1">
                    <a:lumMod val="65000"/>
                  </a:schemeClr>
                </a:solidFill>
              </a:defRPr>
            </a:lvl4pPr>
            <a:lvl5pPr marL="405000" indent="0">
              <a:buFontTx/>
              <a:buNone/>
              <a:defRPr sz="675" b="0">
                <a:solidFill>
                  <a:schemeClr val="bg1">
                    <a:lumMod val="65000"/>
                  </a:schemeClr>
                </a:solidFill>
              </a:defRPr>
            </a:lvl5pPr>
          </a:lstStyle>
          <a:p>
            <a:pPr lvl="0"/>
            <a:r>
              <a:rPr lang="en-US" noProof="0"/>
              <a:t>Click to edit Master text styles</a:t>
            </a:r>
          </a:p>
          <a:p>
            <a:pPr lvl="1"/>
            <a:r>
              <a:rPr lang="en-US" noProof="0"/>
              <a:t>Second level</a:t>
            </a:r>
          </a:p>
        </p:txBody>
      </p:sp>
      <p:sp>
        <p:nvSpPr>
          <p:cNvPr id="24" name="Text Placeholder 2"/>
          <p:cNvSpPr>
            <a:spLocks noGrp="1"/>
          </p:cNvSpPr>
          <p:nvPr>
            <p:ph type="body" sz="quarter" idx="12"/>
          </p:nvPr>
        </p:nvSpPr>
        <p:spPr>
          <a:xfrm>
            <a:off x="2046873" y="5107253"/>
            <a:ext cx="5888813" cy="169277"/>
          </a:xfrm>
        </p:spPr>
        <p:txBody>
          <a:bodyPr>
            <a:noAutofit/>
          </a:bodyPr>
          <a:lstStyle>
            <a:lvl1pPr>
              <a:buFontTx/>
              <a:buNone/>
              <a:defRPr sz="825" b="0">
                <a:solidFill>
                  <a:schemeClr val="bg1">
                    <a:lumMod val="65000"/>
                  </a:schemeClr>
                </a:solidFill>
              </a:defRPr>
            </a:lvl1pPr>
            <a:lvl2pPr>
              <a:buFontTx/>
              <a:buNone/>
              <a:defRPr sz="675" b="0">
                <a:solidFill>
                  <a:schemeClr val="bg1">
                    <a:lumMod val="65000"/>
                  </a:schemeClr>
                </a:solidFill>
              </a:defRPr>
            </a:lvl2pPr>
            <a:lvl3pPr marL="0" indent="0">
              <a:buFontTx/>
              <a:buNone/>
              <a:defRPr sz="675" b="0">
                <a:solidFill>
                  <a:schemeClr val="bg1">
                    <a:lumMod val="65000"/>
                  </a:schemeClr>
                </a:solidFill>
              </a:defRPr>
            </a:lvl3pPr>
            <a:lvl4pPr marL="259200" indent="0">
              <a:buFontTx/>
              <a:buNone/>
              <a:defRPr sz="675" b="0">
                <a:solidFill>
                  <a:schemeClr val="bg1">
                    <a:lumMod val="65000"/>
                  </a:schemeClr>
                </a:solidFill>
              </a:defRPr>
            </a:lvl4pPr>
            <a:lvl5pPr marL="405000" indent="0">
              <a:buFontTx/>
              <a:buNone/>
              <a:defRPr sz="675" b="0">
                <a:solidFill>
                  <a:schemeClr val="bg1">
                    <a:lumMod val="65000"/>
                  </a:schemeClr>
                </a:solidFill>
              </a:defRPr>
            </a:lvl5pPr>
          </a:lstStyle>
          <a:p>
            <a:pPr lvl="0"/>
            <a:r>
              <a:rPr lang="en-US" noProof="0"/>
              <a:t>Click to edit Master text styles</a:t>
            </a:r>
          </a:p>
        </p:txBody>
      </p:sp>
      <p:sp>
        <p:nvSpPr>
          <p:cNvPr id="25" name="Text Placeholder 2"/>
          <p:cNvSpPr>
            <a:spLocks noGrp="1"/>
          </p:cNvSpPr>
          <p:nvPr>
            <p:ph type="body" sz="quarter" idx="13"/>
          </p:nvPr>
        </p:nvSpPr>
        <p:spPr>
          <a:xfrm>
            <a:off x="2046873" y="3831758"/>
            <a:ext cx="5888813" cy="645053"/>
          </a:xfrm>
        </p:spPr>
        <p:txBody>
          <a:bodyPr/>
          <a:lstStyle>
            <a:lvl1pPr>
              <a:buFontTx/>
              <a:buNone/>
              <a:defRPr sz="825" b="0">
                <a:solidFill>
                  <a:schemeClr val="bg1">
                    <a:lumMod val="65000"/>
                  </a:schemeClr>
                </a:solidFill>
              </a:defRPr>
            </a:lvl1pPr>
            <a:lvl2pPr>
              <a:buFontTx/>
              <a:buNone/>
              <a:defRPr sz="825" b="0">
                <a:solidFill>
                  <a:schemeClr val="bg1">
                    <a:lumMod val="65000"/>
                  </a:schemeClr>
                </a:solidFill>
              </a:defRPr>
            </a:lvl2pPr>
            <a:lvl3pPr marL="0" indent="0">
              <a:buFontTx/>
              <a:buNone/>
              <a:defRPr sz="675" b="0">
                <a:solidFill>
                  <a:schemeClr val="bg1">
                    <a:lumMod val="65000"/>
                  </a:schemeClr>
                </a:solidFill>
              </a:defRPr>
            </a:lvl3pPr>
            <a:lvl4pPr marL="259200" indent="0">
              <a:buFontTx/>
              <a:buNone/>
              <a:defRPr sz="675" b="0">
                <a:solidFill>
                  <a:schemeClr val="bg1">
                    <a:lumMod val="65000"/>
                  </a:schemeClr>
                </a:solidFill>
              </a:defRPr>
            </a:lvl4pPr>
            <a:lvl5pPr marL="405000" indent="0">
              <a:buFontTx/>
              <a:buNone/>
              <a:defRPr sz="675" b="0">
                <a:solidFill>
                  <a:schemeClr val="bg1">
                    <a:lumMod val="65000"/>
                  </a:schemeClr>
                </a:solidFill>
              </a:defRPr>
            </a:lvl5pPr>
          </a:lstStyle>
          <a:p>
            <a:pPr lvl="0"/>
            <a:r>
              <a:rPr lang="en-US" noProof="0"/>
              <a:t>Click to edit Master text styles</a:t>
            </a:r>
          </a:p>
          <a:p>
            <a:pPr lvl="1"/>
            <a:r>
              <a:rPr lang="en-US" noProof="0"/>
              <a:t>Second level</a:t>
            </a:r>
          </a:p>
        </p:txBody>
      </p:sp>
      <p:sp>
        <p:nvSpPr>
          <p:cNvPr id="19" name="object 3">
            <a:extLst>
              <a:ext uri="{FF2B5EF4-FFF2-40B4-BE49-F238E27FC236}">
                <a16:creationId xmlns:a16="http://schemas.microsoft.com/office/drawing/2014/main" id="{C159DFB9-341A-458A-9DA6-474407F0E254}"/>
              </a:ext>
            </a:extLst>
          </p:cNvPr>
          <p:cNvSpPr/>
          <p:nvPr userDrawn="1"/>
        </p:nvSpPr>
        <p:spPr>
          <a:xfrm>
            <a:off x="-1" y="0"/>
            <a:ext cx="140155"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2"/>
          </a:solidFill>
        </p:spPr>
        <p:txBody>
          <a:bodyPr wrap="square" lIns="0" tIns="0" rIns="0" bIns="0" rtlCol="0">
            <a:noAutofit/>
          </a:bodyPr>
          <a:lstStyle/>
          <a:p>
            <a:endParaRPr sz="1350">
              <a:latin typeface="Univers 45 Light" pitchFamily="2" charset="0"/>
            </a:endParaRPr>
          </a:p>
        </p:txBody>
      </p:sp>
    </p:spTree>
    <p:extLst>
      <p:ext uri="{BB962C8B-B14F-4D97-AF65-F5344CB8AC3E}">
        <p14:creationId xmlns:p14="http://schemas.microsoft.com/office/powerpoint/2010/main" val="14727974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746522" y="990524"/>
            <a:ext cx="7646400" cy="291011"/>
          </a:xfrm>
        </p:spPr>
        <p:txBody>
          <a:bodyPr/>
          <a:lstStyle>
            <a:lvl1pPr>
              <a:defRPr sz="1200" b="1">
                <a:solidFill>
                  <a:srgbClr val="005EB8"/>
                </a:solidFill>
                <a:latin typeface="Univers 45 Light" pitchFamily="2" charset="0"/>
              </a:defRPr>
            </a:lvl1pPr>
          </a:lstStyle>
          <a:p>
            <a:r>
              <a:rPr lang="en-US"/>
              <a:t>Click to edit Master title style</a:t>
            </a:r>
            <a:endParaRPr lang="en-GB"/>
          </a:p>
        </p:txBody>
      </p:sp>
      <p:sp>
        <p:nvSpPr>
          <p:cNvPr id="4" name="Text Placeholder 3"/>
          <p:cNvSpPr>
            <a:spLocks noGrp="1"/>
          </p:cNvSpPr>
          <p:nvPr>
            <p:ph type="body" sz="quarter" idx="10"/>
          </p:nvPr>
        </p:nvSpPr>
        <p:spPr>
          <a:xfrm>
            <a:off x="746522" y="255017"/>
            <a:ext cx="7648678" cy="207749"/>
          </a:xfrm>
        </p:spPr>
        <p:txBody>
          <a:bodyPr>
            <a:spAutoFit/>
          </a:bodyPr>
          <a:lstStyle>
            <a:lvl1pPr>
              <a:defRPr sz="1350" b="1">
                <a:solidFill>
                  <a:srgbClr val="00338D"/>
                </a:solidFill>
                <a:latin typeface="Univers 45 Light" pitchFamily="2" charset="0"/>
              </a:defRPr>
            </a:lvl1pPr>
          </a:lstStyle>
          <a:p>
            <a:pPr lvl="0"/>
            <a:r>
              <a:rPr lang="en-US"/>
              <a:t>Click to edit Master text styles</a:t>
            </a:r>
            <a:endParaRPr lang="en-GB"/>
          </a:p>
        </p:txBody>
      </p:sp>
      <p:sp>
        <p:nvSpPr>
          <p:cNvPr id="12" name="Text Placeholder 11"/>
          <p:cNvSpPr>
            <a:spLocks noGrp="1"/>
          </p:cNvSpPr>
          <p:nvPr>
            <p:ph type="body" sz="quarter" idx="11"/>
          </p:nvPr>
        </p:nvSpPr>
        <p:spPr>
          <a:xfrm>
            <a:off x="746522" y="1348514"/>
            <a:ext cx="7653338" cy="4554537"/>
          </a:xfrm>
        </p:spPr>
        <p:txBody>
          <a:bodyPr/>
          <a:lstStyle>
            <a:lvl1pPr>
              <a:defRPr sz="900">
                <a:latin typeface="Univers 45 Light" pitchFamily="2" charset="0"/>
              </a:defRPr>
            </a:lvl1pPr>
            <a:lvl2pPr>
              <a:defRPr sz="900">
                <a:latin typeface="Univers 45 Light" pitchFamily="2" charset="0"/>
              </a:defRPr>
            </a:lvl2pPr>
            <a:lvl3pPr>
              <a:defRPr sz="900">
                <a:latin typeface="Univers 45 Light" pitchFamily="2" charset="0"/>
              </a:defRPr>
            </a:lvl3pPr>
            <a:lvl4pPr>
              <a:defRPr sz="900">
                <a:latin typeface="Univers 45 Light" pitchFamily="2" charset="0"/>
              </a:defRPr>
            </a:lvl4pPr>
            <a:lvl5pPr>
              <a:defRPr sz="900">
                <a:latin typeface="Univers 45 Ligh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2"/>
          </p:nvPr>
        </p:nvSpPr>
        <p:spPr>
          <a:xfrm>
            <a:off x="746521" y="565168"/>
            <a:ext cx="7648679" cy="294369"/>
          </a:xfrm>
        </p:spPr>
        <p:txBody>
          <a:bodyPr anchor="ctr" anchorCtr="0"/>
          <a:lstStyle>
            <a:lvl1pPr>
              <a:defRPr sz="825" b="1">
                <a:solidFill>
                  <a:srgbClr val="6D2077"/>
                </a:solidFill>
                <a:latin typeface="Univers 45 Light" pitchFamily="2" charset="0"/>
              </a:defRPr>
            </a:lvl1pPr>
          </a:lstStyle>
          <a:p>
            <a:pPr lvl="0"/>
            <a:r>
              <a:rPr lang="en-US"/>
              <a:t>Click to edit Master text styles</a:t>
            </a:r>
          </a:p>
        </p:txBody>
      </p:sp>
    </p:spTree>
    <p:extLst>
      <p:ext uri="{BB962C8B-B14F-4D97-AF65-F5344CB8AC3E}">
        <p14:creationId xmlns:p14="http://schemas.microsoft.com/office/powerpoint/2010/main" val="4824362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3" name="Title 2"/>
          <p:cNvSpPr>
            <a:spLocks noGrp="1"/>
          </p:cNvSpPr>
          <p:nvPr>
            <p:ph type="title"/>
          </p:nvPr>
        </p:nvSpPr>
        <p:spPr>
          <a:xfrm>
            <a:off x="342900" y="431800"/>
            <a:ext cx="7516827" cy="533400"/>
          </a:xfrm>
        </p:spPr>
        <p:txBody>
          <a:bodyPr vert="horz" lIns="0" tIns="0" rIns="0" bIns="0" rtlCol="0" anchor="t" anchorCtr="0">
            <a:noAutofit/>
          </a:bodyPr>
          <a:lstStyle>
            <a:lvl1pPr>
              <a:defRPr lang="en-US" sz="2400" noProof="0" dirty="0"/>
            </a:lvl1pPr>
          </a:lstStyle>
          <a:p>
            <a:pPr lvl="0"/>
            <a:r>
              <a:rPr lang="en-US" noProof="0"/>
              <a:t>Click to edit Master title style</a:t>
            </a:r>
          </a:p>
        </p:txBody>
      </p:sp>
      <p:sp>
        <p:nvSpPr>
          <p:cNvPr id="4" name="Text Placeholder 4">
            <a:extLst>
              <a:ext uri="{FF2B5EF4-FFF2-40B4-BE49-F238E27FC236}">
                <a16:creationId xmlns:a16="http://schemas.microsoft.com/office/drawing/2014/main" id="{6B87FF7E-32DB-4943-8A00-56EA9B695DEA}"/>
              </a:ext>
            </a:extLst>
          </p:cNvPr>
          <p:cNvSpPr>
            <a:spLocks noGrp="1"/>
          </p:cNvSpPr>
          <p:nvPr>
            <p:ph type="body" sz="quarter" idx="14" hasCustomPrompt="1"/>
          </p:nvPr>
        </p:nvSpPr>
        <p:spPr>
          <a:xfrm>
            <a:off x="342900" y="227993"/>
            <a:ext cx="6213348" cy="169200"/>
          </a:xfrm>
        </p:spPr>
        <p:txBody>
          <a:bodyPr anchor="b"/>
          <a:lstStyle>
            <a:lvl1pPr>
              <a:spcAft>
                <a:spcPts val="0"/>
              </a:spcAft>
              <a:defRPr sz="900" b="0">
                <a:solidFill>
                  <a:schemeClr val="accent1"/>
                </a:solidFill>
              </a:defRPr>
            </a:lvl1pPr>
          </a:lstStyle>
          <a:p>
            <a:pPr lvl="0"/>
            <a:r>
              <a:rPr lang="en-US"/>
              <a:t>Super title here</a:t>
            </a:r>
          </a:p>
        </p:txBody>
      </p:sp>
    </p:spTree>
    <p:extLst>
      <p:ext uri="{BB962C8B-B14F-4D97-AF65-F5344CB8AC3E}">
        <p14:creationId xmlns:p14="http://schemas.microsoft.com/office/powerpoint/2010/main" val="22047181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59816012"/>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8673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ONE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9" name="Text Placeholder 8"/>
          <p:cNvSpPr>
            <a:spLocks noGrp="1"/>
          </p:cNvSpPr>
          <p:nvPr>
            <p:ph type="body" sz="quarter" idx="10"/>
          </p:nvPr>
        </p:nvSpPr>
        <p:spPr>
          <a:xfrm>
            <a:off x="752400" y="1209602"/>
            <a:ext cx="7639200" cy="45942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8997733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extLst>
              <p:ext uri="{D42A27DB-BD31-4B8C-83A1-F6EECF244321}">
                <p14:modId xmlns:p14="http://schemas.microsoft.com/office/powerpoint/2010/main" val="34481420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Folie" r:id="rId3" imgW="338" imgH="344" progId="TCLayout.ActiveDocument.1">
                  <p:embed/>
                </p:oleObj>
              </mc:Choice>
              <mc:Fallback>
                <p:oleObj name="think-cell Folie" r:id="rId3" imgW="338" imgH="344" progId="TCLayout.ActiveDocument.1">
                  <p:embed/>
                  <p:pic>
                    <p:nvPicPr>
                      <p:cNvPr id="3" name="Objekt 2"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38042014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ONE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9" name="Text Placeholder 8"/>
          <p:cNvSpPr>
            <a:spLocks noGrp="1"/>
          </p:cNvSpPr>
          <p:nvPr>
            <p:ph type="body" sz="quarter" idx="10"/>
          </p:nvPr>
        </p:nvSpPr>
        <p:spPr>
          <a:xfrm>
            <a:off x="752400" y="1209602"/>
            <a:ext cx="7639200" cy="45942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24177209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505200" y="304803"/>
            <a:ext cx="4953000" cy="2590799"/>
          </a:xfrm>
        </p:spPr>
        <p:txBody>
          <a:bodyPr/>
          <a:lstStyle>
            <a:lvl1pPr>
              <a:defRPr>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3505200" y="3886200"/>
            <a:ext cx="5029200" cy="17526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8459846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Footer Placeholder 4"/>
          <p:cNvSpPr>
            <a:spLocks noGrp="1"/>
          </p:cNvSpPr>
          <p:nvPr>
            <p:ph type="ftr" sz="quarter" idx="3"/>
          </p:nvPr>
        </p:nvSpPr>
        <p:spPr>
          <a:xfrm>
            <a:off x="2743200" y="6477002"/>
            <a:ext cx="3657600" cy="244475"/>
          </a:xfrm>
          <a:prstGeom prst="rect">
            <a:avLst/>
          </a:prstGeom>
        </p:spPr>
        <p:txBody>
          <a:bodyPr vert="horz" lIns="91440" tIns="45720" rIns="91440" bIns="45720" rtlCol="0" anchor="ctr"/>
          <a:lstStyle>
            <a:lvl1pPr algn="ctr">
              <a:defRPr sz="1200">
                <a:solidFill>
                  <a:schemeClr val="bg1">
                    <a:lumMod val="85000"/>
                  </a:schemeClr>
                </a:solidFill>
              </a:defRPr>
            </a:lvl1pPr>
          </a:lstStyle>
          <a:p>
            <a:endParaRPr lang="en-US" dirty="0"/>
          </a:p>
        </p:txBody>
      </p:sp>
    </p:spTree>
    <p:extLst>
      <p:ext uri="{BB962C8B-B14F-4D97-AF65-F5344CB8AC3E}">
        <p14:creationId xmlns:p14="http://schemas.microsoft.com/office/powerpoint/2010/main" val="7093104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457200" y="1600202"/>
            <a:ext cx="4038600" cy="4525963"/>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00202"/>
            <a:ext cx="4038600" cy="4525963"/>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Date Placeholder 10"/>
          <p:cNvSpPr>
            <a:spLocks noGrp="1"/>
          </p:cNvSpPr>
          <p:nvPr>
            <p:ph type="dt" sz="half" idx="10"/>
          </p:nvPr>
        </p:nvSpPr>
        <p:spPr/>
        <p:txBody>
          <a:bodyPr/>
          <a:lstStyle/>
          <a:p>
            <a:endParaRPr lang="en-US"/>
          </a:p>
        </p:txBody>
      </p:sp>
      <p:sp>
        <p:nvSpPr>
          <p:cNvPr id="13" name="Slide Number Placeholder 12"/>
          <p:cNvSpPr>
            <a:spLocks noGrp="1"/>
          </p:cNvSpPr>
          <p:nvPr>
            <p:ph type="sldNum" sz="quarter" idx="12"/>
          </p:nvPr>
        </p:nvSpPr>
        <p:spPr/>
        <p:txBody>
          <a:bodyPr/>
          <a:lstStyle/>
          <a:p>
            <a:fld id="{1C078096-9997-49EF-9104-EC42DAE8B88D}" type="slidenum">
              <a:rPr lang="en-US" smtClean="0"/>
              <a:t>‹#›</a:t>
            </a:fld>
            <a:endParaRPr lang="en-US"/>
          </a:p>
        </p:txBody>
      </p:sp>
      <p:sp>
        <p:nvSpPr>
          <p:cNvPr id="9" name="Footer Placeholder 3"/>
          <p:cNvSpPr>
            <a:spLocks noGrp="1"/>
          </p:cNvSpPr>
          <p:nvPr>
            <p:ph type="ftr" sz="quarter" idx="3"/>
          </p:nvPr>
        </p:nvSpPr>
        <p:spPr>
          <a:xfrm>
            <a:off x="2743200" y="6477002"/>
            <a:ext cx="3657600" cy="244475"/>
          </a:xfrm>
        </p:spPr>
        <p:txBody>
          <a:bodyPr/>
          <a:lstStyle/>
          <a:p>
            <a:endParaRPr lang="en-US" dirty="0"/>
          </a:p>
        </p:txBody>
      </p:sp>
    </p:spTree>
    <p:extLst>
      <p:ext uri="{BB962C8B-B14F-4D97-AF65-F5344CB8AC3E}">
        <p14:creationId xmlns:p14="http://schemas.microsoft.com/office/powerpoint/2010/main" val="30251707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sz="half" idx="11"/>
          </p:nvPr>
        </p:nvSpPr>
        <p:spPr/>
        <p:txBody>
          <a:bodyPr/>
          <a:lstStyle/>
          <a:p>
            <a:endParaRPr lang="en-US"/>
          </a:p>
        </p:txBody>
      </p:sp>
      <p:sp>
        <p:nvSpPr>
          <p:cNvPr id="12" name="Slide Number Placeholder 11"/>
          <p:cNvSpPr>
            <a:spLocks noGrp="1"/>
          </p:cNvSpPr>
          <p:nvPr>
            <p:ph type="sldNum" sz="quarter" idx="12"/>
          </p:nvPr>
        </p:nvSpPr>
        <p:spPr/>
        <p:txBody>
          <a:bodyPr/>
          <a:lstStyle/>
          <a:p>
            <a:fld id="{1C078096-9997-49EF-9104-EC42DAE8B88D}" type="slidenum">
              <a:rPr lang="en-US" smtClean="0"/>
              <a:t>‹#›</a:t>
            </a:fld>
            <a:endParaRPr lang="en-US"/>
          </a:p>
        </p:txBody>
      </p:sp>
      <p:sp>
        <p:nvSpPr>
          <p:cNvPr id="11" name="Footer Placeholder 3"/>
          <p:cNvSpPr>
            <a:spLocks noGrp="1"/>
          </p:cNvSpPr>
          <p:nvPr>
            <p:ph type="ftr" sz="quarter" idx="13"/>
          </p:nvPr>
        </p:nvSpPr>
        <p:spPr>
          <a:xfrm>
            <a:off x="2743200" y="6477002"/>
            <a:ext cx="3657600" cy="244475"/>
          </a:xfrm>
        </p:spPr>
        <p:txBody>
          <a:bodyPr/>
          <a:lstStyle/>
          <a:p>
            <a:endParaRPr lang="en-US" dirty="0"/>
          </a:p>
        </p:txBody>
      </p:sp>
    </p:spTree>
    <p:extLst>
      <p:ext uri="{BB962C8B-B14F-4D97-AF65-F5344CB8AC3E}">
        <p14:creationId xmlns:p14="http://schemas.microsoft.com/office/powerpoint/2010/main" val="2390061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9" name="Date Placeholder 8"/>
          <p:cNvSpPr>
            <a:spLocks noGrp="1"/>
          </p:cNvSpPr>
          <p:nvPr>
            <p:ph type="dt" sz="half" idx="10"/>
          </p:nvPr>
        </p:nvSpPr>
        <p:spPr/>
        <p:txBody>
          <a:bodyPr/>
          <a:lstStyle/>
          <a:p>
            <a:endParaRPr lang="en-US"/>
          </a:p>
        </p:txBody>
      </p:sp>
      <p:sp>
        <p:nvSpPr>
          <p:cNvPr id="11" name="Slide Number Placeholder 10"/>
          <p:cNvSpPr>
            <a:spLocks noGrp="1"/>
          </p:cNvSpPr>
          <p:nvPr>
            <p:ph type="sldNum" sz="quarter" idx="12"/>
          </p:nvPr>
        </p:nvSpPr>
        <p:spPr/>
        <p:txBody>
          <a:bodyPr/>
          <a:lstStyle/>
          <a:p>
            <a:fld id="{1C078096-9997-49EF-9104-EC42DAE8B88D}" type="slidenum">
              <a:rPr lang="en-US" smtClean="0"/>
              <a:t>‹#›</a:t>
            </a:fld>
            <a:endParaRPr lang="en-US"/>
          </a:p>
        </p:txBody>
      </p:sp>
      <p:sp>
        <p:nvSpPr>
          <p:cNvPr id="7" name="Footer Placeholder 3"/>
          <p:cNvSpPr>
            <a:spLocks noGrp="1"/>
          </p:cNvSpPr>
          <p:nvPr>
            <p:ph type="ftr" sz="quarter" idx="3"/>
          </p:nvPr>
        </p:nvSpPr>
        <p:spPr>
          <a:xfrm>
            <a:off x="2743200" y="6477002"/>
            <a:ext cx="3657600" cy="244475"/>
          </a:xfrm>
        </p:spPr>
        <p:txBody>
          <a:bodyPr/>
          <a:lstStyle/>
          <a:p>
            <a:endParaRPr lang="en-US" dirty="0"/>
          </a:p>
        </p:txBody>
      </p:sp>
    </p:spTree>
    <p:extLst>
      <p:ext uri="{BB962C8B-B14F-4D97-AF65-F5344CB8AC3E}">
        <p14:creationId xmlns:p14="http://schemas.microsoft.com/office/powerpoint/2010/main" val="9961436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p>
            <a:endParaRPr lang="en-US"/>
          </a:p>
        </p:txBody>
      </p:sp>
      <p:sp>
        <p:nvSpPr>
          <p:cNvPr id="10" name="Slide Number Placeholder 9"/>
          <p:cNvSpPr>
            <a:spLocks noGrp="1"/>
          </p:cNvSpPr>
          <p:nvPr>
            <p:ph type="sldNum" sz="quarter" idx="12"/>
          </p:nvPr>
        </p:nvSpPr>
        <p:spPr/>
        <p:txBody>
          <a:bodyPr/>
          <a:lstStyle/>
          <a:p>
            <a:fld id="{1C078096-9997-49EF-9104-EC42DAE8B88D}" type="slidenum">
              <a:rPr lang="en-US" smtClean="0"/>
              <a:t>‹#›</a:t>
            </a:fld>
            <a:endParaRPr lang="en-US"/>
          </a:p>
        </p:txBody>
      </p:sp>
      <p:sp>
        <p:nvSpPr>
          <p:cNvPr id="6" name="Footer Placeholder 3"/>
          <p:cNvSpPr>
            <a:spLocks noGrp="1"/>
          </p:cNvSpPr>
          <p:nvPr>
            <p:ph type="ftr" sz="quarter" idx="3"/>
          </p:nvPr>
        </p:nvSpPr>
        <p:spPr>
          <a:xfrm>
            <a:off x="2743200" y="6477002"/>
            <a:ext cx="3657600" cy="244475"/>
          </a:xfrm>
        </p:spPr>
        <p:txBody>
          <a:bodyPr/>
          <a:lstStyle/>
          <a:p>
            <a:endParaRPr lang="en-US" dirty="0"/>
          </a:p>
        </p:txBody>
      </p:sp>
    </p:spTree>
    <p:extLst>
      <p:ext uri="{BB962C8B-B14F-4D97-AF65-F5344CB8AC3E}">
        <p14:creationId xmlns:p14="http://schemas.microsoft.com/office/powerpoint/2010/main" val="17040400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image" Target="../media/image3.jp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heme" Target="../theme/theme2.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theme" Target="../theme/theme3.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image" Target="../media/image6.emf"/><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image" Target="../media/image5.emf"/><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oleObject" Target="../embeddings/oleObject1.bin"/><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7"/>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dirty="0"/>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3"/>
            <a:r>
              <a:rPr lang="en-US" altLang="en-US" dirty="0"/>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1030" name="Picture 6" descr="best ver2b seal"/>
          <p:cNvPicPr>
            <a:picLocks noChangeAspect="1" noChangeArrowheads="1"/>
          </p:cNvPicPr>
          <p:nvPr/>
        </p:nvPicPr>
        <p:blipFill>
          <a:blip r:embed="rId8">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0444F9EB-82AC-45E2-9B5F-E8C53921C51C}" type="slidenum">
              <a:rPr lang="en-US" sz="1000" smtClean="0">
                <a:solidFill>
                  <a:srgbClr val="000000"/>
                </a:solidFill>
              </a:rPr>
              <a:t>‹#›</a:t>
            </a:fld>
            <a:endParaRPr lang="en-US" sz="1000" dirty="0">
              <a:solidFill>
                <a:srgbClr val="000000"/>
              </a:solidFill>
            </a:endParaRPr>
          </a:p>
        </p:txBody>
      </p:sp>
      <p:sp>
        <p:nvSpPr>
          <p:cNvPr id="3198987" name="AcnSubjectTitle_ID_3198987" hidden="1"/>
          <p:cNvSpPr txBox="1">
            <a:spLocks noChangeArrowheads="1"/>
          </p:cNvSpPr>
          <p:nvPr>
            <p:custDataLst>
              <p:tags r:id="rId5"/>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6"/>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1" r:id="rId1"/>
    <p:sldLayoutId id="2147483665" r:id="rId2"/>
    <p:sldLayoutId id="2147483666" r:id="rId3"/>
  </p:sldLayoutIdLst>
  <p:transition/>
  <p:hf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115000"/>
        <a:buFont typeface="Arial" panose="020B0604020202020204" pitchFamily="34" charset="0"/>
        <a:buChar char="•"/>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80000"/>
        <a:buFont typeface="Courier New" panose="02070309020205020404" pitchFamily="49" charset="0"/>
        <a:buChar char="o"/>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Arial" panose="020B0604020202020204" pitchFamily="34" charset="0"/>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2600" y="76200"/>
            <a:ext cx="6934200" cy="11430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2971800" y="6356352"/>
            <a:ext cx="3200400" cy="365125"/>
          </a:xfrm>
          <a:prstGeom prst="rect">
            <a:avLst/>
          </a:prstGeom>
        </p:spPr>
        <p:txBody>
          <a:bodyPr vert="horz" lIns="91440" tIns="45720" rIns="91440" bIns="45720" rtlCol="0" anchor="ctr"/>
          <a:lstStyle>
            <a:lvl1pPr algn="ctr">
              <a:defRPr sz="1200">
                <a:solidFill>
                  <a:schemeClr val="bg1">
                    <a:lumMod val="85000"/>
                  </a:schemeClr>
                </a:solidFill>
              </a:defRPr>
            </a:lvl1pPr>
          </a:lstStyle>
          <a:p>
            <a:endParaRPr lang="en-US" dirty="0"/>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078096-9997-49EF-9104-EC42DAE8B88D}" type="slidenum">
              <a:rPr lang="en-US" smtClean="0"/>
              <a:t>‹#›</a:t>
            </a:fld>
            <a:endParaRPr lang="en-US"/>
          </a:p>
        </p:txBody>
      </p:sp>
    </p:spTree>
    <p:extLst>
      <p:ext uri="{BB962C8B-B14F-4D97-AF65-F5344CB8AC3E}">
        <p14:creationId xmlns:p14="http://schemas.microsoft.com/office/powerpoint/2010/main" val="854811794"/>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Lst>
  <p:hf hdr="0" ftr="0" dt="0"/>
  <p:txStyles>
    <p:titleStyle>
      <a:lvl1pPr algn="ctr" defTabSz="914400" rtl="0" eaLnBrk="1" latinLnBrk="0" hangingPunct="1">
        <a:spcBef>
          <a:spcPct val="0"/>
        </a:spcBef>
        <a:buNone/>
        <a:defRPr sz="4400" kern="1200">
          <a:solidFill>
            <a:schemeClr val="bg1">
              <a:lumMod val="85000"/>
            </a:schemeClr>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bg1">
              <a:lumMod val="8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bg1">
              <a:lumMod val="8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1">
              <a:lumMod val="8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lumMod val="8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1">
              <a:lumMod val="8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608DBC-5A2B-43A7-B792-1060922BD285}"/>
              </a:ext>
            </a:extLst>
          </p:cNvPr>
          <p:cNvGraphicFramePr>
            <a:graphicFrameLocks noChangeAspect="1"/>
          </p:cNvGraphicFramePr>
          <p:nvPr userDrawn="1">
            <p:custDataLst>
              <p:tags r:id="rId22"/>
            </p:custDataLst>
            <p:extLst>
              <p:ext uri="{D42A27DB-BD31-4B8C-83A1-F6EECF244321}">
                <p14:modId xmlns:p14="http://schemas.microsoft.com/office/powerpoint/2010/main" val="255875623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23" imgW="359" imgH="355" progId="TCLayout.ActiveDocument.1">
                  <p:embed/>
                </p:oleObj>
              </mc:Choice>
              <mc:Fallback>
                <p:oleObj name="think-cell Slide" r:id="rId23" imgW="359" imgH="355" progId="TCLayout.ActiveDocument.1">
                  <p:embed/>
                  <p:pic>
                    <p:nvPicPr>
                      <p:cNvPr id="5" name="Object 4" hidden="1">
                        <a:extLst>
                          <a:ext uri="{FF2B5EF4-FFF2-40B4-BE49-F238E27FC236}">
                            <a16:creationId xmlns:a16="http://schemas.microsoft.com/office/drawing/2014/main" id="{29608DBC-5A2B-43A7-B792-1060922BD285}"/>
                          </a:ext>
                        </a:extLst>
                      </p:cNvPr>
                      <p:cNvPicPr/>
                      <p:nvPr/>
                    </p:nvPicPr>
                    <p:blipFill>
                      <a:blip r:embed="rId24"/>
                      <a:stretch>
                        <a:fillRect/>
                      </a:stretch>
                    </p:blipFill>
                    <p:spPr>
                      <a:xfrm>
                        <a:off x="1191" y="1588"/>
                        <a:ext cx="1191" cy="1588"/>
                      </a:xfrm>
                      <a:prstGeom prst="rect">
                        <a:avLst/>
                      </a:prstGeom>
                    </p:spPr>
                  </p:pic>
                </p:oleObj>
              </mc:Fallback>
            </mc:AlternateContent>
          </a:graphicData>
        </a:graphic>
      </p:graphicFrame>
      <p:sp>
        <p:nvSpPr>
          <p:cNvPr id="2" name="Title Placeholder 1"/>
          <p:cNvSpPr>
            <a:spLocks noGrp="1"/>
          </p:cNvSpPr>
          <p:nvPr>
            <p:ph type="title"/>
          </p:nvPr>
        </p:nvSpPr>
        <p:spPr>
          <a:xfrm>
            <a:off x="748800" y="431800"/>
            <a:ext cx="7646400" cy="533400"/>
          </a:xfrm>
          <a:prstGeom prst="rect">
            <a:avLst/>
          </a:prstGeom>
        </p:spPr>
        <p:txBody>
          <a:bodyPr vert="horz" lIns="0" tIns="0" rIns="0" bIns="0" rtlCol="0" anchor="t" anchorCtr="0">
            <a:noAutofit/>
          </a:bodyPr>
          <a:lstStyle/>
          <a:p>
            <a:r>
              <a:rPr lang="en-US" noProof="0"/>
              <a:t>Click to edit Master title style</a:t>
            </a:r>
          </a:p>
        </p:txBody>
      </p:sp>
      <p:sp>
        <p:nvSpPr>
          <p:cNvPr id="3" name="Text Placeholder 2"/>
          <p:cNvSpPr>
            <a:spLocks noGrp="1"/>
          </p:cNvSpPr>
          <p:nvPr>
            <p:ph type="body" idx="1"/>
          </p:nvPr>
        </p:nvSpPr>
        <p:spPr>
          <a:xfrm>
            <a:off x="752401" y="1331360"/>
            <a:ext cx="7645853" cy="4545566"/>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Shape 8"/>
          <p:cNvSpPr txBox="1">
            <a:spLocks/>
          </p:cNvSpPr>
          <p:nvPr userDrawn="1"/>
        </p:nvSpPr>
        <p:spPr>
          <a:xfrm>
            <a:off x="8693374" y="6646891"/>
            <a:ext cx="337241"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750" noProof="0" smtClean="0">
                <a:solidFill>
                  <a:schemeClr val="tx1">
                    <a:lumMod val="85000"/>
                    <a:lumOff val="15000"/>
                  </a:schemeClr>
                </a:solidFill>
                <a:latin typeface="Univers 45 Light" pitchFamily="2" charset="0"/>
                <a:ea typeface="Arial"/>
                <a:cs typeface="Arial" panose="020B0604020202020204" pitchFamily="34" charset="0"/>
              </a:rPr>
              <a:pPr algn="r"/>
              <a:t>‹#›</a:t>
            </a:fld>
            <a:endParaRPr lang="en-US" sz="750" noProof="0">
              <a:solidFill>
                <a:schemeClr val="tx1">
                  <a:lumMod val="85000"/>
                  <a:lumOff val="15000"/>
                </a:schemeClr>
              </a:solidFill>
              <a:latin typeface="Univers 45 Light" pitchFamily="2" charset="0"/>
              <a:ea typeface="Arial"/>
              <a:cs typeface="Arial" panose="020B0604020202020204" pitchFamily="34" charset="0"/>
            </a:endParaRPr>
          </a:p>
        </p:txBody>
      </p:sp>
      <p:pic>
        <p:nvPicPr>
          <p:cNvPr id="7" name="Picture 6">
            <a:extLst>
              <a:ext uri="{FF2B5EF4-FFF2-40B4-BE49-F238E27FC236}">
                <a16:creationId xmlns:a16="http://schemas.microsoft.com/office/drawing/2014/main" id="{A7261971-844E-4F6B-B5D0-C27FD24D34F8}"/>
              </a:ext>
            </a:extLst>
          </p:cNvPr>
          <p:cNvPicPr>
            <a:picLocks noChangeAspect="1"/>
          </p:cNvPicPr>
          <p:nvPr userDrawn="1"/>
        </p:nvPicPr>
        <p:blipFill rotWithShape="1">
          <a:blip r:embed="rId25"/>
          <a:srcRect b="1830"/>
          <a:stretch/>
        </p:blipFill>
        <p:spPr>
          <a:xfrm rot="10800000">
            <a:off x="6396528" y="0"/>
            <a:ext cx="2747472" cy="3429000"/>
          </a:xfrm>
          <a:prstGeom prst="rect">
            <a:avLst/>
          </a:prstGeom>
        </p:spPr>
      </p:pic>
    </p:spTree>
    <p:extLst>
      <p:ext uri="{BB962C8B-B14F-4D97-AF65-F5344CB8AC3E}">
        <p14:creationId xmlns:p14="http://schemas.microsoft.com/office/powerpoint/2010/main" val="738517929"/>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7" r:id="rId18"/>
    <p:sldLayoutId id="2147483698" r:id="rId19"/>
    <p:sldLayoutId id="2147483699" r:id="rId20"/>
  </p:sldLayoutIdLst>
  <p:hf hdr="0" ftr="0" dt="0"/>
  <p:txStyles>
    <p:titleStyle>
      <a:lvl1pPr algn="l" defTabSz="685800" rtl="0" eaLnBrk="1" latinLnBrk="0" hangingPunct="1">
        <a:lnSpc>
          <a:spcPct val="72000"/>
        </a:lnSpc>
        <a:spcBef>
          <a:spcPct val="0"/>
        </a:spcBef>
        <a:buNone/>
        <a:defRPr sz="27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0"/>
        </a:spcBef>
        <a:spcAft>
          <a:spcPts val="450"/>
        </a:spcAft>
        <a:buFontTx/>
        <a:buNone/>
        <a:defRPr sz="750" b="1" kern="1200">
          <a:solidFill>
            <a:schemeClr val="tx2"/>
          </a:solidFill>
          <a:latin typeface="Univers 45 Light" pitchFamily="2" charset="0"/>
          <a:ea typeface="+mn-ea"/>
          <a:cs typeface="+mn-cs"/>
        </a:defRPr>
      </a:lvl1pPr>
      <a:lvl2pPr marL="0" indent="0" algn="l" defTabSz="685800" rtl="0" eaLnBrk="1" latinLnBrk="0" hangingPunct="1">
        <a:lnSpc>
          <a:spcPct val="100000"/>
        </a:lnSpc>
        <a:spcBef>
          <a:spcPts val="0"/>
        </a:spcBef>
        <a:spcAft>
          <a:spcPts val="450"/>
        </a:spcAft>
        <a:buFontTx/>
        <a:buNone/>
        <a:defRPr sz="750" kern="1200">
          <a:solidFill>
            <a:schemeClr val="tx2"/>
          </a:solidFill>
          <a:latin typeface="Univers 45 Light" pitchFamily="2" charset="0"/>
          <a:ea typeface="+mn-ea"/>
          <a:cs typeface="+mn-cs"/>
        </a:defRPr>
      </a:lvl2pPr>
      <a:lvl3pPr marL="213300" indent="-213300" algn="l" defTabSz="685800" rtl="0" eaLnBrk="1" latinLnBrk="0" hangingPunct="1">
        <a:lnSpc>
          <a:spcPct val="100000"/>
        </a:lnSpc>
        <a:spcBef>
          <a:spcPts val="0"/>
        </a:spcBef>
        <a:spcAft>
          <a:spcPts val="450"/>
        </a:spcAft>
        <a:buClrTx/>
        <a:buFont typeface="Arial" panose="020B0604020202020204" pitchFamily="34" charset="0"/>
        <a:buChar char="—"/>
        <a:defRPr sz="750" kern="1200">
          <a:solidFill>
            <a:schemeClr val="tx2"/>
          </a:solidFill>
          <a:latin typeface="Univers 45 Light" pitchFamily="2" charset="0"/>
          <a:ea typeface="+mn-ea"/>
          <a:cs typeface="+mn-cs"/>
        </a:defRPr>
      </a:lvl3pPr>
      <a:lvl4pPr marL="432000" indent="-172800" algn="l" defTabSz="685800" rtl="0" eaLnBrk="1" latinLnBrk="0" hangingPunct="1">
        <a:lnSpc>
          <a:spcPct val="100000"/>
        </a:lnSpc>
        <a:spcBef>
          <a:spcPts val="0"/>
        </a:spcBef>
        <a:spcAft>
          <a:spcPts val="450"/>
        </a:spcAft>
        <a:buClrTx/>
        <a:buFont typeface="Arial" panose="020B0604020202020204" pitchFamily="34" charset="0"/>
        <a:buChar char="-"/>
        <a:defRPr sz="750" kern="1200">
          <a:solidFill>
            <a:schemeClr val="tx2"/>
          </a:solidFill>
          <a:latin typeface="Univers 45 Light" pitchFamily="2" charset="0"/>
          <a:ea typeface="+mn-ea"/>
          <a:cs typeface="+mn-cs"/>
        </a:defRPr>
      </a:lvl4pPr>
      <a:lvl5pPr marL="618300" indent="-213300" algn="l" defTabSz="685800" rtl="0" eaLnBrk="1" latinLnBrk="0" hangingPunct="1">
        <a:lnSpc>
          <a:spcPct val="100000"/>
        </a:lnSpc>
        <a:spcBef>
          <a:spcPts val="0"/>
        </a:spcBef>
        <a:spcAft>
          <a:spcPts val="450"/>
        </a:spcAft>
        <a:buClrTx/>
        <a:buFont typeface="Arial" panose="020B0604020202020204" pitchFamily="34" charset="0"/>
        <a:buChar char="—"/>
        <a:defRPr sz="750" kern="1200" baseline="0">
          <a:solidFill>
            <a:schemeClr val="tx2"/>
          </a:solidFill>
          <a:latin typeface="Univers 45 Light" pitchFamily="2" charset="0"/>
          <a:ea typeface="+mn-ea"/>
          <a:cs typeface="+mn-cs"/>
        </a:defRPr>
      </a:lvl5pPr>
      <a:lvl6pPr marL="823500" indent="-17280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6pPr>
      <a:lvl7pPr marL="1028700" indent="-21330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7pPr>
      <a:lvl8pPr marL="1233900" indent="-171450" algn="l" defTabSz="685800" rtl="0" eaLnBrk="1" latinLnBrk="0" hangingPunct="1">
        <a:lnSpc>
          <a:spcPct val="100000"/>
        </a:lnSpc>
        <a:spcBef>
          <a:spcPts val="0"/>
        </a:spcBef>
        <a:spcAft>
          <a:spcPts val="450"/>
        </a:spcAft>
        <a:buClr>
          <a:schemeClr val="tx2"/>
        </a:buClr>
        <a:buFont typeface="Arial" panose="020B0604020202020204" pitchFamily="34" charset="0"/>
        <a:buChar char="-"/>
        <a:defRPr sz="1125" kern="1200">
          <a:solidFill>
            <a:schemeClr val="tx2"/>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3">
          <p15:clr>
            <a:srgbClr val="F26B43"/>
          </p15:clr>
        </p15:guide>
        <p15:guide id="5" orient="horz" pos="608">
          <p15:clr>
            <a:srgbClr val="F26B43"/>
          </p15:clr>
        </p15:guide>
        <p15:guide id="6" orient="horz" pos="2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3.xml"/><Relationship Id="rId1" Type="http://schemas.openxmlformats.org/officeDocument/2006/relationships/tags" Target="../tags/tag5.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1.xml"/><Relationship Id="rId1" Type="http://schemas.openxmlformats.org/officeDocument/2006/relationships/tags" Target="../tags/tag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microsoft.com/office/2018/10/relationships/comments" Target="../comments/modernComment_19D_C5CB738D.xml"/><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ChangeArrowheads="1"/>
          </p:cNvSpPr>
          <p:nvPr/>
        </p:nvSpPr>
        <p:spPr bwMode="auto">
          <a:xfrm>
            <a:off x="0" y="0"/>
            <a:ext cx="9144000" cy="3352800"/>
          </a:xfrm>
          <a:prstGeom prst="rect">
            <a:avLst/>
          </a:prstGeom>
          <a:solidFill>
            <a:srgbClr val="003366"/>
          </a:solidFill>
          <a:ln w="9525">
            <a:solidFill>
              <a:srgbClr val="000000"/>
            </a:solidFill>
            <a:miter lim="800000"/>
            <a:headEnd/>
            <a:tailEnd/>
          </a:ln>
        </p:spPr>
        <p:txBody>
          <a:bodyPr/>
          <a:lstStyle/>
          <a:p>
            <a:pPr algn="ctr" eaLnBrk="0" fontAlgn="base" hangingPunct="0">
              <a:spcBef>
                <a:spcPct val="50000"/>
              </a:spcBef>
              <a:spcAft>
                <a:spcPct val="0"/>
              </a:spcAft>
            </a:pPr>
            <a:endParaRPr lang="en-US" sz="1200" b="1" dirty="0">
              <a:solidFill>
                <a:srgbClr val="FFFFFF"/>
              </a:solidFill>
            </a:endParaRPr>
          </a:p>
        </p:txBody>
      </p:sp>
      <p:sp>
        <p:nvSpPr>
          <p:cNvPr id="31746" name="Rectangle 3"/>
          <p:cNvSpPr>
            <a:spLocks noChangeArrowheads="1"/>
          </p:cNvSpPr>
          <p:nvPr/>
        </p:nvSpPr>
        <p:spPr bwMode="white">
          <a:xfrm>
            <a:off x="533400" y="876300"/>
            <a:ext cx="6477000" cy="1485900"/>
          </a:xfrm>
          <a:prstGeom prst="rect">
            <a:avLst/>
          </a:prstGeom>
          <a:noFill/>
          <a:ln w="9525">
            <a:noFill/>
            <a:miter lim="800000"/>
            <a:headEnd/>
            <a:tailEnd/>
          </a:ln>
        </p:spPr>
        <p:txBody>
          <a:bodyPr lIns="64008" tIns="32004" rIns="64008" bIns="32004" anchor="ctr"/>
          <a:lstStyle/>
          <a:p>
            <a:pPr algn="ctr" fontAlgn="base">
              <a:spcBef>
                <a:spcPct val="0"/>
              </a:spcBef>
              <a:spcAft>
                <a:spcPts val="1000"/>
              </a:spcAft>
            </a:pPr>
            <a:r>
              <a:rPr lang="en-US" sz="3000" b="1" dirty="0">
                <a:solidFill>
                  <a:srgbClr val="FFFFFF"/>
                </a:solidFill>
                <a:latin typeface="Calibri" pitchFamily="34" charset="0"/>
              </a:rPr>
              <a:t>Opioid Recovery and Remediation Fund Advisory Council</a:t>
            </a:r>
          </a:p>
        </p:txBody>
      </p:sp>
      <p:pic>
        <p:nvPicPr>
          <p:cNvPr id="31747" name="Picture 4"/>
          <p:cNvPicPr>
            <a:picLocks noChangeAspect="1" noChangeArrowheads="1"/>
          </p:cNvPicPr>
          <p:nvPr/>
        </p:nvPicPr>
        <p:blipFill>
          <a:blip r:embed="rId3"/>
          <a:srcRect/>
          <a:stretch>
            <a:fillRect/>
          </a:stretch>
        </p:blipFill>
        <p:spPr bwMode="auto">
          <a:xfrm>
            <a:off x="7123112" y="819150"/>
            <a:ext cx="1487488" cy="1543050"/>
          </a:xfrm>
          <a:prstGeom prst="rect">
            <a:avLst/>
          </a:prstGeom>
          <a:noFill/>
          <a:ln w="9525">
            <a:noFill/>
            <a:miter lim="800000"/>
            <a:headEnd/>
            <a:tailEnd/>
          </a:ln>
        </p:spPr>
      </p:pic>
      <p:sp>
        <p:nvSpPr>
          <p:cNvPr id="4" name="Slide Number Placeholder 3"/>
          <p:cNvSpPr>
            <a:spLocks noGrp="1"/>
          </p:cNvSpPr>
          <p:nvPr>
            <p:ph type="sldNum" sz="quarter" idx="12"/>
          </p:nvPr>
        </p:nvSpPr>
        <p:spPr/>
        <p:txBody>
          <a:bodyPr/>
          <a:lstStyle/>
          <a:p>
            <a:pPr fontAlgn="base">
              <a:spcAft>
                <a:spcPct val="0"/>
              </a:spcAft>
              <a:defRPr/>
            </a:pPr>
            <a:fld id="{AEDD70FA-59E1-4157-923E-C4A67B08AD84}" type="slidenum">
              <a:rPr lang="en-US" smtClean="0"/>
              <a:pPr fontAlgn="base">
                <a:spcAft>
                  <a:spcPct val="0"/>
                </a:spcAft>
                <a:defRPr/>
              </a:pPr>
              <a:t>1</a:t>
            </a:fld>
            <a:endParaRPr lang="en-US" dirty="0"/>
          </a:p>
        </p:txBody>
      </p:sp>
      <p:sp>
        <p:nvSpPr>
          <p:cNvPr id="5" name="Rectangle 4"/>
          <p:cNvSpPr/>
          <p:nvPr/>
        </p:nvSpPr>
        <p:spPr bwMode="auto">
          <a:xfrm>
            <a:off x="4521200" y="6477000"/>
            <a:ext cx="127000" cy="2286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600" b="0" i="0" u="none" strike="noStrike" cap="none" normalizeH="0" baseline="0">
              <a:noFill/>
              <a:effectLst/>
              <a:latin typeface="Arial" pitchFamily="34" charset="0"/>
            </a:endParaRPr>
          </a:p>
        </p:txBody>
      </p:sp>
      <p:sp>
        <p:nvSpPr>
          <p:cNvPr id="10" name="TextBox 9"/>
          <p:cNvSpPr txBox="1"/>
          <p:nvPr/>
        </p:nvSpPr>
        <p:spPr>
          <a:xfrm>
            <a:off x="177800" y="3535501"/>
            <a:ext cx="8737600" cy="2308324"/>
          </a:xfrm>
          <a:prstGeom prst="rect">
            <a:avLst/>
          </a:prstGeom>
          <a:noFill/>
        </p:spPr>
        <p:txBody>
          <a:bodyPr>
            <a:spAutoFit/>
          </a:bodyPr>
          <a:lstStyle/>
          <a:p>
            <a:pPr algn="ctr" fontAlgn="base">
              <a:spcBef>
                <a:spcPct val="0"/>
              </a:spcBef>
              <a:spcAft>
                <a:spcPct val="0"/>
              </a:spcAft>
              <a:defRPr/>
            </a:pPr>
            <a:endParaRPr lang="en-US" sz="1600" b="1" i="1" dirty="0">
              <a:solidFill>
                <a:schemeClr val="bg2">
                  <a:lumMod val="50000"/>
                </a:schemeClr>
              </a:solidFill>
              <a:latin typeface="Calibri" panose="020F0502020204030204" pitchFamily="34" charset="0"/>
            </a:endParaRPr>
          </a:p>
          <a:p>
            <a:pPr algn="ctr" fontAlgn="base">
              <a:spcBef>
                <a:spcPct val="0"/>
              </a:spcBef>
              <a:spcAft>
                <a:spcPct val="0"/>
              </a:spcAft>
              <a:defRPr/>
            </a:pPr>
            <a:endParaRPr lang="en-US" sz="1600" b="1" dirty="0">
              <a:solidFill>
                <a:srgbClr val="003366"/>
              </a:solidFill>
              <a:latin typeface="Calibri" pitchFamily="34" charset="0"/>
            </a:endParaRPr>
          </a:p>
          <a:p>
            <a:pPr algn="ctr" fontAlgn="base">
              <a:spcBef>
                <a:spcPct val="0"/>
              </a:spcBef>
              <a:spcAft>
                <a:spcPct val="0"/>
              </a:spcAft>
              <a:defRPr/>
            </a:pPr>
            <a:r>
              <a:rPr lang="en-US" sz="2400" b="1" dirty="0">
                <a:solidFill>
                  <a:srgbClr val="003366"/>
                </a:solidFill>
                <a:latin typeface="Calibri" pitchFamily="34" charset="0"/>
              </a:rPr>
              <a:t>October 4th, 2022</a:t>
            </a:r>
          </a:p>
          <a:p>
            <a:pPr algn="ctr" fontAlgn="base">
              <a:spcBef>
                <a:spcPct val="0"/>
              </a:spcBef>
              <a:spcAft>
                <a:spcPct val="0"/>
              </a:spcAft>
              <a:defRPr/>
            </a:pPr>
            <a:r>
              <a:rPr lang="en-US" sz="2400" b="1" dirty="0">
                <a:solidFill>
                  <a:srgbClr val="003366"/>
                </a:solidFill>
                <a:latin typeface="Calibri" pitchFamily="34" charset="0"/>
              </a:rPr>
              <a:t>2:00 - 3:30 pm</a:t>
            </a:r>
          </a:p>
          <a:p>
            <a:pPr algn="ctr" fontAlgn="base">
              <a:spcBef>
                <a:spcPct val="0"/>
              </a:spcBef>
              <a:spcAft>
                <a:spcPct val="0"/>
              </a:spcAft>
              <a:defRPr/>
            </a:pPr>
            <a:endParaRPr lang="en-US" sz="1600" b="1" dirty="0">
              <a:solidFill>
                <a:srgbClr val="003366"/>
              </a:solidFill>
              <a:latin typeface="Calibri" pitchFamily="34" charset="0"/>
            </a:endParaRPr>
          </a:p>
          <a:p>
            <a:pPr algn="ctr" fontAlgn="base">
              <a:spcBef>
                <a:spcPct val="0"/>
              </a:spcBef>
              <a:spcAft>
                <a:spcPct val="0"/>
              </a:spcAft>
              <a:defRPr/>
            </a:pPr>
            <a:r>
              <a:rPr lang="en-US" sz="2400" b="1" dirty="0">
                <a:solidFill>
                  <a:srgbClr val="003366"/>
                </a:solidFill>
                <a:latin typeface="Calibri" pitchFamily="34" charset="0"/>
              </a:rPr>
              <a:t>Zoom</a:t>
            </a:r>
          </a:p>
          <a:p>
            <a:pPr algn="ctr" fontAlgn="base">
              <a:spcBef>
                <a:spcPct val="0"/>
              </a:spcBef>
              <a:spcAft>
                <a:spcPct val="0"/>
              </a:spcAft>
              <a:defRPr/>
            </a:pPr>
            <a:endParaRPr lang="en-US" sz="2400" b="1" dirty="0">
              <a:solidFill>
                <a:srgbClr val="003366"/>
              </a:solidFill>
              <a:latin typeface="Calibri" pitchFamily="34" charset="0"/>
            </a:endParaRPr>
          </a:p>
        </p:txBody>
      </p:sp>
    </p:spTree>
    <p:extLst>
      <p:ext uri="{BB962C8B-B14F-4D97-AF65-F5344CB8AC3E}">
        <p14:creationId xmlns:p14="http://schemas.microsoft.com/office/powerpoint/2010/main" val="35101260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B1FF38C7-9E84-4003-B724-A147264CACD5}"/>
              </a:ext>
            </a:extLst>
          </p:cNvPr>
          <p:cNvSpPr txBox="1">
            <a:spLocks/>
          </p:cNvSpPr>
          <p:nvPr/>
        </p:nvSpPr>
        <p:spPr bwMode="white">
          <a:xfrm>
            <a:off x="885720" y="135559"/>
            <a:ext cx="4305300" cy="571500"/>
          </a:xfrm>
          <a:prstGeom prst="rect">
            <a:avLst/>
          </a:prstGeom>
          <a:noFill/>
          <a:ln w="9525" algn="ctr">
            <a:noFill/>
            <a:miter lim="800000"/>
            <a:headEnd/>
            <a:tailEnd/>
          </a:ln>
        </p:spPr>
        <p:txBody>
          <a:bodyPr vert="horz" wrap="square" lIns="68580" tIns="34290" rIns="68580" bIns="34290" numCol="1" anchor="ctr" anchorCtr="0" compatLnSpc="1">
            <a:prstTxWarp prst="textNoShape">
              <a:avLst/>
            </a:prstTxWarp>
          </a:bodyPr>
          <a:lstStyle>
            <a:lvl1pPr algn="l" rtl="0" eaLnBrk="0" fontAlgn="base" hangingPunct="0">
              <a:spcBef>
                <a:spcPct val="20000"/>
              </a:spcBef>
              <a:spcAft>
                <a:spcPct val="0"/>
              </a:spcAft>
              <a:tabLst>
                <a:tab pos="915988" algn="l"/>
              </a:tabLst>
              <a:defRPr sz="2400" b="1">
                <a:solidFill>
                  <a:srgbClr val="FFC000"/>
                </a:solidFill>
                <a:latin typeface="Calibri" pitchFamily="34" charset="0"/>
                <a:ea typeface="+mj-ea"/>
                <a:cs typeface="Calibri" pitchFamily="34" charset="0"/>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a:lstStyle>
          <a:p>
            <a:r>
              <a:rPr lang="en-US" sz="1800" kern="0" dirty="0"/>
              <a:t>Update on Initial Allocation for Trust Fund Dollars</a:t>
            </a:r>
          </a:p>
        </p:txBody>
      </p:sp>
      <p:graphicFrame>
        <p:nvGraphicFramePr>
          <p:cNvPr id="8" name="Content Placeholder 3">
            <a:extLst>
              <a:ext uri="{FF2B5EF4-FFF2-40B4-BE49-F238E27FC236}">
                <a16:creationId xmlns:a16="http://schemas.microsoft.com/office/drawing/2014/main" id="{5EB814CD-64C4-4892-A7E5-C63780C63D3E}"/>
              </a:ext>
            </a:extLst>
          </p:cNvPr>
          <p:cNvGraphicFramePr>
            <a:graphicFrameLocks noGrp="1"/>
          </p:cNvGraphicFramePr>
          <p:nvPr>
            <p:ph sz="half" idx="1"/>
            <p:extLst>
              <p:ext uri="{D42A27DB-BD31-4B8C-83A1-F6EECF244321}">
                <p14:modId xmlns:p14="http://schemas.microsoft.com/office/powerpoint/2010/main" val="2986934754"/>
              </p:ext>
            </p:extLst>
          </p:nvPr>
        </p:nvGraphicFramePr>
        <p:xfrm>
          <a:off x="685800" y="1130523"/>
          <a:ext cx="7619999" cy="814913"/>
        </p:xfrm>
        <a:graphic>
          <a:graphicData uri="http://schemas.openxmlformats.org/drawingml/2006/table">
            <a:tbl>
              <a:tblPr/>
              <a:tblGrid>
                <a:gridCol w="1224294">
                  <a:extLst>
                    <a:ext uri="{9D8B030D-6E8A-4147-A177-3AD203B41FA5}">
                      <a16:colId xmlns:a16="http://schemas.microsoft.com/office/drawing/2014/main" val="1012071894"/>
                    </a:ext>
                  </a:extLst>
                </a:gridCol>
                <a:gridCol w="1279141">
                  <a:extLst>
                    <a:ext uri="{9D8B030D-6E8A-4147-A177-3AD203B41FA5}">
                      <a16:colId xmlns:a16="http://schemas.microsoft.com/office/drawing/2014/main" val="3289875192"/>
                    </a:ext>
                  </a:extLst>
                </a:gridCol>
                <a:gridCol w="1279141">
                  <a:extLst>
                    <a:ext uri="{9D8B030D-6E8A-4147-A177-3AD203B41FA5}">
                      <a16:colId xmlns:a16="http://schemas.microsoft.com/office/drawing/2014/main" val="3932879627"/>
                    </a:ext>
                  </a:extLst>
                </a:gridCol>
                <a:gridCol w="1279141">
                  <a:extLst>
                    <a:ext uri="{9D8B030D-6E8A-4147-A177-3AD203B41FA5}">
                      <a16:colId xmlns:a16="http://schemas.microsoft.com/office/drawing/2014/main" val="512266411"/>
                    </a:ext>
                  </a:extLst>
                </a:gridCol>
                <a:gridCol w="1279141">
                  <a:extLst>
                    <a:ext uri="{9D8B030D-6E8A-4147-A177-3AD203B41FA5}">
                      <a16:colId xmlns:a16="http://schemas.microsoft.com/office/drawing/2014/main" val="3089666805"/>
                    </a:ext>
                  </a:extLst>
                </a:gridCol>
                <a:gridCol w="1279141">
                  <a:extLst>
                    <a:ext uri="{9D8B030D-6E8A-4147-A177-3AD203B41FA5}">
                      <a16:colId xmlns:a16="http://schemas.microsoft.com/office/drawing/2014/main" val="2951158483"/>
                    </a:ext>
                  </a:extLst>
                </a:gridCol>
              </a:tblGrid>
              <a:tr h="200442">
                <a:tc gridSpan="6">
                  <a:txBody>
                    <a:bodyPr/>
                    <a:lstStyle/>
                    <a:p>
                      <a:pPr marL="0" marR="0">
                        <a:spcBef>
                          <a:spcPts val="0"/>
                        </a:spcBef>
                        <a:spcAft>
                          <a:spcPts val="0"/>
                        </a:spcAft>
                      </a:pPr>
                      <a:r>
                        <a:rPr lang="en-US" sz="1400" b="1" dirty="0">
                          <a:solidFill>
                            <a:schemeClr val="bg1"/>
                          </a:solidFill>
                          <a:effectLst/>
                          <a:latin typeface="Calibri" panose="020F0502020204030204" pitchFamily="34" charset="0"/>
                        </a:rPr>
                        <a:t>Expansion of Harm Reduction Services - Approved Community Naloxone Purchasing Programs </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hMerge="1">
                  <a:txBody>
                    <a:bodyPr/>
                    <a:lstStyle/>
                    <a:p>
                      <a:pPr marL="0" marR="0">
                        <a:spcBef>
                          <a:spcPts val="0"/>
                        </a:spcBef>
                        <a:spcAft>
                          <a:spcPts val="0"/>
                        </a:spcAft>
                      </a:pPr>
                      <a:endParaRPr lang="en-US" sz="10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hMerge="1">
                  <a:txBody>
                    <a:bodyPr/>
                    <a:lstStyle/>
                    <a:p>
                      <a:pPr marL="0" marR="0">
                        <a:spcBef>
                          <a:spcPts val="0"/>
                        </a:spcBef>
                        <a:spcAft>
                          <a:spcPts val="0"/>
                        </a:spcAft>
                      </a:pPr>
                      <a:endParaRPr lang="en-US" sz="1200" b="1" dirty="0">
                        <a:solidFill>
                          <a:schemeClr val="bg1"/>
                        </a:solidFill>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solidFill>
                      <a:srgbClr val="0070C0"/>
                    </a:solidFill>
                  </a:tcPr>
                </a:tc>
                <a:tc hMerge="1">
                  <a:txBody>
                    <a:bodyPr/>
                    <a:lstStyle/>
                    <a:p>
                      <a:endParaRPr lang="en-US"/>
                    </a:p>
                  </a:txBody>
                  <a:tcPr/>
                </a:tc>
                <a:tc hMerge="1">
                  <a:txBody>
                    <a:bodyPr/>
                    <a:lstStyle/>
                    <a:p>
                      <a:pPr marL="0" marR="0">
                        <a:spcBef>
                          <a:spcPts val="0"/>
                        </a:spcBef>
                        <a:spcAft>
                          <a:spcPts val="0"/>
                        </a:spcAft>
                      </a:pPr>
                      <a:endParaRPr lang="en-US" sz="1200" b="1" dirty="0">
                        <a:solidFill>
                          <a:schemeClr val="bg1"/>
                        </a:solidFill>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solidFill>
                      <a:srgbClr val="0070C0"/>
                    </a:solidFill>
                  </a:tcPr>
                </a:tc>
                <a:tc hMerge="1">
                  <a:txBody>
                    <a:bodyPr/>
                    <a:lstStyle/>
                    <a:p>
                      <a:pPr marL="0" marR="0">
                        <a:spcBef>
                          <a:spcPts val="0"/>
                        </a:spcBef>
                        <a:spcAft>
                          <a:spcPts val="0"/>
                        </a:spcAft>
                      </a:pPr>
                      <a:endParaRPr lang="en-US" sz="1400" b="1" dirty="0">
                        <a:solidFill>
                          <a:schemeClr val="bg1"/>
                        </a:solidFill>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solidFill>
                      <a:srgbClr val="0070C0"/>
                    </a:solidFill>
                  </a:tcPr>
                </a:tc>
                <a:extLst>
                  <a:ext uri="{0D108BD9-81ED-4DB2-BD59-A6C34878D82A}">
                    <a16:rowId xmlns:a16="http://schemas.microsoft.com/office/drawing/2014/main" val="1410951078"/>
                  </a:ext>
                </a:extLst>
              </a:tr>
              <a:tr h="240030">
                <a:tc>
                  <a:txBody>
                    <a:bodyPr/>
                    <a:lstStyle/>
                    <a:p>
                      <a:pPr marL="0" marR="0" algn="ctr" defTabSz="914400" rtl="0" eaLnBrk="1" latinLnBrk="0" hangingPunct="1">
                        <a:spcBef>
                          <a:spcPts val="0"/>
                        </a:spcBef>
                        <a:spcAft>
                          <a:spcPts val="0"/>
                        </a:spcAft>
                      </a:pPr>
                      <a:r>
                        <a:rPr lang="en-US" sz="1050" b="1" kern="1200" dirty="0">
                          <a:solidFill>
                            <a:schemeClr val="tx1"/>
                          </a:solidFill>
                          <a:effectLst/>
                          <a:latin typeface="Calibri" panose="020F0502020204030204" pitchFamily="34" charset="0"/>
                          <a:ea typeface="+mn-ea"/>
                          <a:cs typeface="+mn-cs"/>
                        </a:rPr>
                        <a:t>Vendor</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defTabSz="914400" rtl="0" eaLnBrk="1" latinLnBrk="0" hangingPunct="1">
                        <a:spcBef>
                          <a:spcPts val="0"/>
                        </a:spcBef>
                        <a:spcAft>
                          <a:spcPts val="0"/>
                        </a:spcAft>
                      </a:pPr>
                      <a:r>
                        <a:rPr lang="en-US" sz="1050" b="1" kern="1200" dirty="0">
                          <a:solidFill>
                            <a:schemeClr val="tx1"/>
                          </a:solidFill>
                          <a:effectLst/>
                          <a:latin typeface="Calibri" panose="020F0502020204030204" pitchFamily="34" charset="0"/>
                          <a:ea typeface="+mn-ea"/>
                          <a:cs typeface="+mn-cs"/>
                        </a:rPr>
                        <a:t>Region</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B4C6E7"/>
                    </a:solidFill>
                  </a:tcPr>
                </a:tc>
                <a:tc>
                  <a:txBody>
                    <a:bodyPr/>
                    <a:lstStyle/>
                    <a:p>
                      <a:pPr marL="0" marR="0" algn="ctr" defTabSz="914400" rtl="0" eaLnBrk="1" latinLnBrk="0" hangingPunct="1">
                        <a:spcBef>
                          <a:spcPts val="0"/>
                        </a:spcBef>
                        <a:spcAft>
                          <a:spcPts val="0"/>
                        </a:spcAft>
                      </a:pPr>
                      <a:r>
                        <a:rPr lang="en-US" sz="1050" b="1" kern="1200" dirty="0">
                          <a:solidFill>
                            <a:schemeClr val="tx1"/>
                          </a:solidFill>
                          <a:effectLst/>
                          <a:latin typeface="Calibri" panose="020F0502020204030204" pitchFamily="34" charset="0"/>
                          <a:ea typeface="+mn-ea"/>
                          <a:cs typeface="+mn-cs"/>
                        </a:rPr>
                        <a:t>FY22 Contract $</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B4C6E7"/>
                    </a:solidFill>
                  </a:tcPr>
                </a:tc>
                <a:tc>
                  <a:txBody>
                    <a:bodyPr/>
                    <a:lstStyle/>
                    <a:p>
                      <a:pPr marL="0" marR="0" algn="ctr" defTabSz="914400" rtl="0" eaLnBrk="1" latinLnBrk="0" hangingPunct="1">
                        <a:spcBef>
                          <a:spcPts val="0"/>
                        </a:spcBef>
                        <a:spcAft>
                          <a:spcPts val="0"/>
                        </a:spcAft>
                      </a:pPr>
                      <a:r>
                        <a:rPr lang="en-US" sz="1050" b="1" kern="1200" dirty="0">
                          <a:solidFill>
                            <a:schemeClr val="tx1"/>
                          </a:solidFill>
                          <a:effectLst/>
                          <a:latin typeface="Calibri" panose="020F0502020204030204" pitchFamily="34" charset="0"/>
                          <a:ea typeface="+mn-ea"/>
                          <a:cs typeface="+mn-cs"/>
                        </a:rPr>
                        <a:t># of Doses Distributed to Date</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B4C6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dirty="0">
                          <a:solidFill>
                            <a:schemeClr val="tx1"/>
                          </a:solidFill>
                          <a:effectLst/>
                          <a:latin typeface="Calibri" panose="020F0502020204030204" pitchFamily="34" charset="0"/>
                          <a:ea typeface="+mn-ea"/>
                          <a:cs typeface="+mn-cs"/>
                        </a:rPr>
                        <a:t>FY23 Contract $</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B4C6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1200" dirty="0">
                          <a:solidFill>
                            <a:schemeClr val="tx1"/>
                          </a:solidFill>
                          <a:effectLst/>
                          <a:latin typeface="Calibri" panose="020F0502020204030204" pitchFamily="34" charset="0"/>
                          <a:ea typeface="+mn-ea"/>
                          <a:cs typeface="+mn-cs"/>
                        </a:rPr>
                        <a:t># of Doses Distributed to Date</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838783571"/>
                  </a:ext>
                </a:extLst>
              </a:tr>
              <a:tr h="281513">
                <a:tc>
                  <a:txBody>
                    <a:bodyPr/>
                    <a:lstStyle/>
                    <a:p>
                      <a:pPr marL="0" algn="ctr" defTabSz="914400" rtl="0" eaLnBrk="1" fontAlgn="b" latinLnBrk="0" hangingPunct="1"/>
                      <a:r>
                        <a:rPr lang="en-US" sz="1050" b="0" i="0" u="none" strike="noStrike" kern="1200" dirty="0">
                          <a:solidFill>
                            <a:srgbClr val="000000"/>
                          </a:solidFill>
                          <a:effectLst/>
                          <a:latin typeface="Calibri" panose="020F0502020204030204" pitchFamily="34" charset="0"/>
                          <a:ea typeface="+mn-ea"/>
                          <a:cs typeface="+mn-cs"/>
                        </a:rPr>
                        <a:t>Multiple</a:t>
                      </a:r>
                    </a:p>
                  </a:txBody>
                  <a:tcPr marL="4763" marR="4763" marT="4763"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defTabSz="914400" rtl="0" eaLnBrk="1" fontAlgn="b" latinLnBrk="0" hangingPunct="1">
                        <a:spcBef>
                          <a:spcPts val="0"/>
                        </a:spcBef>
                        <a:spcAft>
                          <a:spcPts val="0"/>
                        </a:spcAft>
                      </a:pPr>
                      <a:r>
                        <a:rPr lang="en-US" sz="1050" b="0" i="0" u="none" strike="noStrike" kern="1200" dirty="0">
                          <a:solidFill>
                            <a:srgbClr val="000000"/>
                          </a:solidFill>
                          <a:effectLst/>
                          <a:latin typeface="Calibri" panose="020F0502020204030204" pitchFamily="34" charset="0"/>
                          <a:ea typeface="+mn-ea"/>
                          <a:cs typeface="+mn-cs"/>
                        </a:rPr>
                        <a:t>Statewide </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defTabSz="914400" rtl="0" eaLnBrk="1" fontAlgn="b" latinLnBrk="0" hangingPunct="1">
                        <a:spcBef>
                          <a:spcPts val="0"/>
                        </a:spcBef>
                        <a:spcAft>
                          <a:spcPts val="0"/>
                        </a:spcAft>
                      </a:pPr>
                      <a:r>
                        <a:rPr lang="en-US" sz="1050" b="0" i="0" u="none" strike="noStrike" kern="1200" dirty="0">
                          <a:solidFill>
                            <a:srgbClr val="000000"/>
                          </a:solidFill>
                          <a:effectLst/>
                          <a:latin typeface="Calibri" panose="020F0502020204030204" pitchFamily="34" charset="0"/>
                          <a:ea typeface="+mn-ea"/>
                          <a:cs typeface="+mn-cs"/>
                        </a:rPr>
                        <a:t>$1,700,000</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defTabSz="914400" rtl="0" eaLnBrk="1" fontAlgn="b" latinLnBrk="0" hangingPunct="1">
                        <a:spcBef>
                          <a:spcPts val="0"/>
                        </a:spcBef>
                        <a:spcAft>
                          <a:spcPts val="0"/>
                        </a:spcAft>
                      </a:pPr>
                      <a:r>
                        <a:rPr lang="en-US" sz="1050" b="0" i="0" u="none" strike="noStrike" kern="1200" dirty="0">
                          <a:solidFill>
                            <a:srgbClr val="000000"/>
                          </a:solidFill>
                          <a:effectLst/>
                          <a:latin typeface="Calibri" panose="020F0502020204030204" pitchFamily="34" charset="0"/>
                          <a:ea typeface="+mn-ea"/>
                          <a:cs typeface="+mn-cs"/>
                        </a:rPr>
                        <a:t>N/A</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defTabSz="914400" rtl="0" eaLnBrk="1" fontAlgn="b" latinLnBrk="0" hangingPunct="1">
                        <a:spcBef>
                          <a:spcPts val="0"/>
                        </a:spcBef>
                        <a:spcAft>
                          <a:spcPts val="0"/>
                        </a:spcAft>
                      </a:pPr>
                      <a:r>
                        <a:rPr lang="en-US" sz="1050" b="0" i="0" u="none" strike="noStrike" kern="1200" dirty="0">
                          <a:solidFill>
                            <a:srgbClr val="000000"/>
                          </a:solidFill>
                          <a:effectLst/>
                          <a:latin typeface="Calibri" panose="020F0502020204030204" pitchFamily="34" charset="0"/>
                          <a:ea typeface="+mn-ea"/>
                          <a:cs typeface="+mn-cs"/>
                        </a:rPr>
                        <a:t>$1,700,000</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defTabSz="914400" rtl="0" eaLnBrk="1" fontAlgn="b" latinLnBrk="0" hangingPunct="1">
                        <a:spcBef>
                          <a:spcPts val="0"/>
                        </a:spcBef>
                        <a:spcAft>
                          <a:spcPts val="0"/>
                        </a:spcAft>
                      </a:pPr>
                      <a:r>
                        <a:rPr lang="en-US" sz="1050" b="0" i="0" u="none" strike="noStrike" kern="1200" dirty="0">
                          <a:solidFill>
                            <a:srgbClr val="000000"/>
                          </a:solidFill>
                          <a:effectLst/>
                          <a:latin typeface="Calibri" panose="020F0502020204030204" pitchFamily="34" charset="0"/>
                          <a:ea typeface="+mn-ea"/>
                          <a:cs typeface="+mn-cs"/>
                        </a:rPr>
                        <a:t>3904</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80046168"/>
                  </a:ext>
                </a:extLst>
              </a:tr>
            </a:tbl>
          </a:graphicData>
        </a:graphic>
      </p:graphicFrame>
      <p:graphicFrame>
        <p:nvGraphicFramePr>
          <p:cNvPr id="2" name="Table 1">
            <a:extLst>
              <a:ext uri="{FF2B5EF4-FFF2-40B4-BE49-F238E27FC236}">
                <a16:creationId xmlns:a16="http://schemas.microsoft.com/office/drawing/2014/main" id="{E7A1C9F5-5F0B-4598-869E-ED114D1FB650}"/>
              </a:ext>
            </a:extLst>
          </p:cNvPr>
          <p:cNvGraphicFramePr>
            <a:graphicFrameLocks noGrp="1"/>
          </p:cNvGraphicFramePr>
          <p:nvPr/>
        </p:nvGraphicFramePr>
        <p:xfrm>
          <a:off x="1249135" y="3943350"/>
          <a:ext cx="6580414" cy="539845"/>
        </p:xfrm>
        <a:graphic>
          <a:graphicData uri="http://schemas.openxmlformats.org/drawingml/2006/table">
            <a:tbl>
              <a:tblPr/>
              <a:tblGrid>
                <a:gridCol w="1591627">
                  <a:extLst>
                    <a:ext uri="{9D8B030D-6E8A-4147-A177-3AD203B41FA5}">
                      <a16:colId xmlns:a16="http://schemas.microsoft.com/office/drawing/2014/main" val="4193331318"/>
                    </a:ext>
                  </a:extLst>
                </a:gridCol>
                <a:gridCol w="1662929">
                  <a:extLst>
                    <a:ext uri="{9D8B030D-6E8A-4147-A177-3AD203B41FA5}">
                      <a16:colId xmlns:a16="http://schemas.microsoft.com/office/drawing/2014/main" val="707065087"/>
                    </a:ext>
                  </a:extLst>
                </a:gridCol>
                <a:gridCol w="1662929">
                  <a:extLst>
                    <a:ext uri="{9D8B030D-6E8A-4147-A177-3AD203B41FA5}">
                      <a16:colId xmlns:a16="http://schemas.microsoft.com/office/drawing/2014/main" val="3311692599"/>
                    </a:ext>
                  </a:extLst>
                </a:gridCol>
                <a:gridCol w="1662929">
                  <a:extLst>
                    <a:ext uri="{9D8B030D-6E8A-4147-A177-3AD203B41FA5}">
                      <a16:colId xmlns:a16="http://schemas.microsoft.com/office/drawing/2014/main" val="3073012115"/>
                    </a:ext>
                  </a:extLst>
                </a:gridCol>
              </a:tblGrid>
              <a:tr h="231137">
                <a:tc gridSpan="4">
                  <a:txBody>
                    <a:bodyPr/>
                    <a:lstStyle/>
                    <a:p>
                      <a:pPr marL="0" marR="0">
                        <a:spcBef>
                          <a:spcPts val="0"/>
                        </a:spcBef>
                        <a:spcAft>
                          <a:spcPts val="0"/>
                        </a:spcAft>
                      </a:pPr>
                      <a:r>
                        <a:rPr lang="en-US" sz="1100" b="1" kern="1200" dirty="0">
                          <a:solidFill>
                            <a:schemeClr val="bg1"/>
                          </a:solidFill>
                          <a:effectLst/>
                          <a:latin typeface="Calibri" panose="020F0502020204030204" pitchFamily="34" charset="0"/>
                          <a:ea typeface="+mn-ea"/>
                          <a:cs typeface="+mn-cs"/>
                        </a:rPr>
                        <a:t>Community Outreach and Engagement </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hMerge="1">
                  <a:txBody>
                    <a:bodyPr/>
                    <a:lstStyle/>
                    <a:p>
                      <a:pPr marL="0" marR="0">
                        <a:spcBef>
                          <a:spcPts val="0"/>
                        </a:spcBef>
                        <a:spcAft>
                          <a:spcPts val="0"/>
                        </a:spcAft>
                      </a:pPr>
                      <a:endParaRPr lang="en-US" sz="10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hMerge="1">
                  <a:txBody>
                    <a:bodyPr/>
                    <a:lstStyle/>
                    <a:p>
                      <a:pPr marL="0" marR="0">
                        <a:spcBef>
                          <a:spcPts val="0"/>
                        </a:spcBef>
                        <a:spcAft>
                          <a:spcPts val="0"/>
                        </a:spcAft>
                      </a:pPr>
                      <a:endParaRPr lang="en-US" sz="1200" b="1" dirty="0">
                        <a:solidFill>
                          <a:schemeClr val="bg1"/>
                        </a:solidFill>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solidFill>
                      <a:srgbClr val="0070C0"/>
                    </a:solidFill>
                  </a:tcPr>
                </a:tc>
                <a:tc hMerge="1">
                  <a:txBody>
                    <a:bodyPr/>
                    <a:lstStyle/>
                    <a:p>
                      <a:pPr marL="0" marR="0">
                        <a:spcBef>
                          <a:spcPts val="0"/>
                        </a:spcBef>
                        <a:spcAft>
                          <a:spcPts val="0"/>
                        </a:spcAft>
                      </a:pPr>
                      <a:endParaRPr lang="en-US" sz="1200" b="1" dirty="0">
                        <a:solidFill>
                          <a:schemeClr val="bg1"/>
                        </a:solidFill>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solidFill>
                      <a:srgbClr val="0070C0"/>
                    </a:solidFill>
                  </a:tcPr>
                </a:tc>
                <a:extLst>
                  <a:ext uri="{0D108BD9-81ED-4DB2-BD59-A6C34878D82A}">
                    <a16:rowId xmlns:a16="http://schemas.microsoft.com/office/drawing/2014/main" val="2238046292"/>
                  </a:ext>
                </a:extLst>
              </a:tr>
              <a:tr h="154354">
                <a:tc>
                  <a:txBody>
                    <a:bodyPr/>
                    <a:lstStyle/>
                    <a:p>
                      <a:pPr marL="0" marR="0" algn="ctr" defTabSz="914400" rtl="0" eaLnBrk="1" latinLnBrk="0" hangingPunct="1">
                        <a:spcBef>
                          <a:spcPts val="0"/>
                        </a:spcBef>
                        <a:spcAft>
                          <a:spcPts val="0"/>
                        </a:spcAft>
                      </a:pPr>
                      <a:r>
                        <a:rPr lang="en-US" sz="800" kern="1200" dirty="0">
                          <a:solidFill>
                            <a:schemeClr val="tx1"/>
                          </a:solidFill>
                          <a:effectLst/>
                          <a:latin typeface="Calibri" panose="020F0502020204030204" pitchFamily="34" charset="0"/>
                          <a:ea typeface="+mn-ea"/>
                          <a:cs typeface="+mn-cs"/>
                        </a:rPr>
                        <a:t>Vendor</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defTabSz="914400" rtl="0" eaLnBrk="1" latinLnBrk="0" hangingPunct="1">
                        <a:spcBef>
                          <a:spcPts val="0"/>
                        </a:spcBef>
                        <a:spcAft>
                          <a:spcPts val="0"/>
                        </a:spcAft>
                      </a:pPr>
                      <a:r>
                        <a:rPr lang="en-US" sz="800" kern="1200" dirty="0">
                          <a:solidFill>
                            <a:schemeClr val="tx1"/>
                          </a:solidFill>
                          <a:effectLst/>
                          <a:latin typeface="Calibri" panose="020F0502020204030204" pitchFamily="34" charset="0"/>
                          <a:ea typeface="+mn-ea"/>
                          <a:cs typeface="+mn-cs"/>
                        </a:rPr>
                        <a:t>Region</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solidFill>
                      <a:srgbClr val="B4C6E7"/>
                    </a:solidFill>
                  </a:tcPr>
                </a:tc>
                <a:tc>
                  <a:txBody>
                    <a:bodyPr/>
                    <a:lstStyle/>
                    <a:p>
                      <a:pPr marL="0" marR="0" algn="ctr" defTabSz="914400" rtl="0" eaLnBrk="1" fontAlgn="b" latinLnBrk="0" hangingPunct="1">
                        <a:spcBef>
                          <a:spcPts val="0"/>
                        </a:spcBef>
                        <a:spcAft>
                          <a:spcPts val="0"/>
                        </a:spcAft>
                      </a:pPr>
                      <a:r>
                        <a:rPr lang="en-US" sz="800" kern="1200" dirty="0">
                          <a:solidFill>
                            <a:schemeClr val="tx1"/>
                          </a:solidFill>
                          <a:effectLst/>
                          <a:latin typeface="Calibri" panose="020F0502020204030204" pitchFamily="34" charset="0"/>
                          <a:ea typeface="+mn-ea"/>
                          <a:cs typeface="+mn-cs"/>
                        </a:rPr>
                        <a:t>FY22 Contract $</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solidFill>
                      <a:srgbClr val="B4C6E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kern="1200" dirty="0">
                          <a:solidFill>
                            <a:schemeClr val="tx1"/>
                          </a:solidFill>
                          <a:effectLst/>
                          <a:latin typeface="Calibri" panose="020F0502020204030204" pitchFamily="34" charset="0"/>
                          <a:ea typeface="+mn-ea"/>
                          <a:cs typeface="+mn-cs"/>
                        </a:rPr>
                        <a:t>FY23 Contract $</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solidFill>
                      <a:srgbClr val="B4C6E7"/>
                    </a:solidFill>
                  </a:tcPr>
                </a:tc>
                <a:extLst>
                  <a:ext uri="{0D108BD9-81ED-4DB2-BD59-A6C34878D82A}">
                    <a16:rowId xmlns:a16="http://schemas.microsoft.com/office/drawing/2014/main" val="868175028"/>
                  </a:ext>
                </a:extLst>
              </a:tr>
              <a:tr h="154354">
                <a:tc>
                  <a:txBody>
                    <a:bodyPr/>
                    <a:lstStyle/>
                    <a:p>
                      <a:pPr marL="0" marR="0" algn="ctr" defTabSz="914400" rtl="0" eaLnBrk="1" latinLnBrk="0" hangingPunct="1">
                        <a:spcBef>
                          <a:spcPts val="0"/>
                        </a:spcBef>
                        <a:spcAft>
                          <a:spcPts val="0"/>
                        </a:spcAft>
                      </a:pPr>
                      <a:r>
                        <a:rPr lang="en-US" sz="800" kern="1200" dirty="0">
                          <a:solidFill>
                            <a:schemeClr val="tx1"/>
                          </a:solidFill>
                          <a:effectLst/>
                          <a:latin typeface="Calibri" panose="020F0502020204030204" pitchFamily="34" charset="0"/>
                          <a:ea typeface="+mn-ea"/>
                          <a:cs typeface="+mn-cs"/>
                        </a:rPr>
                        <a:t>TBD**</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defTabSz="914400" rtl="0" eaLnBrk="1" latinLnBrk="0" hangingPunct="1">
                        <a:spcBef>
                          <a:spcPts val="0"/>
                        </a:spcBef>
                        <a:spcAft>
                          <a:spcPts val="0"/>
                        </a:spcAft>
                      </a:pPr>
                      <a:r>
                        <a:rPr lang="en-US" sz="800" kern="1200" dirty="0">
                          <a:solidFill>
                            <a:schemeClr val="tx1"/>
                          </a:solidFill>
                          <a:effectLst/>
                          <a:latin typeface="Calibri" panose="020F0502020204030204" pitchFamily="34" charset="0"/>
                          <a:ea typeface="+mn-ea"/>
                          <a:cs typeface="+mn-cs"/>
                        </a:rPr>
                        <a:t>Statewide</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noFill/>
                  </a:tcPr>
                </a:tc>
                <a:tc>
                  <a:txBody>
                    <a:bodyPr/>
                    <a:lstStyle/>
                    <a:p>
                      <a:pPr marL="0" marR="0" algn="ctr" defTabSz="914400" rtl="0" eaLnBrk="1" fontAlgn="b" latinLnBrk="0" hangingPunct="1">
                        <a:spcBef>
                          <a:spcPts val="0"/>
                        </a:spcBef>
                        <a:spcAft>
                          <a:spcPts val="0"/>
                        </a:spcAft>
                      </a:pPr>
                      <a:endParaRPr lang="en-US" sz="800" kern="1200" dirty="0">
                        <a:solidFill>
                          <a:schemeClr val="tx1"/>
                        </a:solidFill>
                        <a:effectLst/>
                        <a:latin typeface="Calibri" panose="020F0502020204030204" pitchFamily="34" charset="0"/>
                        <a:ea typeface="+mn-ea"/>
                        <a:cs typeface="+mn-cs"/>
                      </a:endParaRP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800" kern="1200" dirty="0">
                          <a:solidFill>
                            <a:schemeClr val="tx1"/>
                          </a:solidFill>
                          <a:effectLst/>
                          <a:latin typeface="Calibri" panose="020F0502020204030204" pitchFamily="34" charset="0"/>
                          <a:ea typeface="+mn-ea"/>
                          <a:cs typeface="+mn-cs"/>
                        </a:rPr>
                        <a:t>$750,000</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9443918"/>
                  </a:ext>
                </a:extLst>
              </a:tr>
            </a:tbl>
          </a:graphicData>
        </a:graphic>
      </p:graphicFrame>
      <p:graphicFrame>
        <p:nvGraphicFramePr>
          <p:cNvPr id="5" name="Table 4">
            <a:extLst>
              <a:ext uri="{FF2B5EF4-FFF2-40B4-BE49-F238E27FC236}">
                <a16:creationId xmlns:a16="http://schemas.microsoft.com/office/drawing/2014/main" id="{BECAFB5E-D3D3-48D4-A6DE-40BC1CBBC81B}"/>
              </a:ext>
            </a:extLst>
          </p:cNvPr>
          <p:cNvGraphicFramePr>
            <a:graphicFrameLocks noGrp="1"/>
          </p:cNvGraphicFramePr>
          <p:nvPr>
            <p:extLst>
              <p:ext uri="{D42A27DB-BD31-4B8C-83A1-F6EECF244321}">
                <p14:modId xmlns:p14="http://schemas.microsoft.com/office/powerpoint/2010/main" val="109676164"/>
              </p:ext>
            </p:extLst>
          </p:nvPr>
        </p:nvGraphicFramePr>
        <p:xfrm>
          <a:off x="685798" y="4427920"/>
          <a:ext cx="7619998" cy="1615653"/>
        </p:xfrm>
        <a:graphic>
          <a:graphicData uri="http://schemas.openxmlformats.org/drawingml/2006/table">
            <a:tbl>
              <a:tblPr/>
              <a:tblGrid>
                <a:gridCol w="728799">
                  <a:extLst>
                    <a:ext uri="{9D8B030D-6E8A-4147-A177-3AD203B41FA5}">
                      <a16:colId xmlns:a16="http://schemas.microsoft.com/office/drawing/2014/main" val="3614528838"/>
                    </a:ext>
                  </a:extLst>
                </a:gridCol>
                <a:gridCol w="704505">
                  <a:extLst>
                    <a:ext uri="{9D8B030D-6E8A-4147-A177-3AD203B41FA5}">
                      <a16:colId xmlns:a16="http://schemas.microsoft.com/office/drawing/2014/main" val="1852960178"/>
                    </a:ext>
                  </a:extLst>
                </a:gridCol>
                <a:gridCol w="852966">
                  <a:extLst>
                    <a:ext uri="{9D8B030D-6E8A-4147-A177-3AD203B41FA5}">
                      <a16:colId xmlns:a16="http://schemas.microsoft.com/office/drawing/2014/main" val="1764140007"/>
                    </a:ext>
                  </a:extLst>
                </a:gridCol>
                <a:gridCol w="607332">
                  <a:extLst>
                    <a:ext uri="{9D8B030D-6E8A-4147-A177-3AD203B41FA5}">
                      <a16:colId xmlns:a16="http://schemas.microsoft.com/office/drawing/2014/main" val="3749201806"/>
                    </a:ext>
                  </a:extLst>
                </a:gridCol>
                <a:gridCol w="736897">
                  <a:extLst>
                    <a:ext uri="{9D8B030D-6E8A-4147-A177-3AD203B41FA5}">
                      <a16:colId xmlns:a16="http://schemas.microsoft.com/office/drawing/2014/main" val="586805724"/>
                    </a:ext>
                  </a:extLst>
                </a:gridCol>
                <a:gridCol w="736897">
                  <a:extLst>
                    <a:ext uri="{9D8B030D-6E8A-4147-A177-3AD203B41FA5}">
                      <a16:colId xmlns:a16="http://schemas.microsoft.com/office/drawing/2014/main" val="2453997328"/>
                    </a:ext>
                  </a:extLst>
                </a:gridCol>
                <a:gridCol w="769288">
                  <a:extLst>
                    <a:ext uri="{9D8B030D-6E8A-4147-A177-3AD203B41FA5}">
                      <a16:colId xmlns:a16="http://schemas.microsoft.com/office/drawing/2014/main" val="406708239"/>
                    </a:ext>
                  </a:extLst>
                </a:gridCol>
                <a:gridCol w="885355">
                  <a:extLst>
                    <a:ext uri="{9D8B030D-6E8A-4147-A177-3AD203B41FA5}">
                      <a16:colId xmlns:a16="http://schemas.microsoft.com/office/drawing/2014/main" val="1500269856"/>
                    </a:ext>
                  </a:extLst>
                </a:gridCol>
                <a:gridCol w="1597959">
                  <a:extLst>
                    <a:ext uri="{9D8B030D-6E8A-4147-A177-3AD203B41FA5}">
                      <a16:colId xmlns:a16="http://schemas.microsoft.com/office/drawing/2014/main" val="3232000057"/>
                    </a:ext>
                  </a:extLst>
                </a:gridCol>
              </a:tblGrid>
              <a:tr h="282248">
                <a:tc gridSpan="9">
                  <a:txBody>
                    <a:bodyPr/>
                    <a:lstStyle/>
                    <a:p>
                      <a:pPr algn="l" fontAlgn="b"/>
                      <a:r>
                        <a:rPr lang="en-US" sz="1400" b="1" i="0" u="none" strike="noStrike" dirty="0">
                          <a:solidFill>
                            <a:srgbClr val="FFFFFF"/>
                          </a:solidFill>
                          <a:effectLst/>
                          <a:latin typeface="Calibri" panose="020F0502020204030204" pitchFamily="34" charset="0"/>
                        </a:rPr>
                        <a:t>  Long Term Housing</a:t>
                      </a:r>
                    </a:p>
                  </a:txBody>
                  <a:tcPr marL="6506" marR="6506" marT="650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47025374"/>
                  </a:ext>
                </a:extLst>
              </a:tr>
              <a:tr h="463918">
                <a:tc>
                  <a:txBody>
                    <a:bodyPr/>
                    <a:lstStyle/>
                    <a:p>
                      <a:pPr algn="ctr" fontAlgn="b"/>
                      <a:r>
                        <a:rPr lang="en-US" sz="1400" b="0" i="0" u="none" strike="noStrike" dirty="0">
                          <a:solidFill>
                            <a:srgbClr val="000000"/>
                          </a:solidFill>
                          <a:effectLst/>
                          <a:latin typeface="Calibri" panose="020F0502020204030204" pitchFamily="34" charset="0"/>
                        </a:rPr>
                        <a:t>Provider***</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ctr" fontAlgn="b"/>
                      <a:r>
                        <a:rPr lang="en-US" sz="1400" b="0" i="0" u="none" strike="noStrike" dirty="0">
                          <a:solidFill>
                            <a:srgbClr val="000000"/>
                          </a:solidFill>
                          <a:effectLst/>
                          <a:latin typeface="Calibri" panose="020F0502020204030204" pitchFamily="34" charset="0"/>
                        </a:rPr>
                        <a:t>Region</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ctr" fontAlgn="b"/>
                      <a:r>
                        <a:rPr lang="en-US" sz="1400" b="0" i="0" u="none" strike="noStrike" dirty="0">
                          <a:solidFill>
                            <a:srgbClr val="000000"/>
                          </a:solidFill>
                          <a:effectLst/>
                          <a:latin typeface="Calibri" panose="020F0502020204030204" pitchFamily="34" charset="0"/>
                        </a:rPr>
                        <a:t>FY22 Slots</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ctr" fontAlgn="b"/>
                      <a:r>
                        <a:rPr lang="en-US" sz="1400" b="0" i="0" u="none" strike="noStrike" dirty="0">
                          <a:solidFill>
                            <a:srgbClr val="000000"/>
                          </a:solidFill>
                          <a:effectLst/>
                          <a:latin typeface="Calibri" panose="020F0502020204030204" pitchFamily="34" charset="0"/>
                        </a:rPr>
                        <a:t>FY22 ORRF Funds</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ctr" fontAlgn="b"/>
                      <a:r>
                        <a:rPr lang="en-US" sz="1400" b="0" i="0" u="none" strike="noStrike" dirty="0">
                          <a:solidFill>
                            <a:srgbClr val="000000"/>
                          </a:solidFill>
                          <a:effectLst/>
                          <a:latin typeface="Calibri" panose="020F0502020204030204" pitchFamily="34" charset="0"/>
                        </a:rPr>
                        <a:t>FY22 Total Funds ****</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ctr" fontAlgn="b"/>
                      <a:r>
                        <a:rPr lang="en-US" sz="1400" b="0" i="0" u="none" strike="noStrike" dirty="0">
                          <a:solidFill>
                            <a:srgbClr val="000000"/>
                          </a:solidFill>
                          <a:effectLst/>
                          <a:latin typeface="Calibri" panose="020F0502020204030204" pitchFamily="34" charset="0"/>
                        </a:rPr>
                        <a:t>FY23 Slots</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ctr" fontAlgn="b"/>
                      <a:r>
                        <a:rPr lang="en-US" sz="1400" b="0" i="0" u="none" strike="noStrike" dirty="0">
                          <a:solidFill>
                            <a:srgbClr val="000000"/>
                          </a:solidFill>
                          <a:effectLst/>
                          <a:latin typeface="Calibri" panose="020F0502020204030204" pitchFamily="34" charset="0"/>
                        </a:rPr>
                        <a:t>FY23 ORRF</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ctr" fontAlgn="b"/>
                      <a:r>
                        <a:rPr lang="en-US" sz="1400" b="0" i="0" u="none" strike="noStrike" dirty="0">
                          <a:solidFill>
                            <a:srgbClr val="000000"/>
                          </a:solidFill>
                          <a:effectLst/>
                          <a:latin typeface="Calibri" panose="020F0502020204030204" pitchFamily="34" charset="0"/>
                        </a:rPr>
                        <a:t>FY23 Total Funds**</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tc>
                  <a:txBody>
                    <a:bodyPr/>
                    <a:lstStyle/>
                    <a:p>
                      <a:pPr algn="ctr" fontAlgn="b"/>
                      <a:r>
                        <a:rPr lang="en-US" sz="1400" b="0" i="0" u="none" strike="noStrike" dirty="0">
                          <a:solidFill>
                            <a:srgbClr val="000000"/>
                          </a:solidFill>
                          <a:effectLst/>
                          <a:latin typeface="Calibri" panose="020F0502020204030204" pitchFamily="34" charset="0"/>
                        </a:rPr>
                        <a:t>Projected Total # of Units Supported by ORRF</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4C6E7"/>
                    </a:solidFill>
                  </a:tcPr>
                </a:tc>
                <a:extLst>
                  <a:ext uri="{0D108BD9-81ED-4DB2-BD59-A6C34878D82A}">
                    <a16:rowId xmlns:a16="http://schemas.microsoft.com/office/drawing/2014/main" val="2107498758"/>
                  </a:ext>
                </a:extLst>
              </a:tr>
              <a:tr h="473459">
                <a:tc>
                  <a:txBody>
                    <a:bodyPr/>
                    <a:lstStyle/>
                    <a:p>
                      <a:pPr algn="ctr" fontAlgn="b"/>
                      <a:r>
                        <a:rPr lang="en-US" sz="1400" b="0" i="0" u="none" strike="noStrike" dirty="0">
                          <a:solidFill>
                            <a:srgbClr val="000000"/>
                          </a:solidFill>
                          <a:effectLst/>
                          <a:latin typeface="Calibri" panose="020F0502020204030204" pitchFamily="34" charset="0"/>
                        </a:rPr>
                        <a:t>Multiple</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Calibri" panose="020F0502020204030204" pitchFamily="34" charset="0"/>
                        </a:rPr>
                        <a:t>Statewide</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Calibri" panose="020F0502020204030204" pitchFamily="34" charset="0"/>
                        </a:rPr>
                        <a:t>299</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Calibri" panose="020F0502020204030204" pitchFamily="34" charset="0"/>
                        </a:rPr>
                        <a:t>0</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a:solidFill>
                            <a:srgbClr val="000000"/>
                          </a:solidFill>
                          <a:effectLst/>
                          <a:latin typeface="Calibri" panose="020F0502020204030204" pitchFamily="34" charset="0"/>
                        </a:rPr>
                        <a:t>$11,960,000 </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Calibri" panose="020F0502020204030204" pitchFamily="34" charset="0"/>
                        </a:rPr>
                        <a:t>372</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Calibri" panose="020F0502020204030204" pitchFamily="34" charset="0"/>
                        </a:rPr>
                        <a:t>$5,000,000 </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Calibri" panose="020F0502020204030204" pitchFamily="34" charset="0"/>
                        </a:rPr>
                        <a:t>$15,000,000.00</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1" i="0" u="none" strike="noStrike" dirty="0">
                          <a:solidFill>
                            <a:srgbClr val="000000"/>
                          </a:solidFill>
                          <a:effectLst/>
                          <a:latin typeface="Calibri" panose="020F0502020204030204" pitchFamily="34" charset="0"/>
                        </a:rPr>
                        <a:t>125</a:t>
                      </a:r>
                    </a:p>
                  </a:txBody>
                  <a:tcPr marL="6506" marR="6506" marT="650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1166601"/>
                  </a:ext>
                </a:extLst>
              </a:tr>
            </a:tbl>
          </a:graphicData>
        </a:graphic>
      </p:graphicFrame>
      <p:sp>
        <p:nvSpPr>
          <p:cNvPr id="7" name="TextBox 6">
            <a:extLst>
              <a:ext uri="{FF2B5EF4-FFF2-40B4-BE49-F238E27FC236}">
                <a16:creationId xmlns:a16="http://schemas.microsoft.com/office/drawing/2014/main" id="{9330D1C3-2B83-4485-A440-A586B6113949}"/>
              </a:ext>
            </a:extLst>
          </p:cNvPr>
          <p:cNvSpPr txBox="1"/>
          <p:nvPr/>
        </p:nvSpPr>
        <p:spPr>
          <a:xfrm>
            <a:off x="533400" y="6065161"/>
            <a:ext cx="7467600" cy="769441"/>
          </a:xfrm>
          <a:prstGeom prst="rect">
            <a:avLst/>
          </a:prstGeom>
          <a:noFill/>
        </p:spPr>
        <p:txBody>
          <a:bodyPr wrap="square" rtlCol="0">
            <a:spAutoFit/>
          </a:bodyPr>
          <a:lstStyle/>
          <a:p>
            <a:r>
              <a:rPr lang="en-US" sz="1100" dirty="0">
                <a:solidFill>
                  <a:srgbClr val="000000"/>
                </a:solidFill>
                <a:latin typeface="Calibri" panose="020F0502020204030204" pitchFamily="34" charset="0"/>
                <a:cs typeface="Calibri" panose="020F0502020204030204" pitchFamily="34" charset="0"/>
              </a:rPr>
              <a:t>* BSAS currently reviewing responding bids to OTP Expansion RFP. </a:t>
            </a:r>
          </a:p>
          <a:p>
            <a:r>
              <a:rPr lang="en-US" sz="1100" dirty="0">
                <a:solidFill>
                  <a:srgbClr val="000000"/>
                </a:solidFill>
                <a:latin typeface="Calibri" panose="020F0502020204030204" pitchFamily="34" charset="0"/>
                <a:cs typeface="Calibri" panose="020F0502020204030204" pitchFamily="34" charset="0"/>
              </a:rPr>
              <a:t>** RFP scheduled to be posted on January 1</a:t>
            </a:r>
            <a:r>
              <a:rPr lang="en-US" sz="1100" baseline="30000" dirty="0">
                <a:solidFill>
                  <a:srgbClr val="000000"/>
                </a:solidFill>
                <a:latin typeface="Calibri" panose="020F0502020204030204" pitchFamily="34" charset="0"/>
                <a:cs typeface="Calibri" panose="020F0502020204030204" pitchFamily="34" charset="0"/>
              </a:rPr>
              <a:t>st</a:t>
            </a:r>
            <a:r>
              <a:rPr lang="en-US" sz="1100" dirty="0">
                <a:solidFill>
                  <a:srgbClr val="000000"/>
                </a:solidFill>
                <a:latin typeface="Calibri" panose="020F0502020204030204" pitchFamily="34" charset="0"/>
                <a:cs typeface="Calibri" panose="020F0502020204030204" pitchFamily="34" charset="0"/>
              </a:rPr>
              <a:t>, 2023</a:t>
            </a:r>
          </a:p>
          <a:p>
            <a:r>
              <a:rPr lang="en-US" sz="1100" dirty="0">
                <a:solidFill>
                  <a:srgbClr val="000000"/>
                </a:solidFill>
                <a:latin typeface="Calibri" panose="020F0502020204030204" pitchFamily="34" charset="0"/>
                <a:cs typeface="Calibri" panose="020F0502020204030204" pitchFamily="34" charset="0"/>
              </a:rPr>
              <a:t>*** See Appendix Slide A for breakdown of current providers, slots and funds </a:t>
            </a:r>
          </a:p>
          <a:p>
            <a:r>
              <a:rPr lang="en-US" sz="1100" dirty="0">
                <a:solidFill>
                  <a:srgbClr val="000000"/>
                </a:solidFill>
                <a:latin typeface="Calibri" panose="020F0502020204030204" pitchFamily="34" charset="0"/>
                <a:cs typeface="Calibri" panose="020F0502020204030204" pitchFamily="34" charset="0"/>
              </a:rPr>
              <a:t>**** Total funds supplemented by additional BSAS revenue sources</a:t>
            </a:r>
          </a:p>
        </p:txBody>
      </p:sp>
      <p:graphicFrame>
        <p:nvGraphicFramePr>
          <p:cNvPr id="9" name="Content Placeholder 3">
            <a:extLst>
              <a:ext uri="{FF2B5EF4-FFF2-40B4-BE49-F238E27FC236}">
                <a16:creationId xmlns:a16="http://schemas.microsoft.com/office/drawing/2014/main" id="{638CA8FB-F5F6-46FE-B309-C40646DB7AEF}"/>
              </a:ext>
            </a:extLst>
          </p:cNvPr>
          <p:cNvGraphicFramePr>
            <a:graphicFrameLocks/>
          </p:cNvGraphicFramePr>
          <p:nvPr>
            <p:extLst>
              <p:ext uri="{D42A27DB-BD31-4B8C-83A1-F6EECF244321}">
                <p14:modId xmlns:p14="http://schemas.microsoft.com/office/powerpoint/2010/main" val="1451837486"/>
              </p:ext>
            </p:extLst>
          </p:nvPr>
        </p:nvGraphicFramePr>
        <p:xfrm>
          <a:off x="685798" y="2030205"/>
          <a:ext cx="7619998" cy="1243013"/>
        </p:xfrm>
        <a:graphic>
          <a:graphicData uri="http://schemas.openxmlformats.org/drawingml/2006/table">
            <a:tbl>
              <a:tblPr/>
              <a:tblGrid>
                <a:gridCol w="1843075">
                  <a:extLst>
                    <a:ext uri="{9D8B030D-6E8A-4147-A177-3AD203B41FA5}">
                      <a16:colId xmlns:a16="http://schemas.microsoft.com/office/drawing/2014/main" val="1012071894"/>
                    </a:ext>
                  </a:extLst>
                </a:gridCol>
                <a:gridCol w="1925641">
                  <a:extLst>
                    <a:ext uri="{9D8B030D-6E8A-4147-A177-3AD203B41FA5}">
                      <a16:colId xmlns:a16="http://schemas.microsoft.com/office/drawing/2014/main" val="3289875192"/>
                    </a:ext>
                  </a:extLst>
                </a:gridCol>
                <a:gridCol w="1925641">
                  <a:extLst>
                    <a:ext uri="{9D8B030D-6E8A-4147-A177-3AD203B41FA5}">
                      <a16:colId xmlns:a16="http://schemas.microsoft.com/office/drawing/2014/main" val="3932879627"/>
                    </a:ext>
                  </a:extLst>
                </a:gridCol>
                <a:gridCol w="1925641">
                  <a:extLst>
                    <a:ext uri="{9D8B030D-6E8A-4147-A177-3AD203B41FA5}">
                      <a16:colId xmlns:a16="http://schemas.microsoft.com/office/drawing/2014/main" val="512266411"/>
                    </a:ext>
                  </a:extLst>
                </a:gridCol>
              </a:tblGrid>
              <a:tr h="85201">
                <a:tc gridSpan="4">
                  <a:txBody>
                    <a:bodyPr/>
                    <a:lstStyle/>
                    <a:p>
                      <a:pPr marL="0" marR="0">
                        <a:spcBef>
                          <a:spcPts val="0"/>
                        </a:spcBef>
                        <a:spcAft>
                          <a:spcPts val="0"/>
                        </a:spcAft>
                      </a:pPr>
                      <a:r>
                        <a:rPr lang="en-US" sz="1400" b="1" dirty="0">
                          <a:solidFill>
                            <a:schemeClr val="bg1"/>
                          </a:solidFill>
                          <a:effectLst/>
                          <a:latin typeface="Calibri" panose="020F0502020204030204" pitchFamily="34" charset="0"/>
                        </a:rPr>
                        <a:t>Expansion of Harm Reduction Services - Fentanyl Test Strips Clearinghouse</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hMerge="1">
                  <a:txBody>
                    <a:bodyPr/>
                    <a:lstStyle/>
                    <a:p>
                      <a:pPr marL="0" marR="0">
                        <a:spcBef>
                          <a:spcPts val="0"/>
                        </a:spcBef>
                        <a:spcAft>
                          <a:spcPts val="0"/>
                        </a:spcAft>
                      </a:pPr>
                      <a:endParaRPr lang="en-US" sz="10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hMerge="1">
                  <a:txBody>
                    <a:bodyPr/>
                    <a:lstStyle/>
                    <a:p>
                      <a:pPr marL="0" marR="0">
                        <a:spcBef>
                          <a:spcPts val="0"/>
                        </a:spcBef>
                        <a:spcAft>
                          <a:spcPts val="0"/>
                        </a:spcAft>
                      </a:pPr>
                      <a:endParaRPr lang="en-US" sz="1200" b="1" dirty="0">
                        <a:solidFill>
                          <a:schemeClr val="bg1"/>
                        </a:solidFill>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solidFill>
                      <a:srgbClr val="0070C0"/>
                    </a:solidFill>
                  </a:tcPr>
                </a:tc>
                <a:tc hMerge="1">
                  <a:txBody>
                    <a:bodyPr/>
                    <a:lstStyle/>
                    <a:p>
                      <a:endParaRPr lang="en-US"/>
                    </a:p>
                  </a:txBody>
                  <a:tcPr/>
                </a:tc>
                <a:extLst>
                  <a:ext uri="{0D108BD9-81ED-4DB2-BD59-A6C34878D82A}">
                    <a16:rowId xmlns:a16="http://schemas.microsoft.com/office/drawing/2014/main" val="1410951078"/>
                  </a:ext>
                </a:extLst>
              </a:tr>
              <a:tr h="313207">
                <a:tc>
                  <a:txBody>
                    <a:bodyPr/>
                    <a:lstStyle/>
                    <a:p>
                      <a:pPr marL="0" marR="0" algn="ctr" defTabSz="914400" rtl="0" eaLnBrk="1" latinLnBrk="0" hangingPunct="1">
                        <a:spcBef>
                          <a:spcPts val="0"/>
                        </a:spcBef>
                        <a:spcAft>
                          <a:spcPts val="0"/>
                        </a:spcAft>
                      </a:pPr>
                      <a:r>
                        <a:rPr lang="en-US" sz="1300" b="1" kern="1200" dirty="0">
                          <a:solidFill>
                            <a:schemeClr val="tx1"/>
                          </a:solidFill>
                          <a:effectLst/>
                          <a:latin typeface="Calibri" panose="020F0502020204030204" pitchFamily="34" charset="0"/>
                          <a:ea typeface="+mn-ea"/>
                          <a:cs typeface="+mn-cs"/>
                        </a:rPr>
                        <a:t>FY22 Contract $</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defTabSz="914400" rtl="0" eaLnBrk="1" latinLnBrk="0" hangingPunct="1">
                        <a:spcBef>
                          <a:spcPts val="0"/>
                        </a:spcBef>
                        <a:spcAft>
                          <a:spcPts val="0"/>
                        </a:spcAft>
                      </a:pPr>
                      <a:r>
                        <a:rPr lang="en-US" sz="1300" b="1" kern="1200" dirty="0">
                          <a:solidFill>
                            <a:schemeClr val="tx1"/>
                          </a:solidFill>
                          <a:effectLst/>
                          <a:latin typeface="Calibri" panose="020F0502020204030204" pitchFamily="34" charset="0"/>
                          <a:ea typeface="+mn-ea"/>
                          <a:cs typeface="+mn-cs"/>
                        </a:rPr>
                        <a:t># Purchased/Distributed</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B4C6E7"/>
                    </a:solidFill>
                  </a:tcPr>
                </a:tc>
                <a:tc>
                  <a:txBody>
                    <a:bodyPr/>
                    <a:lstStyle/>
                    <a:p>
                      <a:pPr marL="0" marR="0" algn="ctr" defTabSz="914400" rtl="0" eaLnBrk="1" latinLnBrk="0" hangingPunct="1">
                        <a:spcBef>
                          <a:spcPts val="0"/>
                        </a:spcBef>
                        <a:spcAft>
                          <a:spcPts val="0"/>
                        </a:spcAft>
                      </a:pPr>
                      <a:r>
                        <a:rPr lang="en-US" sz="1300" b="1" kern="1200" dirty="0">
                          <a:solidFill>
                            <a:schemeClr val="tx1"/>
                          </a:solidFill>
                          <a:effectLst/>
                          <a:latin typeface="Calibri" panose="020F0502020204030204" pitchFamily="34" charset="0"/>
                          <a:ea typeface="+mn-ea"/>
                          <a:cs typeface="+mn-cs"/>
                        </a:rPr>
                        <a:t>FY23 Contract $</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B4C6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b="1" kern="1200" dirty="0">
                          <a:solidFill>
                            <a:schemeClr val="tx1"/>
                          </a:solidFill>
                          <a:effectLst/>
                          <a:latin typeface="Calibri" panose="020F0502020204030204" pitchFamily="34" charset="0"/>
                          <a:ea typeface="+mn-ea"/>
                          <a:cs typeface="+mn-cs"/>
                        </a:rPr>
                        <a:t># Purchased/Distributed to Date</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838783571"/>
                  </a:ext>
                </a:extLst>
              </a:tr>
              <a:tr h="500680">
                <a:tc>
                  <a:txBody>
                    <a:bodyPr/>
                    <a:lstStyle/>
                    <a:p>
                      <a:pPr marL="0" algn="ctr" defTabSz="914400" rtl="0" eaLnBrk="1" fontAlgn="b" latinLnBrk="0" hangingPunct="1"/>
                      <a:r>
                        <a:rPr lang="en-US" sz="1300" b="0" i="0" u="none" strike="noStrike" kern="1200" dirty="0">
                          <a:solidFill>
                            <a:srgbClr val="000000"/>
                          </a:solidFill>
                          <a:effectLst/>
                          <a:latin typeface="Calibri" panose="020F0502020204030204" pitchFamily="34" charset="0"/>
                          <a:ea typeface="+mn-ea"/>
                          <a:cs typeface="+mn-cs"/>
                        </a:rPr>
                        <a:t>$18,000 (for development and purchase of educational materials)</a:t>
                      </a:r>
                    </a:p>
                  </a:txBody>
                  <a:tcPr marL="4763" marR="4763" marT="4763"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defTabSz="914400" rtl="0" eaLnBrk="1" fontAlgn="b" latinLnBrk="0" hangingPunct="1">
                        <a:spcBef>
                          <a:spcPts val="0"/>
                        </a:spcBef>
                        <a:spcAft>
                          <a:spcPts val="0"/>
                        </a:spcAft>
                      </a:pPr>
                      <a:r>
                        <a:rPr lang="en-US" sz="1300" b="0" i="0" u="none" strike="noStrike" kern="1200" dirty="0">
                          <a:solidFill>
                            <a:srgbClr val="000000"/>
                          </a:solidFill>
                          <a:effectLst/>
                          <a:latin typeface="Calibri" panose="020F0502020204030204" pitchFamily="34" charset="0"/>
                          <a:ea typeface="+mn-ea"/>
                          <a:cs typeface="+mn-cs"/>
                        </a:rPr>
                        <a:t>N/A</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defTabSz="914400" rtl="0" eaLnBrk="1" fontAlgn="b" latinLnBrk="0" hangingPunct="1">
                        <a:spcBef>
                          <a:spcPts val="0"/>
                        </a:spcBef>
                        <a:spcAft>
                          <a:spcPts val="0"/>
                        </a:spcAft>
                      </a:pPr>
                      <a:r>
                        <a:rPr lang="en-US" sz="1300" b="0" i="0" u="none" strike="noStrike" kern="1200" dirty="0">
                          <a:solidFill>
                            <a:srgbClr val="000000"/>
                          </a:solidFill>
                          <a:effectLst/>
                          <a:latin typeface="Calibri" panose="020F0502020204030204" pitchFamily="34" charset="0"/>
                          <a:ea typeface="+mn-ea"/>
                          <a:cs typeface="+mn-cs"/>
                        </a:rPr>
                        <a:t>$750,000</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defTabSz="914400" rtl="0" eaLnBrk="1" fontAlgn="b" latinLnBrk="0" hangingPunct="1">
                        <a:spcBef>
                          <a:spcPts val="0"/>
                        </a:spcBef>
                        <a:spcAft>
                          <a:spcPts val="0"/>
                        </a:spcAft>
                      </a:pPr>
                      <a:r>
                        <a:rPr lang="en-US" sz="1300" b="0" i="0" u="none" strike="noStrike" kern="1200" dirty="0">
                          <a:solidFill>
                            <a:srgbClr val="000000"/>
                          </a:solidFill>
                          <a:effectLst/>
                          <a:latin typeface="Calibri" panose="020F0502020204030204" pitchFamily="34" charset="0"/>
                          <a:ea typeface="+mn-ea"/>
                          <a:cs typeface="+mn-cs"/>
                        </a:rPr>
                        <a:t>7,900 </a:t>
                      </a:r>
                    </a:p>
                  </a:txBody>
                  <a:tcPr marL="46839" marR="468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80046168"/>
                  </a:ext>
                </a:extLst>
              </a:tr>
            </a:tbl>
          </a:graphicData>
        </a:graphic>
      </p:graphicFrame>
      <p:graphicFrame>
        <p:nvGraphicFramePr>
          <p:cNvPr id="3" name="Content Placeholder 3">
            <a:extLst>
              <a:ext uri="{FF2B5EF4-FFF2-40B4-BE49-F238E27FC236}">
                <a16:creationId xmlns:a16="http://schemas.microsoft.com/office/drawing/2014/main" id="{15C3BB85-DE99-1310-6569-F81151F89ED3}"/>
              </a:ext>
            </a:extLst>
          </p:cNvPr>
          <p:cNvGraphicFramePr>
            <a:graphicFrameLocks/>
          </p:cNvGraphicFramePr>
          <p:nvPr>
            <p:extLst>
              <p:ext uri="{D42A27DB-BD31-4B8C-83A1-F6EECF244321}">
                <p14:modId xmlns:p14="http://schemas.microsoft.com/office/powerpoint/2010/main" val="240172297"/>
              </p:ext>
            </p:extLst>
          </p:nvPr>
        </p:nvGraphicFramePr>
        <p:xfrm>
          <a:off x="685799" y="3257978"/>
          <a:ext cx="7619998" cy="1169942"/>
        </p:xfrm>
        <a:graphic>
          <a:graphicData uri="http://schemas.openxmlformats.org/drawingml/2006/table">
            <a:tbl>
              <a:tblPr/>
              <a:tblGrid>
                <a:gridCol w="1515241">
                  <a:extLst>
                    <a:ext uri="{9D8B030D-6E8A-4147-A177-3AD203B41FA5}">
                      <a16:colId xmlns:a16="http://schemas.microsoft.com/office/drawing/2014/main" val="1012071894"/>
                    </a:ext>
                  </a:extLst>
                </a:gridCol>
                <a:gridCol w="2034919">
                  <a:extLst>
                    <a:ext uri="{9D8B030D-6E8A-4147-A177-3AD203B41FA5}">
                      <a16:colId xmlns:a16="http://schemas.microsoft.com/office/drawing/2014/main" val="3289875192"/>
                    </a:ext>
                  </a:extLst>
                </a:gridCol>
                <a:gridCol w="2034919">
                  <a:extLst>
                    <a:ext uri="{9D8B030D-6E8A-4147-A177-3AD203B41FA5}">
                      <a16:colId xmlns:a16="http://schemas.microsoft.com/office/drawing/2014/main" val="3932879627"/>
                    </a:ext>
                  </a:extLst>
                </a:gridCol>
                <a:gridCol w="2034919">
                  <a:extLst>
                    <a:ext uri="{9D8B030D-6E8A-4147-A177-3AD203B41FA5}">
                      <a16:colId xmlns:a16="http://schemas.microsoft.com/office/drawing/2014/main" val="3089666805"/>
                    </a:ext>
                  </a:extLst>
                </a:gridCol>
              </a:tblGrid>
              <a:tr h="308182">
                <a:tc gridSpan="4">
                  <a:txBody>
                    <a:bodyPr/>
                    <a:lstStyle/>
                    <a:p>
                      <a:pPr marL="0" marR="0">
                        <a:spcBef>
                          <a:spcPts val="0"/>
                        </a:spcBef>
                        <a:spcAft>
                          <a:spcPts val="0"/>
                        </a:spcAft>
                      </a:pPr>
                      <a:r>
                        <a:rPr lang="en-US" sz="1400" b="1" kern="1200" dirty="0">
                          <a:solidFill>
                            <a:schemeClr val="bg1"/>
                          </a:solidFill>
                          <a:effectLst/>
                          <a:latin typeface="Calibri" panose="020F0502020204030204" pitchFamily="34" charset="0"/>
                          <a:ea typeface="+mn-ea"/>
                          <a:cs typeface="+mn-cs"/>
                        </a:rPr>
                        <a:t>Increased Access to Methadone - OTP Expansion Contracts </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hMerge="1">
                  <a:txBody>
                    <a:bodyPr/>
                    <a:lstStyle/>
                    <a:p>
                      <a:pPr marL="0" marR="0">
                        <a:spcBef>
                          <a:spcPts val="0"/>
                        </a:spcBef>
                        <a:spcAft>
                          <a:spcPts val="0"/>
                        </a:spcAft>
                      </a:pPr>
                      <a:endParaRPr lang="en-US" sz="10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hMerge="1">
                  <a:txBody>
                    <a:bodyPr/>
                    <a:lstStyle/>
                    <a:p>
                      <a:pPr marL="0" marR="0">
                        <a:spcBef>
                          <a:spcPts val="0"/>
                        </a:spcBef>
                        <a:spcAft>
                          <a:spcPts val="0"/>
                        </a:spcAft>
                      </a:pPr>
                      <a:endParaRPr lang="en-US" sz="1200" b="1" dirty="0">
                        <a:solidFill>
                          <a:schemeClr val="bg1"/>
                        </a:solidFill>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solidFill>
                      <a:srgbClr val="0070C0"/>
                    </a:solidFill>
                  </a:tcPr>
                </a:tc>
                <a:tc hMerge="1">
                  <a:txBody>
                    <a:bodyPr/>
                    <a:lstStyle/>
                    <a:p>
                      <a:pPr marL="0" marR="0">
                        <a:spcBef>
                          <a:spcPts val="0"/>
                        </a:spcBef>
                        <a:spcAft>
                          <a:spcPts val="0"/>
                        </a:spcAft>
                      </a:pPr>
                      <a:endParaRPr lang="en-US" sz="1200" b="1" dirty="0">
                        <a:solidFill>
                          <a:schemeClr val="bg1"/>
                        </a:solidFill>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solidFill>
                      <a:srgbClr val="0070C0"/>
                    </a:solidFill>
                  </a:tcPr>
                </a:tc>
                <a:extLst>
                  <a:ext uri="{0D108BD9-81ED-4DB2-BD59-A6C34878D82A}">
                    <a16:rowId xmlns:a16="http://schemas.microsoft.com/office/drawing/2014/main" val="1410951078"/>
                  </a:ext>
                </a:extLst>
              </a:tr>
              <a:tr h="205805">
                <a:tc>
                  <a:txBody>
                    <a:bodyPr/>
                    <a:lstStyle/>
                    <a:p>
                      <a:pPr marL="0" marR="0" algn="ctr" defTabSz="914400" rtl="0" eaLnBrk="1" latinLnBrk="0" hangingPunct="1">
                        <a:spcBef>
                          <a:spcPts val="0"/>
                        </a:spcBef>
                        <a:spcAft>
                          <a:spcPts val="0"/>
                        </a:spcAft>
                      </a:pPr>
                      <a:r>
                        <a:rPr lang="en-US" sz="1300" kern="1200" dirty="0">
                          <a:solidFill>
                            <a:schemeClr val="tx1"/>
                          </a:solidFill>
                          <a:effectLst/>
                          <a:latin typeface="Calibri" panose="020F0502020204030204" pitchFamily="34" charset="0"/>
                          <a:ea typeface="+mn-ea"/>
                          <a:cs typeface="+mn-cs"/>
                        </a:rPr>
                        <a:t>Vendor</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defTabSz="914400" rtl="0" eaLnBrk="1" latinLnBrk="0" hangingPunct="1">
                        <a:spcBef>
                          <a:spcPts val="0"/>
                        </a:spcBef>
                        <a:spcAft>
                          <a:spcPts val="0"/>
                        </a:spcAft>
                      </a:pPr>
                      <a:r>
                        <a:rPr lang="en-US" sz="1300" kern="1200" dirty="0">
                          <a:solidFill>
                            <a:schemeClr val="tx1"/>
                          </a:solidFill>
                          <a:effectLst/>
                          <a:latin typeface="Calibri" panose="020F0502020204030204" pitchFamily="34" charset="0"/>
                          <a:ea typeface="+mn-ea"/>
                          <a:cs typeface="+mn-cs"/>
                        </a:rPr>
                        <a:t>Region</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B4C6E7"/>
                    </a:solidFill>
                  </a:tcPr>
                </a:tc>
                <a:tc>
                  <a:txBody>
                    <a:bodyPr/>
                    <a:lstStyle/>
                    <a:p>
                      <a:pPr marL="0" marR="0" algn="ctr" defTabSz="914400" rtl="0" eaLnBrk="1" fontAlgn="b" latinLnBrk="0" hangingPunct="1">
                        <a:spcBef>
                          <a:spcPts val="0"/>
                        </a:spcBef>
                        <a:spcAft>
                          <a:spcPts val="0"/>
                        </a:spcAft>
                      </a:pPr>
                      <a:r>
                        <a:rPr lang="en-US" sz="1300" kern="1200" dirty="0">
                          <a:solidFill>
                            <a:schemeClr val="tx1"/>
                          </a:solidFill>
                          <a:effectLst/>
                          <a:latin typeface="Calibri" panose="020F0502020204030204" pitchFamily="34" charset="0"/>
                          <a:ea typeface="+mn-ea"/>
                          <a:cs typeface="+mn-cs"/>
                        </a:rPr>
                        <a:t>FY22 Contract $</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B4C6E7"/>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300" kern="1200" dirty="0">
                          <a:solidFill>
                            <a:schemeClr val="tx1"/>
                          </a:solidFill>
                          <a:effectLst/>
                          <a:latin typeface="Calibri" panose="020F0502020204030204" pitchFamily="34" charset="0"/>
                          <a:ea typeface="+mn-ea"/>
                          <a:cs typeface="+mn-cs"/>
                        </a:rPr>
                        <a:t>FY23 Contract $</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838783571"/>
                  </a:ext>
                </a:extLst>
              </a:tr>
              <a:tr h="0">
                <a:tc>
                  <a:txBody>
                    <a:bodyPr/>
                    <a:lstStyle/>
                    <a:p>
                      <a:pPr algn="ctr" fontAlgn="b"/>
                      <a:r>
                        <a:rPr lang="en-US" sz="1300" kern="1200" dirty="0">
                          <a:solidFill>
                            <a:schemeClr val="tx1"/>
                          </a:solidFill>
                          <a:effectLst/>
                          <a:latin typeface="Calibri" panose="020F0502020204030204" pitchFamily="34" charset="0"/>
                          <a:ea typeface="+mn-ea"/>
                          <a:cs typeface="+mn-cs"/>
                        </a:rPr>
                        <a:t>Spectrum Health Systems, Inc</a:t>
                      </a:r>
                    </a:p>
                  </a:txBody>
                  <a:tcPr marL="6350" marR="6350" marT="635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300" kern="1200" dirty="0">
                          <a:solidFill>
                            <a:schemeClr val="tx1"/>
                          </a:solidFill>
                          <a:effectLst/>
                          <a:latin typeface="Calibri" panose="020F0502020204030204" pitchFamily="34" charset="0"/>
                          <a:ea typeface="+mn-ea"/>
                          <a:cs typeface="+mn-cs"/>
                        </a:rPr>
                        <a:t>CM</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defTabSz="914400" rtl="0" eaLnBrk="1" fontAlgn="b" latinLnBrk="0" hangingPunct="1">
                        <a:spcBef>
                          <a:spcPts val="0"/>
                        </a:spcBef>
                        <a:spcAft>
                          <a:spcPts val="0"/>
                        </a:spcAft>
                      </a:pPr>
                      <a:r>
                        <a:rPr lang="en-US" sz="1300" kern="1200" dirty="0">
                          <a:solidFill>
                            <a:schemeClr val="tx1"/>
                          </a:solidFill>
                          <a:effectLst/>
                          <a:latin typeface="Calibri" panose="020F0502020204030204" pitchFamily="34" charset="0"/>
                          <a:ea typeface="+mn-ea"/>
                          <a:cs typeface="+mn-cs"/>
                        </a:rPr>
                        <a:t>$115,000.00</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defTabSz="914400" rtl="0" eaLnBrk="1" fontAlgn="b" latinLnBrk="0" hangingPunct="1">
                        <a:spcBef>
                          <a:spcPts val="0"/>
                        </a:spcBef>
                        <a:spcAft>
                          <a:spcPts val="0"/>
                        </a:spcAft>
                      </a:pPr>
                      <a:r>
                        <a:rPr lang="en-US" sz="1300" kern="1200" dirty="0">
                          <a:solidFill>
                            <a:schemeClr val="tx1"/>
                          </a:solidFill>
                          <a:effectLst/>
                          <a:latin typeface="Calibri" panose="020F0502020204030204" pitchFamily="34" charset="0"/>
                          <a:ea typeface="+mn-ea"/>
                          <a:cs typeface="+mn-cs"/>
                        </a:rPr>
                        <a:t>$1,078,638.00</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80046168"/>
                  </a:ext>
                </a:extLst>
              </a:tr>
              <a:tr h="0">
                <a:tc>
                  <a:txBody>
                    <a:bodyPr/>
                    <a:lstStyle/>
                    <a:p>
                      <a:pPr algn="ctr" rtl="0" fontAlgn="b"/>
                      <a:r>
                        <a:rPr lang="en-US" sz="1300" b="0" i="0" u="none" strike="noStrike" dirty="0">
                          <a:solidFill>
                            <a:srgbClr val="000000"/>
                          </a:solidFill>
                          <a:effectLst/>
                          <a:latin typeface="Calibri" panose="020F0502020204030204" pitchFamily="34" charset="0"/>
                        </a:rPr>
                        <a:t>Responding RFR Bids*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300" b="0" i="0" u="none" strike="noStrike" dirty="0">
                          <a:solidFill>
                            <a:srgbClr val="000000"/>
                          </a:solidFill>
                          <a:effectLst/>
                          <a:latin typeface="Calibri" panose="020F0502020204030204" pitchFamily="34" charset="0"/>
                        </a:rPr>
                        <a:t>Statewide</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300" b="0" i="0" u="none" strike="noStrike" dirty="0">
                          <a:solidFill>
                            <a:srgbClr val="000000"/>
                          </a:solidFill>
                          <a:effectLst/>
                          <a:latin typeface="Calibri" panose="020F0502020204030204" pitchFamily="34" charset="0"/>
                        </a:rPr>
                        <a:t>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300" b="0" i="0" u="none" strike="noStrike" dirty="0">
                          <a:solidFill>
                            <a:srgbClr val="000000"/>
                          </a:solidFill>
                          <a:effectLst/>
                          <a:latin typeface="Calibri" panose="020F0502020204030204" pitchFamily="34" charset="0"/>
                        </a:rPr>
                        <a:t>$1,908,362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21866674"/>
                  </a:ext>
                </a:extLst>
              </a:tr>
            </a:tbl>
          </a:graphicData>
        </a:graphic>
      </p:graphicFrame>
    </p:spTree>
    <p:extLst>
      <p:ext uri="{BB962C8B-B14F-4D97-AF65-F5344CB8AC3E}">
        <p14:creationId xmlns:p14="http://schemas.microsoft.com/office/powerpoint/2010/main" val="1610164749"/>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EC002-2474-66D2-5F43-BCA661EBB100}"/>
              </a:ext>
            </a:extLst>
          </p:cNvPr>
          <p:cNvSpPr>
            <a:spLocks noGrp="1"/>
          </p:cNvSpPr>
          <p:nvPr>
            <p:ph type="title"/>
          </p:nvPr>
        </p:nvSpPr>
        <p:spPr>
          <a:xfrm>
            <a:off x="736600" y="109538"/>
            <a:ext cx="5664200" cy="762000"/>
          </a:xfrm>
        </p:spPr>
        <p:txBody>
          <a:bodyPr/>
          <a:lstStyle/>
          <a:p>
            <a:r>
              <a:rPr lang="en-US" dirty="0"/>
              <a:t>Wellfleet/Yarmouth Mobile Methadone Van </a:t>
            </a:r>
          </a:p>
        </p:txBody>
      </p:sp>
      <p:pic>
        <p:nvPicPr>
          <p:cNvPr id="5" name="Picture 4" descr="A picture containing outdoor, sky, truck, transport&#10;&#10;Description automatically generated">
            <a:extLst>
              <a:ext uri="{FF2B5EF4-FFF2-40B4-BE49-F238E27FC236}">
                <a16:creationId xmlns:a16="http://schemas.microsoft.com/office/drawing/2014/main" id="{AC39C989-EF16-3F91-8A39-84E2027BEE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871538"/>
            <a:ext cx="9144000" cy="5943600"/>
          </a:xfrm>
          <a:prstGeom prst="rect">
            <a:avLst/>
          </a:prstGeom>
        </p:spPr>
      </p:pic>
    </p:spTree>
    <p:extLst>
      <p:ext uri="{BB962C8B-B14F-4D97-AF65-F5344CB8AC3E}">
        <p14:creationId xmlns:p14="http://schemas.microsoft.com/office/powerpoint/2010/main" val="387210092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BB87A-98C8-1B9D-27E0-B90EC1841A4E}"/>
              </a:ext>
            </a:extLst>
          </p:cNvPr>
          <p:cNvSpPr>
            <a:spLocks noGrp="1"/>
          </p:cNvSpPr>
          <p:nvPr>
            <p:ph type="title"/>
          </p:nvPr>
        </p:nvSpPr>
        <p:spPr/>
        <p:txBody>
          <a:bodyPr/>
          <a:lstStyle/>
          <a:p>
            <a:r>
              <a:rPr lang="en-US" dirty="0"/>
              <a:t>Wellfleet/Yarmouth Mobile Methadone Van </a:t>
            </a:r>
          </a:p>
        </p:txBody>
      </p:sp>
      <p:pic>
        <p:nvPicPr>
          <p:cNvPr id="4" name="Picture 3" descr="A bathroom with a sink and a toilet&#10;&#10;Description automatically generated with low confidence">
            <a:extLst>
              <a:ext uri="{FF2B5EF4-FFF2-40B4-BE49-F238E27FC236}">
                <a16:creationId xmlns:a16="http://schemas.microsoft.com/office/drawing/2014/main" id="{235C3CFE-7560-994E-6569-8014DDCDB46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219200"/>
            <a:ext cx="4343400" cy="5334000"/>
          </a:xfrm>
          <a:prstGeom prst="rect">
            <a:avLst/>
          </a:prstGeom>
        </p:spPr>
      </p:pic>
      <p:pic>
        <p:nvPicPr>
          <p:cNvPr id="1026" name="Picture 2">
            <a:extLst>
              <a:ext uri="{FF2B5EF4-FFF2-40B4-BE49-F238E27FC236}">
                <a16:creationId xmlns:a16="http://schemas.microsoft.com/office/drawing/2014/main" id="{9C361C18-F086-2E89-ACCB-C399E221CE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82207" y="1219200"/>
            <a:ext cx="4343400"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9776894"/>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58800" y="1536174"/>
            <a:ext cx="8026400" cy="5078313"/>
          </a:xfrm>
          <a:prstGeom prst="rect">
            <a:avLst/>
          </a:prstGeom>
        </p:spPr>
        <p:txBody>
          <a:bodyPr wrap="square" rtlCol="0">
            <a:spAutoFit/>
          </a:bodyPr>
          <a:lstStyle/>
          <a:p>
            <a:r>
              <a:rPr lang="en-US" b="1" dirty="0">
                <a:latin typeface="Calibri" panose="020F0502020204030204" pitchFamily="34" charset="0"/>
              </a:rPr>
              <a:t>Jeffrey </a:t>
            </a:r>
            <a:r>
              <a:rPr lang="en-US" b="1" dirty="0" err="1">
                <a:latin typeface="Calibri" panose="020F0502020204030204" pitchFamily="34" charset="0"/>
              </a:rPr>
              <a:t>Samet</a:t>
            </a:r>
            <a:r>
              <a:rPr lang="en-US" b="1" dirty="0">
                <a:latin typeface="Calibri" panose="020F0502020204030204" pitchFamily="34" charset="0"/>
              </a:rPr>
              <a:t>, MD, MA, MPH</a:t>
            </a:r>
          </a:p>
          <a:p>
            <a:r>
              <a:rPr lang="en-US" dirty="0">
                <a:latin typeface="Calibri" panose="020F0502020204030204" pitchFamily="34" charset="0"/>
              </a:rPr>
              <a:t>Principal Investigator </a:t>
            </a:r>
          </a:p>
          <a:p>
            <a:r>
              <a:rPr lang="en-US" dirty="0">
                <a:latin typeface="Calibri" panose="020F0502020204030204" pitchFamily="34" charset="0"/>
              </a:rPr>
              <a:t>Chief, Section of General Internal Medicine, Boston Medical Center</a:t>
            </a:r>
          </a:p>
          <a:p>
            <a:r>
              <a:rPr lang="en-US" dirty="0">
                <a:latin typeface="Calibri" panose="020F0502020204030204" pitchFamily="34" charset="0"/>
              </a:rPr>
              <a:t>Vice Chair for Public Health, Department of Medicine </a:t>
            </a:r>
          </a:p>
          <a:p>
            <a:endParaRPr lang="en-US" b="1" dirty="0">
              <a:latin typeface="Calibri" panose="020F0502020204030204" pitchFamily="34" charset="0"/>
            </a:endParaRPr>
          </a:p>
          <a:p>
            <a:r>
              <a:rPr lang="en-US" b="1" dirty="0">
                <a:latin typeface="Calibri" panose="020F0502020204030204" pitchFamily="34" charset="0"/>
              </a:rPr>
              <a:t>Carly </a:t>
            </a:r>
            <a:r>
              <a:rPr lang="en-US" b="1" dirty="0" err="1">
                <a:latin typeface="Calibri" panose="020F0502020204030204" pitchFamily="34" charset="0"/>
              </a:rPr>
              <a:t>Bridden</a:t>
            </a:r>
            <a:r>
              <a:rPr lang="en-US" b="1" dirty="0">
                <a:latin typeface="Calibri" panose="020F0502020204030204" pitchFamily="34" charset="0"/>
              </a:rPr>
              <a:t>, MA MPH</a:t>
            </a:r>
          </a:p>
          <a:p>
            <a:r>
              <a:rPr lang="en-US" dirty="0">
                <a:latin typeface="Calibri" panose="020F0502020204030204" pitchFamily="34" charset="0"/>
              </a:rPr>
              <a:t>Project Director</a:t>
            </a:r>
          </a:p>
          <a:p>
            <a:r>
              <a:rPr lang="en-US" dirty="0" err="1">
                <a:latin typeface="Calibri" panose="020F0502020204030204" pitchFamily="34" charset="0"/>
              </a:rPr>
              <a:t>HEALing</a:t>
            </a:r>
            <a:r>
              <a:rPr lang="en-US" dirty="0">
                <a:latin typeface="Calibri" panose="020F0502020204030204" pitchFamily="34" charset="0"/>
              </a:rPr>
              <a:t> Communities Study</a:t>
            </a:r>
          </a:p>
          <a:p>
            <a:r>
              <a:rPr lang="en-US" dirty="0">
                <a:latin typeface="Calibri" panose="020F0502020204030204" pitchFamily="34" charset="0"/>
              </a:rPr>
              <a:t>Boston Medical Center </a:t>
            </a:r>
          </a:p>
          <a:p>
            <a:endParaRPr lang="en-US" dirty="0">
              <a:latin typeface="Calibri" panose="020F0502020204030204" pitchFamily="34" charset="0"/>
            </a:endParaRPr>
          </a:p>
          <a:p>
            <a:r>
              <a:rPr lang="en-US" b="1" dirty="0">
                <a:latin typeface="Calibri" panose="020F0502020204030204" pitchFamily="34" charset="0"/>
              </a:rPr>
              <a:t>Jessica Taylor, MD</a:t>
            </a:r>
          </a:p>
          <a:p>
            <a:r>
              <a:rPr lang="en-US" dirty="0">
                <a:latin typeface="Calibri" panose="020F0502020204030204" pitchFamily="34" charset="0"/>
              </a:rPr>
              <a:t>Assistant Professor of Medicine in General Internal Medicine at the Boston University School of Medicine and Boston Medical Center and a board-certified Addiction Specialist; Community Faculty, </a:t>
            </a:r>
            <a:r>
              <a:rPr lang="en-US" dirty="0" err="1">
                <a:latin typeface="Calibri" panose="020F0502020204030204" pitchFamily="34" charset="0"/>
              </a:rPr>
              <a:t>HEALing</a:t>
            </a:r>
            <a:r>
              <a:rPr lang="en-US" dirty="0">
                <a:latin typeface="Calibri" panose="020F0502020204030204" pitchFamily="34" charset="0"/>
              </a:rPr>
              <a:t> Communities Study</a:t>
            </a:r>
          </a:p>
          <a:p>
            <a:endParaRPr lang="en-US" dirty="0">
              <a:latin typeface="Calibri" panose="020F0502020204030204" pitchFamily="34" charset="0"/>
            </a:endParaRPr>
          </a:p>
          <a:p>
            <a:r>
              <a:rPr lang="en-US" b="1" dirty="0">
                <a:latin typeface="Calibri" panose="020F0502020204030204" pitchFamily="34" charset="0"/>
              </a:rPr>
              <a:t>Erin Gibson, MPH</a:t>
            </a:r>
          </a:p>
          <a:p>
            <a:r>
              <a:rPr lang="en-US" dirty="0">
                <a:latin typeface="Calibri" panose="020F0502020204030204" pitchFamily="34" charset="0"/>
              </a:rPr>
              <a:t>Associate Director of Research Operations, </a:t>
            </a:r>
            <a:r>
              <a:rPr lang="en-US" dirty="0" err="1">
                <a:latin typeface="Calibri" panose="020F0502020204030204" pitchFamily="34" charset="0"/>
              </a:rPr>
              <a:t>HEALing</a:t>
            </a:r>
            <a:r>
              <a:rPr lang="en-US" dirty="0">
                <a:latin typeface="Calibri" panose="020F0502020204030204" pitchFamily="34" charset="0"/>
              </a:rPr>
              <a:t> Communities Study</a:t>
            </a:r>
          </a:p>
          <a:p>
            <a:endParaRPr lang="en-US" dirty="0">
              <a:latin typeface="Calibri" panose="020F0502020204030204" pitchFamily="34" charset="0"/>
            </a:endParaRPr>
          </a:p>
        </p:txBody>
      </p:sp>
      <p:sp>
        <p:nvSpPr>
          <p:cNvPr id="3" name="Title 2"/>
          <p:cNvSpPr>
            <a:spLocks noGrp="1"/>
          </p:cNvSpPr>
          <p:nvPr>
            <p:ph type="title"/>
          </p:nvPr>
        </p:nvSpPr>
        <p:spPr>
          <a:xfrm>
            <a:off x="736600" y="109538"/>
            <a:ext cx="5740400" cy="762000"/>
          </a:xfrm>
        </p:spPr>
        <p:txBody>
          <a:bodyPr anchor="ctr"/>
          <a:lstStyle/>
          <a:p>
            <a:r>
              <a:rPr lang="en-US" dirty="0" err="1"/>
              <a:t>HEALing</a:t>
            </a:r>
            <a:r>
              <a:rPr lang="en-US" dirty="0"/>
              <a:t> Communities Study </a:t>
            </a:r>
          </a:p>
        </p:txBody>
      </p:sp>
    </p:spTree>
    <p:extLst>
      <p:ext uri="{BB962C8B-B14F-4D97-AF65-F5344CB8AC3E}">
        <p14:creationId xmlns:p14="http://schemas.microsoft.com/office/powerpoint/2010/main" val="157190204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466BBD-692F-4FE3-9B92-6F404D574E95}"/>
              </a:ext>
            </a:extLst>
          </p:cNvPr>
          <p:cNvSpPr>
            <a:spLocks noGrp="1"/>
          </p:cNvSpPr>
          <p:nvPr>
            <p:ph type="title"/>
          </p:nvPr>
        </p:nvSpPr>
        <p:spPr/>
        <p:txBody>
          <a:bodyPr/>
          <a:lstStyle/>
          <a:p>
            <a:r>
              <a:rPr lang="en-US" dirty="0"/>
              <a:t>Pew Charitable Trust Report </a:t>
            </a:r>
          </a:p>
        </p:txBody>
      </p:sp>
      <p:sp>
        <p:nvSpPr>
          <p:cNvPr id="3" name="Content Placeholder 2">
            <a:extLst>
              <a:ext uri="{FF2B5EF4-FFF2-40B4-BE49-F238E27FC236}">
                <a16:creationId xmlns:a16="http://schemas.microsoft.com/office/drawing/2014/main" id="{2509B674-DBF7-3034-0524-007D6A1D0686}"/>
              </a:ext>
            </a:extLst>
          </p:cNvPr>
          <p:cNvSpPr>
            <a:spLocks noGrp="1"/>
          </p:cNvSpPr>
          <p:nvPr>
            <p:ph sz="half" idx="1"/>
          </p:nvPr>
        </p:nvSpPr>
        <p:spPr>
          <a:xfrm>
            <a:off x="0" y="1198179"/>
            <a:ext cx="9220200" cy="5050221"/>
          </a:xfrm>
        </p:spPr>
        <p:txBody>
          <a:bodyPr/>
          <a:lstStyle/>
          <a:p>
            <a:pPr marL="0" indent="0">
              <a:buNone/>
            </a:pPr>
            <a:r>
              <a:rPr lang="en-US" sz="2000" dirty="0"/>
              <a:t>On September 19</a:t>
            </a:r>
            <a:r>
              <a:rPr lang="en-US" sz="2000" baseline="30000" dirty="0"/>
              <a:t>th</a:t>
            </a:r>
            <a:r>
              <a:rPr lang="en-US" sz="2000" dirty="0"/>
              <a:t>, Pew Charitable Trusts released a report outlining opioid treatment program (OTPs) regulations by State and potential impacts they have on access to care. </a:t>
            </a:r>
          </a:p>
          <a:p>
            <a:pPr marL="0" indent="0">
              <a:buNone/>
            </a:pPr>
            <a:r>
              <a:rPr lang="en-US" u="sng" dirty="0"/>
              <a:t>Notable Findings related to Massachusetts: </a:t>
            </a:r>
          </a:p>
          <a:p>
            <a:r>
              <a:rPr lang="en-US" sz="1800" b="0" dirty="0"/>
              <a:t>Only 11 States allow for OTPs to open medication units—including Massachusetts </a:t>
            </a:r>
          </a:p>
          <a:p>
            <a:r>
              <a:rPr lang="en-US" sz="1800" b="0" dirty="0"/>
              <a:t>Massachusetts is 1 of only 9 States that requires OTPs to be open outside normal business hours.</a:t>
            </a:r>
          </a:p>
          <a:p>
            <a:r>
              <a:rPr lang="en-US" sz="1800" b="0" dirty="0"/>
              <a:t>Only Massachusetts and South Dakota are aligned with Federal guidelines by prohibiting administrative discharges due to continued substance use.</a:t>
            </a:r>
          </a:p>
          <a:p>
            <a:r>
              <a:rPr lang="en-US" sz="1800" b="0" dirty="0"/>
              <a:t>Massachusetts is 1 of 17 States to explicitly allow guest dosing for patients at other OTPs. </a:t>
            </a:r>
          </a:p>
        </p:txBody>
      </p:sp>
    </p:spTree>
    <p:extLst>
      <p:ext uri="{BB962C8B-B14F-4D97-AF65-F5344CB8AC3E}">
        <p14:creationId xmlns:p14="http://schemas.microsoft.com/office/powerpoint/2010/main" val="3013428879"/>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1D05E-6844-4018-9011-CD1E07EA1F29}"/>
              </a:ext>
            </a:extLst>
          </p:cNvPr>
          <p:cNvSpPr>
            <a:spLocks noGrp="1"/>
          </p:cNvSpPr>
          <p:nvPr>
            <p:ph type="ctrTitle"/>
          </p:nvPr>
        </p:nvSpPr>
        <p:spPr>
          <a:xfrm>
            <a:off x="173633" y="1050634"/>
            <a:ext cx="3646969" cy="3107675"/>
          </a:xfrm>
        </p:spPr>
        <p:txBody>
          <a:bodyPr>
            <a:noAutofit/>
          </a:bodyPr>
          <a:lstStyle/>
          <a:p>
            <a:r>
              <a:rPr lang="en-US" sz="1800" b="1" dirty="0"/>
              <a:t>Massachusetts Executive Office of Health and Human Services</a:t>
            </a:r>
            <a:br>
              <a:rPr lang="en-US" sz="1050" b="1" dirty="0"/>
            </a:br>
            <a:br>
              <a:rPr lang="en-US" sz="1500" dirty="0"/>
            </a:br>
            <a:r>
              <a:rPr lang="en-US" sz="3600" dirty="0"/>
              <a:t>Opioid Recovery and Remediation Trust Fund (ORRF)</a:t>
            </a:r>
            <a:br>
              <a:rPr lang="en-US" sz="2700" dirty="0"/>
            </a:br>
            <a:br>
              <a:rPr lang="en-US" sz="2700" dirty="0"/>
            </a:br>
            <a:br>
              <a:rPr lang="en-US" sz="2700" dirty="0"/>
            </a:br>
            <a:br>
              <a:rPr lang="en-US" sz="2700" dirty="0"/>
            </a:br>
            <a:br>
              <a:rPr lang="en-US" sz="2700" dirty="0"/>
            </a:br>
            <a:br>
              <a:rPr lang="en-US" sz="2700" dirty="0"/>
            </a:br>
            <a:br>
              <a:rPr lang="en-US" sz="2700" dirty="0"/>
            </a:br>
            <a:r>
              <a:rPr lang="en-US" sz="2100" dirty="0"/>
              <a:t>Eveline Van Beek, </a:t>
            </a:r>
            <a:br>
              <a:rPr lang="en-US" sz="2100" dirty="0"/>
            </a:br>
            <a:r>
              <a:rPr lang="en-US" sz="2100" dirty="0"/>
              <a:t>Principal</a:t>
            </a:r>
            <a:br>
              <a:rPr lang="en-US" sz="2100" dirty="0"/>
            </a:br>
            <a:br>
              <a:rPr lang="en-US" sz="2100" dirty="0"/>
            </a:br>
            <a:r>
              <a:rPr lang="en-US" sz="2100" dirty="0"/>
              <a:t>Kyle MacDonald,</a:t>
            </a:r>
            <a:br>
              <a:rPr lang="en-US" sz="2100" dirty="0"/>
            </a:br>
            <a:r>
              <a:rPr lang="en-US" sz="2100" dirty="0"/>
              <a:t>Senior Associate </a:t>
            </a:r>
          </a:p>
        </p:txBody>
      </p:sp>
      <p:sp>
        <p:nvSpPr>
          <p:cNvPr id="3" name="Subtitle 2">
            <a:extLst>
              <a:ext uri="{FF2B5EF4-FFF2-40B4-BE49-F238E27FC236}">
                <a16:creationId xmlns:a16="http://schemas.microsoft.com/office/drawing/2014/main" id="{81099F30-185E-40E3-8275-261011C00B8A}"/>
              </a:ext>
            </a:extLst>
          </p:cNvPr>
          <p:cNvSpPr>
            <a:spLocks noGrp="1"/>
          </p:cNvSpPr>
          <p:nvPr>
            <p:ph type="body" sz="quarter" idx="11"/>
          </p:nvPr>
        </p:nvSpPr>
        <p:spPr>
          <a:xfrm>
            <a:off x="7693915" y="5439601"/>
            <a:ext cx="3625025" cy="1122299"/>
          </a:xfrm>
        </p:spPr>
        <p:txBody>
          <a:bodyPr/>
          <a:lstStyle/>
          <a:p>
            <a:r>
              <a:rPr lang="en-US" sz="1200" dirty="0"/>
              <a:t>Preliminary Findings</a:t>
            </a:r>
          </a:p>
          <a:p>
            <a:r>
              <a:rPr lang="en-US" sz="1200" dirty="0"/>
              <a:t>October 4, 2022</a:t>
            </a:r>
          </a:p>
          <a:p>
            <a:endParaRPr lang="en-US" sz="1200" dirty="0"/>
          </a:p>
        </p:txBody>
      </p:sp>
    </p:spTree>
    <p:extLst>
      <p:ext uri="{BB962C8B-B14F-4D97-AF65-F5344CB8AC3E}">
        <p14:creationId xmlns:p14="http://schemas.microsoft.com/office/powerpoint/2010/main" val="30347165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B74BECC-B574-4C81-BBFA-802EB0762777}"/>
              </a:ext>
            </a:extLst>
          </p:cNvPr>
          <p:cNvSpPr>
            <a:spLocks noGrp="1"/>
          </p:cNvSpPr>
          <p:nvPr>
            <p:ph type="title"/>
          </p:nvPr>
        </p:nvSpPr>
        <p:spPr>
          <a:xfrm>
            <a:off x="628650" y="1131094"/>
            <a:ext cx="7886700" cy="994172"/>
          </a:xfrm>
        </p:spPr>
        <p:txBody>
          <a:bodyPr/>
          <a:lstStyle/>
          <a:p>
            <a:r>
              <a:rPr lang="en-US" sz="2400"/>
              <a:t>Agenda</a:t>
            </a:r>
            <a:endParaRPr lang="en-US"/>
          </a:p>
        </p:txBody>
      </p:sp>
      <p:sp>
        <p:nvSpPr>
          <p:cNvPr id="9" name="Content Placeholder 2">
            <a:extLst>
              <a:ext uri="{FF2B5EF4-FFF2-40B4-BE49-F238E27FC236}">
                <a16:creationId xmlns:a16="http://schemas.microsoft.com/office/drawing/2014/main" id="{74D2E309-325F-4D04-9FEB-EB608F411279}"/>
              </a:ext>
            </a:extLst>
          </p:cNvPr>
          <p:cNvSpPr txBox="1">
            <a:spLocks/>
          </p:cNvSpPr>
          <p:nvPr/>
        </p:nvSpPr>
        <p:spPr>
          <a:xfrm>
            <a:off x="628650" y="2226469"/>
            <a:ext cx="7886700" cy="3263504"/>
          </a:xfrm>
          <a:prstGeom prst="rect">
            <a:avLst/>
          </a:prstGeom>
        </p:spPr>
        <p:txBody>
          <a:bodyPr>
            <a:normAutofit/>
          </a:bodyPr>
          <a:lstStyle>
            <a:lvl1pPr marL="0" indent="0" algn="l" defTabSz="914400" rtl="0" eaLnBrk="1" latinLnBrk="0" hangingPunct="1">
              <a:lnSpc>
                <a:spcPct val="100000"/>
              </a:lnSpc>
              <a:spcBef>
                <a:spcPts val="0"/>
              </a:spcBef>
              <a:spcAft>
                <a:spcPts val="600"/>
              </a:spcAft>
              <a:buFontTx/>
              <a:buNone/>
              <a:defRPr sz="1000" b="1" kern="1200">
                <a:solidFill>
                  <a:schemeClr val="tx2"/>
                </a:solidFill>
                <a:latin typeface="Univers 45 Light" pitchFamily="2" charset="0"/>
                <a:ea typeface="+mn-ea"/>
                <a:cs typeface="+mn-cs"/>
              </a:defRPr>
            </a:lvl1pPr>
            <a:lvl2pPr marL="0" indent="0" algn="l" defTabSz="914400" rtl="0" eaLnBrk="1" latinLnBrk="0" hangingPunct="1">
              <a:lnSpc>
                <a:spcPct val="100000"/>
              </a:lnSpc>
              <a:spcBef>
                <a:spcPts val="0"/>
              </a:spcBef>
              <a:spcAft>
                <a:spcPts val="600"/>
              </a:spcAft>
              <a:buFontTx/>
              <a:buNone/>
              <a:defRPr sz="1000" kern="1200">
                <a:solidFill>
                  <a:schemeClr val="tx2"/>
                </a:solidFill>
                <a:latin typeface="Univers 45 Light" pitchFamily="2" charset="0"/>
                <a:ea typeface="+mn-ea"/>
                <a:cs typeface="+mn-cs"/>
              </a:defRPr>
            </a:lvl2pPr>
            <a:lvl3pPr marL="284400" indent="-2844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2"/>
                </a:solidFill>
                <a:latin typeface="Univers 45 Light" pitchFamily="2" charset="0"/>
                <a:ea typeface="+mn-ea"/>
                <a:cs typeface="+mn-cs"/>
              </a:defRPr>
            </a:lvl3pPr>
            <a:lvl4pPr marL="576000" indent="-230400" algn="l" defTabSz="914400" rtl="0" eaLnBrk="1" latinLnBrk="0" hangingPunct="1">
              <a:lnSpc>
                <a:spcPct val="100000"/>
              </a:lnSpc>
              <a:spcBef>
                <a:spcPts val="0"/>
              </a:spcBef>
              <a:spcAft>
                <a:spcPts val="600"/>
              </a:spcAft>
              <a:buClrTx/>
              <a:buFont typeface="Arial" panose="020B0604020202020204" pitchFamily="34" charset="0"/>
              <a:buChar char="-"/>
              <a:defRPr sz="1000" kern="1200">
                <a:solidFill>
                  <a:schemeClr val="tx2"/>
                </a:solidFill>
                <a:latin typeface="Univers 45 Light" pitchFamily="2" charset="0"/>
                <a:ea typeface="+mn-ea"/>
                <a:cs typeface="+mn-cs"/>
              </a:defRPr>
            </a:lvl4pPr>
            <a:lvl5pPr marL="824400" indent="-284400" algn="l" defTabSz="914400" rtl="0" eaLnBrk="1" latinLnBrk="0" hangingPunct="1">
              <a:lnSpc>
                <a:spcPct val="100000"/>
              </a:lnSpc>
              <a:spcBef>
                <a:spcPts val="0"/>
              </a:spcBef>
              <a:spcAft>
                <a:spcPts val="600"/>
              </a:spcAft>
              <a:buClrTx/>
              <a:buFont typeface="Arial" panose="020B0604020202020204" pitchFamily="34" charset="0"/>
              <a:buChar char="—"/>
              <a:defRPr sz="1000" kern="1200" baseline="0">
                <a:solidFill>
                  <a:schemeClr val="tx2"/>
                </a:solidFill>
                <a:latin typeface="Univers 45 Light" pitchFamily="2" charset="0"/>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defTabSz="685800">
              <a:lnSpc>
                <a:spcPct val="150000"/>
              </a:lnSpc>
              <a:spcAft>
                <a:spcPts val="8"/>
              </a:spcAft>
              <a:buFont typeface="+mj-lt"/>
              <a:buAutoNum type="arabicPeriod"/>
              <a:defRPr/>
            </a:pPr>
            <a:r>
              <a:rPr lang="en-US" sz="2100" b="0" dirty="0">
                <a:solidFill>
                  <a:srgbClr val="00338D"/>
                </a:solidFill>
              </a:rPr>
              <a:t>ORRF Strategic Plan Introduction				</a:t>
            </a:r>
          </a:p>
          <a:p>
            <a:pPr marL="342900" indent="-342900" defTabSz="685800">
              <a:lnSpc>
                <a:spcPct val="150000"/>
              </a:lnSpc>
              <a:spcAft>
                <a:spcPts val="8"/>
              </a:spcAft>
              <a:buFont typeface="+mj-lt"/>
              <a:buAutoNum type="arabicPeriod"/>
              <a:defRPr/>
            </a:pPr>
            <a:r>
              <a:rPr lang="en-US" sz="2100" b="0" dirty="0">
                <a:solidFill>
                  <a:srgbClr val="00338D"/>
                </a:solidFill>
              </a:rPr>
              <a:t>ORRF Strategic Plan Development Timeline</a:t>
            </a:r>
          </a:p>
          <a:p>
            <a:pPr marL="342900" indent="-342900" defTabSz="685800">
              <a:lnSpc>
                <a:spcPct val="150000"/>
              </a:lnSpc>
              <a:spcAft>
                <a:spcPts val="8"/>
              </a:spcAft>
              <a:buFont typeface="+mj-lt"/>
              <a:buAutoNum type="arabicPeriod"/>
              <a:defRPr/>
            </a:pPr>
            <a:r>
              <a:rPr lang="en-US" sz="2100" b="0" dirty="0">
                <a:solidFill>
                  <a:srgbClr val="00338D"/>
                </a:solidFill>
              </a:rPr>
              <a:t>Gap Analysis and Environmental Scan Overview 	</a:t>
            </a:r>
            <a:endParaRPr lang="en-US" sz="2100" b="0" strike="sngStrike" dirty="0">
              <a:solidFill>
                <a:srgbClr val="00338D"/>
              </a:solidFill>
            </a:endParaRPr>
          </a:p>
          <a:p>
            <a:pPr marL="342900" indent="-342900" defTabSz="685800">
              <a:lnSpc>
                <a:spcPct val="150000"/>
              </a:lnSpc>
              <a:spcAft>
                <a:spcPts val="8"/>
              </a:spcAft>
              <a:buFont typeface="+mj-lt"/>
              <a:buAutoNum type="arabicPeriod"/>
              <a:defRPr/>
            </a:pPr>
            <a:r>
              <a:rPr lang="en-US" sz="2100" b="0" dirty="0">
                <a:solidFill>
                  <a:srgbClr val="00338D"/>
                </a:solidFill>
              </a:rPr>
              <a:t>Workshop 1 Findings	</a:t>
            </a:r>
          </a:p>
          <a:p>
            <a:pPr defTabSz="685800">
              <a:spcAft>
                <a:spcPts val="450"/>
              </a:spcAft>
              <a:defRPr/>
            </a:pPr>
            <a:endParaRPr lang="en-US" sz="750" dirty="0">
              <a:solidFill>
                <a:srgbClr val="00338D"/>
              </a:solidFill>
            </a:endParaRPr>
          </a:p>
        </p:txBody>
      </p:sp>
    </p:spTree>
    <p:extLst>
      <p:ext uri="{BB962C8B-B14F-4D97-AF65-F5344CB8AC3E}">
        <p14:creationId xmlns:p14="http://schemas.microsoft.com/office/powerpoint/2010/main" val="34732584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DAC3B477-9F8A-4013-ACB3-F91ECF188D45}"/>
              </a:ext>
            </a:extLst>
          </p:cNvPr>
          <p:cNvSpPr>
            <a:spLocks noGrp="1"/>
          </p:cNvSpPr>
          <p:nvPr>
            <p:ph sz="quarter" idx="11"/>
          </p:nvPr>
        </p:nvSpPr>
        <p:spPr>
          <a:xfrm>
            <a:off x="381000" y="1143000"/>
            <a:ext cx="7543800" cy="5165066"/>
          </a:xfrm>
        </p:spPr>
        <p:txBody>
          <a:bodyPr/>
          <a:lstStyle/>
          <a:p>
            <a:r>
              <a:rPr lang="en-US" sz="1700" b="0" dirty="0">
                <a:latin typeface="Univers 45 Light"/>
              </a:rPr>
              <a:t>In July 2022, the Massachusetts Executive Office of Health and Human Services (EOHHS), selected KPMG to provide strategic planning services for the Opioid Recovery and Remediation Trust Fund (ORRF) Advisory Council.</a:t>
            </a:r>
          </a:p>
          <a:p>
            <a:endParaRPr lang="en-US" sz="1700" b="0" dirty="0">
              <a:latin typeface="Univers 45 Light"/>
            </a:endParaRPr>
          </a:p>
          <a:p>
            <a:r>
              <a:rPr lang="en-US" sz="1700" b="0" dirty="0">
                <a:latin typeface="Univers 45 Light"/>
              </a:rPr>
              <a:t>The goal of this project is to create a 3-year Strategic Plan in collaboration with EOHHS staff, the Advisory Council, and select external stakeholders. The plan will include: </a:t>
            </a:r>
          </a:p>
          <a:p>
            <a:pPr marL="427196" lvl="2" indent="-214313">
              <a:buFont typeface="Arial" panose="020B0604020202020204" pitchFamily="34" charset="0"/>
              <a:buChar char="•"/>
            </a:pPr>
            <a:r>
              <a:rPr lang="en-US" sz="1700" dirty="0">
                <a:latin typeface="Univers 45 Light"/>
              </a:rPr>
              <a:t>A current state assessment and gap analysis of Massachusetts’ landscape of programs and services across the addiction spectrum from prevention to recovery.</a:t>
            </a:r>
          </a:p>
          <a:p>
            <a:pPr marL="427196" lvl="2" indent="-214313">
              <a:buFont typeface="Arial" panose="020B0604020202020204" pitchFamily="34" charset="0"/>
              <a:buChar char="•"/>
            </a:pPr>
            <a:r>
              <a:rPr lang="en-US" sz="1700" dirty="0">
                <a:latin typeface="Univers 45 Light"/>
              </a:rPr>
              <a:t>An environmental scan that identifies innovative approaches used by other cities, states, and countries to address the opioid overdose crisis.</a:t>
            </a:r>
          </a:p>
          <a:p>
            <a:pPr marL="427196" lvl="2" indent="-214313">
              <a:buFont typeface="Arial" panose="020B0604020202020204" pitchFamily="34" charset="0"/>
              <a:buChar char="•"/>
            </a:pPr>
            <a:r>
              <a:rPr lang="en-US" sz="1700" dirty="0">
                <a:latin typeface="Univers 45 Light"/>
              </a:rPr>
              <a:t>Input from members of the Advisory Council and external stakeholders, gathered from a series of two strategy workshops</a:t>
            </a:r>
          </a:p>
          <a:p>
            <a:pPr marL="427196" lvl="2" indent="-214313">
              <a:buFont typeface="Arial" panose="020B0604020202020204" pitchFamily="34" charset="0"/>
              <a:buChar char="•"/>
            </a:pPr>
            <a:r>
              <a:rPr lang="en-US" sz="1700" dirty="0">
                <a:latin typeface="Univers 45 Light"/>
              </a:rPr>
              <a:t>A timeline for the strategic plan implementation</a:t>
            </a:r>
          </a:p>
          <a:p>
            <a:pPr marL="427196" lvl="2" indent="-214313">
              <a:buFont typeface="Arial" panose="020B0604020202020204" pitchFamily="34" charset="0"/>
              <a:buChar char="•"/>
            </a:pPr>
            <a:r>
              <a:rPr lang="en-US" sz="1700" dirty="0">
                <a:latin typeface="Univers 45 Light"/>
              </a:rPr>
              <a:t>An operations approach to address program selection process, data collection, progress tracking and program evaluation</a:t>
            </a:r>
          </a:p>
          <a:p>
            <a:pPr marL="427196" lvl="2" indent="-214313">
              <a:buFont typeface="Arial" panose="020B0604020202020204" pitchFamily="34" charset="0"/>
              <a:buChar char="•"/>
            </a:pPr>
            <a:r>
              <a:rPr lang="en-US" sz="1700" dirty="0">
                <a:latin typeface="Univers 45 Light"/>
              </a:rPr>
              <a:t>Recommendations for how to update the strategic plan over time</a:t>
            </a:r>
          </a:p>
        </p:txBody>
      </p:sp>
      <p:sp>
        <p:nvSpPr>
          <p:cNvPr id="9" name="Title 1">
            <a:extLst>
              <a:ext uri="{FF2B5EF4-FFF2-40B4-BE49-F238E27FC236}">
                <a16:creationId xmlns:a16="http://schemas.microsoft.com/office/drawing/2014/main" id="{66C0680F-3CF3-4B5C-B170-A52D6C41BB3A}"/>
              </a:ext>
            </a:extLst>
          </p:cNvPr>
          <p:cNvSpPr>
            <a:spLocks noGrp="1"/>
          </p:cNvSpPr>
          <p:nvPr>
            <p:ph type="title"/>
          </p:nvPr>
        </p:nvSpPr>
        <p:spPr>
          <a:xfrm>
            <a:off x="508398" y="549934"/>
            <a:ext cx="7886700" cy="431141"/>
          </a:xfrm>
        </p:spPr>
        <p:txBody>
          <a:bodyPr/>
          <a:lstStyle/>
          <a:p>
            <a:r>
              <a:rPr lang="en-US" sz="2400">
                <a:latin typeface="+mn-lt"/>
              </a:rPr>
              <a:t>Introduction</a:t>
            </a:r>
            <a:endParaRPr lang="en-US">
              <a:latin typeface="+mn-lt"/>
            </a:endParaRPr>
          </a:p>
        </p:txBody>
      </p:sp>
    </p:spTree>
    <p:extLst>
      <p:ext uri="{BB962C8B-B14F-4D97-AF65-F5344CB8AC3E}">
        <p14:creationId xmlns:p14="http://schemas.microsoft.com/office/powerpoint/2010/main" val="31161222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Title 1">
            <a:extLst>
              <a:ext uri="{FF2B5EF4-FFF2-40B4-BE49-F238E27FC236}">
                <a16:creationId xmlns:a16="http://schemas.microsoft.com/office/drawing/2014/main" id="{C4010EF7-F016-48DA-9EFF-34C7AC756BB3}"/>
              </a:ext>
            </a:extLst>
          </p:cNvPr>
          <p:cNvSpPr>
            <a:spLocks noGrp="1"/>
          </p:cNvSpPr>
          <p:nvPr>
            <p:ph type="title"/>
          </p:nvPr>
        </p:nvSpPr>
        <p:spPr>
          <a:xfrm>
            <a:off x="91029" y="350798"/>
            <a:ext cx="7886700" cy="431141"/>
          </a:xfrm>
        </p:spPr>
        <p:txBody>
          <a:bodyPr/>
          <a:lstStyle/>
          <a:p>
            <a:r>
              <a:rPr lang="en-US" sz="3200" dirty="0">
                <a:latin typeface="+mn-lt"/>
              </a:rPr>
              <a:t>Our journey to develop the Strategic Plan</a:t>
            </a:r>
          </a:p>
        </p:txBody>
      </p:sp>
      <p:grpSp>
        <p:nvGrpSpPr>
          <p:cNvPr id="220" name="Group 219">
            <a:extLst>
              <a:ext uri="{FF2B5EF4-FFF2-40B4-BE49-F238E27FC236}">
                <a16:creationId xmlns:a16="http://schemas.microsoft.com/office/drawing/2014/main" id="{C392031B-A392-4962-A89E-88781EB077AF}"/>
              </a:ext>
            </a:extLst>
          </p:cNvPr>
          <p:cNvGrpSpPr/>
          <p:nvPr/>
        </p:nvGrpSpPr>
        <p:grpSpPr>
          <a:xfrm>
            <a:off x="78652" y="1324794"/>
            <a:ext cx="7541502" cy="5182408"/>
            <a:chOff x="1180510" y="1114096"/>
            <a:chExt cx="8811263" cy="5336082"/>
          </a:xfrm>
        </p:grpSpPr>
        <p:sp>
          <p:nvSpPr>
            <p:cNvPr id="166" name="TextBox 125"/>
            <p:cNvSpPr txBox="1"/>
            <p:nvPr/>
          </p:nvSpPr>
          <p:spPr>
            <a:xfrm>
              <a:off x="1194971" y="2800476"/>
              <a:ext cx="603287" cy="492443"/>
            </a:xfrm>
            <a:prstGeom prst="rect">
              <a:avLst/>
            </a:prstGeom>
            <a:noFill/>
          </p:spPr>
          <p:txBody>
            <a:bodyPr wrap="square" rtlCol="0">
              <a:spAutoFit/>
            </a:bodyPr>
            <a:lstStyle/>
            <a:p>
              <a:pPr algn="ctr"/>
              <a:r>
                <a:rPr lang="en-US" b="1">
                  <a:solidFill>
                    <a:srgbClr val="483698"/>
                  </a:solidFill>
                  <a:latin typeface="Arial" panose="020B0604020202020204" pitchFamily="34" charset="0"/>
                  <a:ea typeface="Cambria Math" panose="02040503050406030204" pitchFamily="18" charset="0"/>
                  <a:cs typeface="Arial" panose="020B0604020202020204" pitchFamily="34" charset="0"/>
                </a:rPr>
                <a:t>02</a:t>
              </a:r>
            </a:p>
          </p:txBody>
        </p:sp>
        <p:sp>
          <p:nvSpPr>
            <p:cNvPr id="168" name="TextBox 127"/>
            <p:cNvSpPr txBox="1"/>
            <p:nvPr/>
          </p:nvSpPr>
          <p:spPr>
            <a:xfrm>
              <a:off x="1180510" y="3185102"/>
              <a:ext cx="1455391" cy="677108"/>
            </a:xfrm>
            <a:prstGeom prst="rect">
              <a:avLst/>
            </a:prstGeom>
            <a:noFill/>
          </p:spPr>
          <p:txBody>
            <a:bodyPr wrap="square" rtlCol="0">
              <a:spAutoFit/>
            </a:bodyPr>
            <a:lstStyle/>
            <a:p>
              <a:r>
                <a:rPr lang="en-US" sz="1200" b="1" dirty="0">
                  <a:solidFill>
                    <a:schemeClr val="dk1"/>
                  </a:solidFill>
                  <a:latin typeface="Arial" panose="020B0604020202020204" pitchFamily="34" charset="0"/>
                  <a:cs typeface="Arial" panose="020B0604020202020204" pitchFamily="34" charset="0"/>
                </a:rPr>
                <a:t>8/12: Environmental Scan</a:t>
              </a:r>
            </a:p>
          </p:txBody>
        </p:sp>
        <p:sp>
          <p:nvSpPr>
            <p:cNvPr id="162" name="TextBox 150"/>
            <p:cNvSpPr txBox="1"/>
            <p:nvPr/>
          </p:nvSpPr>
          <p:spPr>
            <a:xfrm>
              <a:off x="4363941" y="5233176"/>
              <a:ext cx="825101" cy="492443"/>
            </a:xfrm>
            <a:prstGeom prst="rect">
              <a:avLst/>
            </a:prstGeom>
            <a:noFill/>
          </p:spPr>
          <p:txBody>
            <a:bodyPr wrap="square" rtlCol="0">
              <a:spAutoFit/>
            </a:bodyPr>
            <a:lstStyle/>
            <a:p>
              <a:pPr algn="ctr"/>
              <a:r>
                <a:rPr lang="en-US" b="1">
                  <a:solidFill>
                    <a:srgbClr val="00338D"/>
                  </a:solidFill>
                  <a:latin typeface="Arial" panose="020B0604020202020204" pitchFamily="34" charset="0"/>
                  <a:ea typeface="Cambria Math" panose="02040503050406030204" pitchFamily="18" charset="0"/>
                  <a:cs typeface="Arial" panose="020B0604020202020204" pitchFamily="34" charset="0"/>
                </a:rPr>
                <a:t>03</a:t>
              </a:r>
            </a:p>
          </p:txBody>
        </p:sp>
        <p:sp>
          <p:nvSpPr>
            <p:cNvPr id="158" name="TextBox 155"/>
            <p:cNvSpPr txBox="1"/>
            <p:nvPr/>
          </p:nvSpPr>
          <p:spPr>
            <a:xfrm>
              <a:off x="6400255" y="4564043"/>
              <a:ext cx="934909" cy="492443"/>
            </a:xfrm>
            <a:prstGeom prst="rect">
              <a:avLst/>
            </a:prstGeom>
            <a:noFill/>
          </p:spPr>
          <p:txBody>
            <a:bodyPr wrap="square" rtlCol="0">
              <a:spAutoFit/>
            </a:bodyPr>
            <a:lstStyle/>
            <a:p>
              <a:pPr algn="ctr"/>
              <a:r>
                <a:rPr lang="en-US" b="1">
                  <a:solidFill>
                    <a:srgbClr val="00A3A1"/>
                  </a:solidFill>
                  <a:latin typeface="Arial" panose="020B0604020202020204" pitchFamily="34" charset="0"/>
                  <a:ea typeface="Cambria Math" panose="02040503050406030204" pitchFamily="18" charset="0"/>
                  <a:cs typeface="Arial" panose="020B0604020202020204" pitchFamily="34" charset="0"/>
                </a:rPr>
                <a:t>05</a:t>
              </a:r>
            </a:p>
          </p:txBody>
        </p:sp>
        <p:sp>
          <p:nvSpPr>
            <p:cNvPr id="160" name="TextBox 157"/>
            <p:cNvSpPr txBox="1"/>
            <p:nvPr/>
          </p:nvSpPr>
          <p:spPr>
            <a:xfrm>
              <a:off x="6627341" y="4959208"/>
              <a:ext cx="1316179" cy="492443"/>
            </a:xfrm>
            <a:prstGeom prst="rect">
              <a:avLst/>
            </a:prstGeom>
            <a:noFill/>
          </p:spPr>
          <p:txBody>
            <a:bodyPr wrap="square" rtlCol="0">
              <a:spAutoFit/>
            </a:bodyPr>
            <a:lstStyle/>
            <a:p>
              <a:r>
                <a:rPr lang="en-US" sz="1200" b="1" dirty="0">
                  <a:solidFill>
                    <a:schemeClr val="dk1"/>
                  </a:solidFill>
                  <a:latin typeface="Arial" panose="020B0604020202020204" pitchFamily="34" charset="0"/>
                  <a:cs typeface="Arial" panose="020B0604020202020204" pitchFamily="34" charset="0"/>
                </a:rPr>
                <a:t>9/28: </a:t>
              </a:r>
            </a:p>
            <a:p>
              <a:r>
                <a:rPr lang="en-US" sz="1200" b="1" dirty="0">
                  <a:solidFill>
                    <a:schemeClr val="dk1"/>
                  </a:solidFill>
                  <a:latin typeface="Arial" panose="020B0604020202020204" pitchFamily="34" charset="0"/>
                  <a:cs typeface="Arial" panose="020B0604020202020204" pitchFamily="34" charset="0"/>
                </a:rPr>
                <a:t>Workshop 2</a:t>
              </a:r>
            </a:p>
          </p:txBody>
        </p:sp>
        <p:sp>
          <p:nvSpPr>
            <p:cNvPr id="154" name="TextBox 160"/>
            <p:cNvSpPr txBox="1"/>
            <p:nvPr/>
          </p:nvSpPr>
          <p:spPr>
            <a:xfrm>
              <a:off x="8402157" y="4124867"/>
              <a:ext cx="969019" cy="492443"/>
            </a:xfrm>
            <a:prstGeom prst="rect">
              <a:avLst/>
            </a:prstGeom>
            <a:noFill/>
          </p:spPr>
          <p:txBody>
            <a:bodyPr wrap="square" rtlCol="0">
              <a:spAutoFit/>
            </a:bodyPr>
            <a:lstStyle/>
            <a:p>
              <a:pPr algn="ctr"/>
              <a:r>
                <a:rPr lang="en-US" b="1">
                  <a:solidFill>
                    <a:srgbClr val="009A44"/>
                  </a:solidFill>
                  <a:latin typeface="Arial" panose="020B0604020202020204" pitchFamily="34" charset="0"/>
                  <a:ea typeface="Cambria Math" panose="02040503050406030204" pitchFamily="18" charset="0"/>
                  <a:cs typeface="Arial" panose="020B0604020202020204" pitchFamily="34" charset="0"/>
                </a:rPr>
                <a:t>07</a:t>
              </a:r>
            </a:p>
          </p:txBody>
        </p:sp>
        <p:sp>
          <p:nvSpPr>
            <p:cNvPr id="156" name="TextBox 162"/>
            <p:cNvSpPr txBox="1"/>
            <p:nvPr/>
          </p:nvSpPr>
          <p:spPr>
            <a:xfrm>
              <a:off x="8617780" y="4547389"/>
              <a:ext cx="1373993" cy="307776"/>
            </a:xfrm>
            <a:prstGeom prst="rect">
              <a:avLst/>
            </a:prstGeom>
            <a:noFill/>
          </p:spPr>
          <p:txBody>
            <a:bodyPr wrap="square" rtlCol="0">
              <a:spAutoFit/>
            </a:bodyPr>
            <a:lstStyle/>
            <a:p>
              <a:endParaRPr lang="en-US" sz="900" b="1">
                <a:solidFill>
                  <a:schemeClr val="dk1"/>
                </a:solidFill>
                <a:latin typeface="Arial" panose="020B0604020202020204" pitchFamily="34" charset="0"/>
                <a:cs typeface="Arial" panose="020B0604020202020204" pitchFamily="34" charset="0"/>
              </a:endParaRPr>
            </a:p>
          </p:txBody>
        </p:sp>
        <p:sp>
          <p:nvSpPr>
            <p:cNvPr id="150" name="TextBox 177"/>
            <p:cNvSpPr txBox="1"/>
            <p:nvPr/>
          </p:nvSpPr>
          <p:spPr>
            <a:xfrm>
              <a:off x="7527634" y="1114096"/>
              <a:ext cx="609234" cy="492443"/>
            </a:xfrm>
            <a:prstGeom prst="rect">
              <a:avLst/>
            </a:prstGeom>
            <a:noFill/>
          </p:spPr>
          <p:txBody>
            <a:bodyPr wrap="square" rtlCol="0">
              <a:spAutoFit/>
            </a:bodyPr>
            <a:lstStyle/>
            <a:p>
              <a:pPr algn="ctr"/>
              <a:r>
                <a:rPr lang="en-US" b="1">
                  <a:solidFill>
                    <a:srgbClr val="005EB8"/>
                  </a:solidFill>
                  <a:latin typeface="Arial" panose="020B0604020202020204" pitchFamily="34" charset="0"/>
                  <a:ea typeface="Cambria Math" panose="02040503050406030204" pitchFamily="18" charset="0"/>
                  <a:cs typeface="Arial" panose="020B0604020202020204" pitchFamily="34" charset="0"/>
                </a:rPr>
                <a:t>08</a:t>
              </a:r>
            </a:p>
          </p:txBody>
        </p:sp>
        <p:sp>
          <p:nvSpPr>
            <p:cNvPr id="152" name="TextBox 179"/>
            <p:cNvSpPr txBox="1"/>
            <p:nvPr/>
          </p:nvSpPr>
          <p:spPr>
            <a:xfrm>
              <a:off x="7621770" y="1446949"/>
              <a:ext cx="1177119" cy="665497"/>
            </a:xfrm>
            <a:prstGeom prst="rect">
              <a:avLst/>
            </a:prstGeom>
            <a:noFill/>
          </p:spPr>
          <p:txBody>
            <a:bodyPr wrap="square" rtlCol="0">
              <a:spAutoFit/>
            </a:bodyPr>
            <a:lstStyle/>
            <a:p>
              <a:r>
                <a:rPr lang="en-US" sz="1200" b="1" dirty="0">
                  <a:solidFill>
                    <a:schemeClr val="dk1"/>
                  </a:solidFill>
                  <a:latin typeface="Arial" panose="020B0604020202020204" pitchFamily="34" charset="0"/>
                  <a:cs typeface="Arial" panose="020B0604020202020204" pitchFamily="34" charset="0"/>
                </a:rPr>
                <a:t>11/23: Final Strategic Plan</a:t>
              </a:r>
            </a:p>
          </p:txBody>
        </p:sp>
        <p:sp>
          <p:nvSpPr>
            <p:cNvPr id="146" name="TextBox 182"/>
            <p:cNvSpPr txBox="1"/>
            <p:nvPr/>
          </p:nvSpPr>
          <p:spPr>
            <a:xfrm>
              <a:off x="5638358" y="1615648"/>
              <a:ext cx="610133" cy="492443"/>
            </a:xfrm>
            <a:prstGeom prst="rect">
              <a:avLst/>
            </a:prstGeom>
            <a:noFill/>
          </p:spPr>
          <p:txBody>
            <a:bodyPr wrap="square" rtlCol="0">
              <a:spAutoFit/>
            </a:bodyPr>
            <a:lstStyle/>
            <a:p>
              <a:pPr algn="ctr"/>
              <a:r>
                <a:rPr lang="en-US" b="1">
                  <a:solidFill>
                    <a:srgbClr val="EAAA00"/>
                  </a:solidFill>
                  <a:latin typeface="Arial" panose="020B0604020202020204" pitchFamily="34" charset="0"/>
                  <a:ea typeface="Cambria Math" panose="02040503050406030204" pitchFamily="18" charset="0"/>
                  <a:cs typeface="Arial" panose="020B0604020202020204" pitchFamily="34" charset="0"/>
                </a:rPr>
                <a:t>06</a:t>
              </a:r>
            </a:p>
          </p:txBody>
        </p:sp>
        <p:sp>
          <p:nvSpPr>
            <p:cNvPr id="148" name="TextBox 184"/>
            <p:cNvSpPr txBox="1"/>
            <p:nvPr/>
          </p:nvSpPr>
          <p:spPr>
            <a:xfrm>
              <a:off x="5628181" y="2006322"/>
              <a:ext cx="1350423" cy="677108"/>
            </a:xfrm>
            <a:prstGeom prst="rect">
              <a:avLst/>
            </a:prstGeom>
            <a:noFill/>
          </p:spPr>
          <p:txBody>
            <a:bodyPr wrap="square" rtlCol="0">
              <a:spAutoFit/>
            </a:bodyPr>
            <a:lstStyle/>
            <a:p>
              <a:r>
                <a:rPr lang="en-US" sz="1200" b="1" dirty="0">
                  <a:solidFill>
                    <a:schemeClr val="dk1"/>
                  </a:solidFill>
                  <a:latin typeface="Arial" panose="020B0604020202020204" pitchFamily="34" charset="0"/>
                  <a:cs typeface="Arial" panose="020B0604020202020204" pitchFamily="34" charset="0"/>
                </a:rPr>
                <a:t>10/4: </a:t>
              </a:r>
            </a:p>
            <a:p>
              <a:r>
                <a:rPr lang="en-US" sz="1200" b="1" dirty="0">
                  <a:solidFill>
                    <a:schemeClr val="dk1"/>
                  </a:solidFill>
                  <a:latin typeface="Arial" panose="020B0604020202020204" pitchFamily="34" charset="0"/>
                  <a:cs typeface="Arial" panose="020B0604020202020204" pitchFamily="34" charset="0"/>
                </a:rPr>
                <a:t>Preliminary Findings</a:t>
              </a:r>
            </a:p>
          </p:txBody>
        </p:sp>
        <p:sp>
          <p:nvSpPr>
            <p:cNvPr id="142" name="TextBox 187"/>
            <p:cNvSpPr txBox="1"/>
            <p:nvPr/>
          </p:nvSpPr>
          <p:spPr>
            <a:xfrm>
              <a:off x="3812431" y="2328559"/>
              <a:ext cx="620024" cy="492443"/>
            </a:xfrm>
            <a:prstGeom prst="rect">
              <a:avLst/>
            </a:prstGeom>
            <a:noFill/>
          </p:spPr>
          <p:txBody>
            <a:bodyPr wrap="square" rtlCol="0">
              <a:spAutoFit/>
            </a:bodyPr>
            <a:lstStyle/>
            <a:p>
              <a:pPr algn="ctr"/>
              <a:r>
                <a:rPr lang="en-US" b="1">
                  <a:solidFill>
                    <a:srgbClr val="6D2077"/>
                  </a:solidFill>
                  <a:latin typeface="Arial" panose="020B0604020202020204" pitchFamily="34" charset="0"/>
                  <a:ea typeface="Cambria Math" panose="02040503050406030204" pitchFamily="18" charset="0"/>
                  <a:cs typeface="Arial" panose="020B0604020202020204" pitchFamily="34" charset="0"/>
                </a:rPr>
                <a:t>04</a:t>
              </a:r>
            </a:p>
          </p:txBody>
        </p:sp>
        <p:sp>
          <p:nvSpPr>
            <p:cNvPr id="144" name="TextBox 189"/>
            <p:cNvSpPr txBox="1"/>
            <p:nvPr/>
          </p:nvSpPr>
          <p:spPr>
            <a:xfrm>
              <a:off x="3895665" y="2680092"/>
              <a:ext cx="1218874" cy="492443"/>
            </a:xfrm>
            <a:prstGeom prst="rect">
              <a:avLst/>
            </a:prstGeom>
            <a:noFill/>
          </p:spPr>
          <p:txBody>
            <a:bodyPr wrap="square" rtlCol="0">
              <a:spAutoFit/>
            </a:bodyPr>
            <a:lstStyle/>
            <a:p>
              <a:r>
                <a:rPr lang="en-US" sz="1200" b="1" dirty="0">
                  <a:solidFill>
                    <a:schemeClr val="dk1"/>
                  </a:solidFill>
                  <a:latin typeface="Arial" panose="020B0604020202020204" pitchFamily="34" charset="0"/>
                  <a:cs typeface="Arial" panose="020B0604020202020204" pitchFamily="34" charset="0"/>
                </a:rPr>
                <a:t>9/7: </a:t>
              </a:r>
            </a:p>
            <a:p>
              <a:r>
                <a:rPr lang="en-US" sz="1200" b="1" dirty="0">
                  <a:solidFill>
                    <a:schemeClr val="dk1"/>
                  </a:solidFill>
                  <a:latin typeface="Arial" panose="020B0604020202020204" pitchFamily="34" charset="0"/>
                  <a:cs typeface="Arial" panose="020B0604020202020204" pitchFamily="34" charset="0"/>
                </a:rPr>
                <a:t>Workshop </a:t>
              </a:r>
              <a:r>
                <a:rPr lang="en-US" sz="900" b="1" dirty="0">
                  <a:solidFill>
                    <a:schemeClr val="dk1"/>
                  </a:solidFill>
                  <a:latin typeface="Arial" panose="020B0604020202020204" pitchFamily="34" charset="0"/>
                  <a:cs typeface="Arial" panose="020B0604020202020204" pitchFamily="34" charset="0"/>
                </a:rPr>
                <a:t>1</a:t>
              </a:r>
            </a:p>
          </p:txBody>
        </p:sp>
        <p:sp>
          <p:nvSpPr>
            <p:cNvPr id="138" name="TextBox 192"/>
            <p:cNvSpPr txBox="1"/>
            <p:nvPr/>
          </p:nvSpPr>
          <p:spPr>
            <a:xfrm>
              <a:off x="1928155" y="5398537"/>
              <a:ext cx="819736" cy="492443"/>
            </a:xfrm>
            <a:prstGeom prst="rect">
              <a:avLst/>
            </a:prstGeom>
            <a:noFill/>
          </p:spPr>
          <p:txBody>
            <a:bodyPr wrap="square" rtlCol="0">
              <a:spAutoFit/>
            </a:bodyPr>
            <a:lstStyle/>
            <a:p>
              <a:pPr algn="ctr"/>
              <a:r>
                <a:rPr lang="en-US" b="1">
                  <a:solidFill>
                    <a:srgbClr val="0091DA"/>
                  </a:solidFill>
                  <a:latin typeface="Arial" panose="020B0604020202020204" pitchFamily="34" charset="0"/>
                  <a:ea typeface="Cambria Math" panose="02040503050406030204" pitchFamily="18" charset="0"/>
                  <a:cs typeface="Arial" panose="020B0604020202020204" pitchFamily="34" charset="0"/>
                </a:rPr>
                <a:t>01</a:t>
              </a:r>
            </a:p>
          </p:txBody>
        </p:sp>
        <p:sp>
          <p:nvSpPr>
            <p:cNvPr id="140" name="TextBox 201"/>
            <p:cNvSpPr txBox="1"/>
            <p:nvPr/>
          </p:nvSpPr>
          <p:spPr>
            <a:xfrm>
              <a:off x="2100567" y="5784681"/>
              <a:ext cx="1372128" cy="665497"/>
            </a:xfrm>
            <a:prstGeom prst="rect">
              <a:avLst/>
            </a:prstGeom>
            <a:noFill/>
          </p:spPr>
          <p:txBody>
            <a:bodyPr wrap="square" rtlCol="0">
              <a:spAutoFit/>
            </a:bodyPr>
            <a:lstStyle/>
            <a:p>
              <a:r>
                <a:rPr lang="en-US" sz="1200" b="1" dirty="0">
                  <a:solidFill>
                    <a:schemeClr val="dk1"/>
                  </a:solidFill>
                  <a:latin typeface="Arial" panose="020B0604020202020204" pitchFamily="34" charset="0"/>
                  <a:cs typeface="Arial" panose="020B0604020202020204" pitchFamily="34" charset="0"/>
                </a:rPr>
                <a:t>8/4: </a:t>
              </a:r>
            </a:p>
            <a:p>
              <a:r>
                <a:rPr lang="en-US" sz="1200" b="1" dirty="0">
                  <a:solidFill>
                    <a:schemeClr val="dk1"/>
                  </a:solidFill>
                  <a:latin typeface="Arial" panose="020B0604020202020204" pitchFamily="34" charset="0"/>
                  <a:cs typeface="Arial" panose="020B0604020202020204" pitchFamily="34" charset="0"/>
                </a:rPr>
                <a:t>Project Kickoff </a:t>
              </a:r>
            </a:p>
          </p:txBody>
        </p:sp>
        <p:sp>
          <p:nvSpPr>
            <p:cNvPr id="136" name="Oval Callout 168"/>
            <p:cNvSpPr/>
            <p:nvPr/>
          </p:nvSpPr>
          <p:spPr>
            <a:xfrm>
              <a:off x="4941860" y="2372560"/>
              <a:ext cx="744578" cy="728228"/>
            </a:xfrm>
            <a:prstGeom prst="wedgeEllipseCallout">
              <a:avLst>
                <a:gd name="adj1" fmla="val 740"/>
                <a:gd name="adj2" fmla="val 93698"/>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37" name="Oval 169"/>
            <p:cNvSpPr/>
            <p:nvPr/>
          </p:nvSpPr>
          <p:spPr>
            <a:xfrm>
              <a:off x="4992089" y="2423118"/>
              <a:ext cx="644120" cy="627109"/>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31" name="Freeform 354"/>
            <p:cNvSpPr/>
            <p:nvPr/>
          </p:nvSpPr>
          <p:spPr>
            <a:xfrm>
              <a:off x="5153693" y="2548812"/>
              <a:ext cx="353412" cy="343962"/>
            </a:xfrm>
            <a:custGeom>
              <a:avLst/>
              <a:gdLst>
                <a:gd name="connsiteX0" fmla="*/ 616923 w 1165357"/>
                <a:gd name="connsiteY0" fmla="*/ 1019781 h 1167172"/>
                <a:gd name="connsiteX1" fmla="*/ 612922 w 1165357"/>
                <a:gd name="connsiteY1" fmla="*/ 1036063 h 1167172"/>
                <a:gd name="connsiteX2" fmla="*/ 591423 w 1165357"/>
                <a:gd name="connsiteY2" fmla="*/ 1090683 h 1167172"/>
                <a:gd name="connsiteX3" fmla="*/ 576681 w 1165357"/>
                <a:gd name="connsiteY3" fmla="*/ 1111432 h 1167172"/>
                <a:gd name="connsiteX4" fmla="*/ 517986 w 1165357"/>
                <a:gd name="connsiteY4" fmla="*/ 1101355 h 1167172"/>
                <a:gd name="connsiteX5" fmla="*/ 474032 w 1165357"/>
                <a:gd name="connsiteY5" fmla="*/ 1080121 h 1167172"/>
                <a:gd name="connsiteX6" fmla="*/ 471285 w 1165357"/>
                <a:gd name="connsiteY6" fmla="*/ 1078008 h 1167172"/>
                <a:gd name="connsiteX7" fmla="*/ 489936 w 1165357"/>
                <a:gd name="connsiteY7" fmla="*/ 1076118 h 1167172"/>
                <a:gd name="connsiteX8" fmla="*/ 610441 w 1165357"/>
                <a:gd name="connsiteY8" fmla="*/ 1025156 h 1167172"/>
                <a:gd name="connsiteX9" fmla="*/ 829730 w 1165357"/>
                <a:gd name="connsiteY9" fmla="*/ 893821 h 1167172"/>
                <a:gd name="connsiteX10" fmla="*/ 798658 w 1165357"/>
                <a:gd name="connsiteY10" fmla="*/ 957959 h 1167172"/>
                <a:gd name="connsiteX11" fmla="*/ 642491 w 1165357"/>
                <a:gd name="connsiteY11" fmla="*/ 1101355 h 1167172"/>
                <a:gd name="connsiteX12" fmla="*/ 628967 w 1165357"/>
                <a:gd name="connsiteY12" fmla="*/ 1103677 h 1167172"/>
                <a:gd name="connsiteX13" fmla="*/ 646513 w 1165357"/>
                <a:gd name="connsiteY13" fmla="*/ 1067615 h 1167172"/>
                <a:gd name="connsiteX14" fmla="*/ 673365 w 1165357"/>
                <a:gd name="connsiteY14" fmla="*/ 975914 h 1167172"/>
                <a:gd name="connsiteX15" fmla="*/ 675369 w 1165357"/>
                <a:gd name="connsiteY15" fmla="*/ 965464 h 1167172"/>
                <a:gd name="connsiteX16" fmla="*/ 701469 w 1165357"/>
                <a:gd name="connsiteY16" fmla="*/ 933673 h 1167172"/>
                <a:gd name="connsiteX17" fmla="*/ 708720 w 1165357"/>
                <a:gd name="connsiteY17" fmla="*/ 920246 h 1167172"/>
                <a:gd name="connsiteX18" fmla="*/ 792048 w 1165357"/>
                <a:gd name="connsiteY18" fmla="*/ 905198 h 1167172"/>
                <a:gd name="connsiteX19" fmla="*/ 933656 w 1165357"/>
                <a:gd name="connsiteY19" fmla="*/ 607220 h 1167172"/>
                <a:gd name="connsiteX20" fmla="*/ 1114488 w 1165357"/>
                <a:gd name="connsiteY20" fmla="*/ 607220 h 1167172"/>
                <a:gd name="connsiteX21" fmla="*/ 1106305 w 1165357"/>
                <a:gd name="connsiteY21" fmla="*/ 649122 h 1167172"/>
                <a:gd name="connsiteX22" fmla="*/ 923660 w 1165357"/>
                <a:gd name="connsiteY22" fmla="*/ 820220 h 1167172"/>
                <a:gd name="connsiteX23" fmla="*/ 900437 w 1165357"/>
                <a:gd name="connsiteY23" fmla="*/ 828401 h 1167172"/>
                <a:gd name="connsiteX24" fmla="*/ 907107 w 1165357"/>
                <a:gd name="connsiteY24" fmla="*/ 808589 h 1167172"/>
                <a:gd name="connsiteX25" fmla="*/ 927778 w 1165357"/>
                <a:gd name="connsiteY25" fmla="*/ 701231 h 1167172"/>
                <a:gd name="connsiteX26" fmla="*/ 729704 w 1165357"/>
                <a:gd name="connsiteY26" fmla="*/ 607220 h 1167172"/>
                <a:gd name="connsiteX27" fmla="*/ 887872 w 1165357"/>
                <a:gd name="connsiteY27" fmla="*/ 607220 h 1167172"/>
                <a:gd name="connsiteX28" fmla="*/ 882855 w 1165357"/>
                <a:gd name="connsiteY28" fmla="*/ 691990 h 1167172"/>
                <a:gd name="connsiteX29" fmla="*/ 864856 w 1165357"/>
                <a:gd name="connsiteY29" fmla="*/ 790740 h 1167172"/>
                <a:gd name="connsiteX30" fmla="*/ 846835 w 1165357"/>
                <a:gd name="connsiteY30" fmla="*/ 847284 h 1167172"/>
                <a:gd name="connsiteX31" fmla="*/ 790389 w 1165357"/>
                <a:gd name="connsiteY31" fmla="*/ 867169 h 1167172"/>
                <a:gd name="connsiteX32" fmla="*/ 731670 w 1165357"/>
                <a:gd name="connsiteY32" fmla="*/ 877752 h 1167172"/>
                <a:gd name="connsiteX33" fmla="*/ 732541 w 1165357"/>
                <a:gd name="connsiteY33" fmla="*/ 876141 h 1167172"/>
                <a:gd name="connsiteX34" fmla="*/ 759024 w 1165357"/>
                <a:gd name="connsiteY34" fmla="*/ 744306 h 1167172"/>
                <a:gd name="connsiteX35" fmla="*/ 732541 w 1165357"/>
                <a:gd name="connsiteY35" fmla="*/ 612471 h 1167172"/>
                <a:gd name="connsiteX36" fmla="*/ 45363 w 1165357"/>
                <a:gd name="connsiteY36" fmla="*/ 607220 h 1167172"/>
                <a:gd name="connsiteX37" fmla="*/ 114330 w 1165357"/>
                <a:gd name="connsiteY37" fmla="*/ 607220 h 1167172"/>
                <a:gd name="connsiteX38" fmla="*/ 111494 w 1165357"/>
                <a:gd name="connsiteY38" fmla="*/ 612471 h 1167172"/>
                <a:gd name="connsiteX39" fmla="*/ 91857 w 1165357"/>
                <a:gd name="connsiteY39" fmla="*/ 676048 h 1167172"/>
                <a:gd name="connsiteX40" fmla="*/ 88822 w 1165357"/>
                <a:gd name="connsiteY40" fmla="*/ 706305 h 1167172"/>
                <a:gd name="connsiteX41" fmla="*/ 73107 w 1165357"/>
                <a:gd name="connsiteY41" fmla="*/ 686111 h 1167172"/>
                <a:gd name="connsiteX42" fmla="*/ 51315 w 1165357"/>
                <a:gd name="connsiteY42" fmla="*/ 641503 h 1167172"/>
                <a:gd name="connsiteX43" fmla="*/ 1475 w 1165357"/>
                <a:gd name="connsiteY43" fmla="*/ 607220 h 1167172"/>
                <a:gd name="connsiteX44" fmla="*/ 5586 w 1165357"/>
                <a:gd name="connsiteY44" fmla="*/ 607220 h 1167172"/>
                <a:gd name="connsiteX45" fmla="*/ 7229 w 1165357"/>
                <a:gd name="connsiteY45" fmla="*/ 623061 h 1167172"/>
                <a:gd name="connsiteX46" fmla="*/ 36435 w 1165357"/>
                <a:gd name="connsiteY46" fmla="*/ 697073 h 1167172"/>
                <a:gd name="connsiteX47" fmla="*/ 86578 w 1165357"/>
                <a:gd name="connsiteY47" fmla="*/ 759933 h 1167172"/>
                <a:gd name="connsiteX48" fmla="*/ 91857 w 1165357"/>
                <a:gd name="connsiteY48" fmla="*/ 812565 h 1167172"/>
                <a:gd name="connsiteX49" fmla="*/ 354099 w 1165357"/>
                <a:gd name="connsiteY49" fmla="*/ 1076118 h 1167172"/>
                <a:gd name="connsiteX50" fmla="*/ 406080 w 1165357"/>
                <a:gd name="connsiteY50" fmla="*/ 1081384 h 1167172"/>
                <a:gd name="connsiteX51" fmla="*/ 442155 w 1165357"/>
                <a:gd name="connsiteY51" fmla="*/ 1112953 h 1167172"/>
                <a:gd name="connsiteX52" fmla="*/ 508744 w 1165357"/>
                <a:gd name="connsiteY52" fmla="*/ 1146278 h 1167172"/>
                <a:gd name="connsiteX53" fmla="*/ 545305 w 1165357"/>
                <a:gd name="connsiteY53" fmla="*/ 1152220 h 1167172"/>
                <a:gd name="connsiteX54" fmla="*/ 538227 w 1165357"/>
                <a:gd name="connsiteY54" fmla="*/ 1160145 h 1167172"/>
                <a:gd name="connsiteX55" fmla="*/ 591721 w 1165357"/>
                <a:gd name="connsiteY55" fmla="*/ 1160121 h 1167172"/>
                <a:gd name="connsiteX56" fmla="*/ 595994 w 1165357"/>
                <a:gd name="connsiteY56" fmla="*/ 1155337 h 1167172"/>
                <a:gd name="connsiteX57" fmla="*/ 651732 w 1165357"/>
                <a:gd name="connsiteY57" fmla="*/ 1146278 h 1167172"/>
                <a:gd name="connsiteX58" fmla="*/ 874400 w 1165357"/>
                <a:gd name="connsiteY58" fmla="*/ 905739 h 1167172"/>
                <a:gd name="connsiteX59" fmla="*/ 884153 w 1165357"/>
                <a:gd name="connsiteY59" fmla="*/ 876769 h 1167172"/>
                <a:gd name="connsiteX60" fmla="*/ 958267 w 1165357"/>
                <a:gd name="connsiteY60" fmla="*/ 843912 h 1167172"/>
                <a:gd name="connsiteX61" fmla="*/ 1143892 w 1165357"/>
                <a:gd name="connsiteY61" fmla="*/ 655522 h 1167172"/>
                <a:gd name="connsiteX62" fmla="*/ 1152650 w 1165357"/>
                <a:gd name="connsiteY62" fmla="*/ 607220 h 1167172"/>
                <a:gd name="connsiteX63" fmla="*/ 1163882 w 1165357"/>
                <a:gd name="connsiteY63" fmla="*/ 607220 h 1167172"/>
                <a:gd name="connsiteX64" fmla="*/ 1154408 w 1165357"/>
                <a:gd name="connsiteY64" fmla="*/ 701199 h 1167172"/>
                <a:gd name="connsiteX65" fmla="*/ 582678 w 1165357"/>
                <a:gd name="connsiteY65" fmla="*/ 1167172 h 1167172"/>
                <a:gd name="connsiteX66" fmla="*/ 10949 w 1165357"/>
                <a:gd name="connsiteY66" fmla="*/ 701199 h 1167172"/>
                <a:gd name="connsiteX67" fmla="*/ 894053 w 1165357"/>
                <a:gd name="connsiteY67" fmla="*/ 324569 h 1167172"/>
                <a:gd name="connsiteX68" fmla="*/ 933557 w 1165357"/>
                <a:gd name="connsiteY68" fmla="*/ 341293 h 1167172"/>
                <a:gd name="connsiteX69" fmla="*/ 1107049 w 1165357"/>
                <a:gd name="connsiteY69" fmla="*/ 509431 h 1167172"/>
                <a:gd name="connsiteX70" fmla="*/ 1119420 w 1165357"/>
                <a:gd name="connsiteY70" fmla="*/ 574585 h 1167172"/>
                <a:gd name="connsiteX71" fmla="*/ 934274 w 1165357"/>
                <a:gd name="connsiteY71" fmla="*/ 574585 h 1167172"/>
                <a:gd name="connsiteX72" fmla="*/ 927778 w 1165357"/>
                <a:gd name="connsiteY72" fmla="*/ 470703 h 1167172"/>
                <a:gd name="connsiteX73" fmla="*/ 907107 w 1165357"/>
                <a:gd name="connsiteY73" fmla="*/ 363346 h 1167172"/>
                <a:gd name="connsiteX74" fmla="*/ 266606 w 1165357"/>
                <a:gd name="connsiteY74" fmla="*/ 324028 h 1167172"/>
                <a:gd name="connsiteX75" fmla="*/ 253369 w 1165357"/>
                <a:gd name="connsiteY75" fmla="*/ 363346 h 1167172"/>
                <a:gd name="connsiteX76" fmla="*/ 234153 w 1165357"/>
                <a:gd name="connsiteY76" fmla="*/ 463151 h 1167172"/>
                <a:gd name="connsiteX77" fmla="*/ 233593 w 1165357"/>
                <a:gd name="connsiteY77" fmla="*/ 463456 h 1167172"/>
                <a:gd name="connsiteX78" fmla="*/ 142566 w 1165357"/>
                <a:gd name="connsiteY78" fmla="*/ 554940 h 1167172"/>
                <a:gd name="connsiteX79" fmla="*/ 131956 w 1165357"/>
                <a:gd name="connsiteY79" fmla="*/ 574585 h 1167172"/>
                <a:gd name="connsiteX80" fmla="*/ 40996 w 1165357"/>
                <a:gd name="connsiteY80" fmla="*/ 574585 h 1167172"/>
                <a:gd name="connsiteX81" fmla="*/ 51315 w 1165357"/>
                <a:gd name="connsiteY81" fmla="*/ 515151 h 1167172"/>
                <a:gd name="connsiteX82" fmla="*/ 198477 w 1165357"/>
                <a:gd name="connsiteY82" fmla="*/ 356666 h 1167172"/>
                <a:gd name="connsiteX83" fmla="*/ 671244 w 1165357"/>
                <a:gd name="connsiteY83" fmla="*/ 270178 h 1167172"/>
                <a:gd name="connsiteX84" fmla="*/ 689045 w 1165357"/>
                <a:gd name="connsiteY84" fmla="*/ 271220 h 1167172"/>
                <a:gd name="connsiteX85" fmla="*/ 778203 w 1165357"/>
                <a:gd name="connsiteY85" fmla="*/ 286595 h 1167172"/>
                <a:gd name="connsiteX86" fmla="*/ 840424 w 1165357"/>
                <a:gd name="connsiteY86" fmla="*/ 304535 h 1167172"/>
                <a:gd name="connsiteX87" fmla="*/ 864856 w 1165357"/>
                <a:gd name="connsiteY87" fmla="*/ 381194 h 1167172"/>
                <a:gd name="connsiteX88" fmla="*/ 882855 w 1165357"/>
                <a:gd name="connsiteY88" fmla="*/ 479944 h 1167172"/>
                <a:gd name="connsiteX89" fmla="*/ 888457 w 1165357"/>
                <a:gd name="connsiteY89" fmla="*/ 574585 h 1167172"/>
                <a:gd name="connsiteX90" fmla="*/ 712079 w 1165357"/>
                <a:gd name="connsiteY90" fmla="*/ 574585 h 1167172"/>
                <a:gd name="connsiteX91" fmla="*/ 704361 w 1165357"/>
                <a:gd name="connsiteY91" fmla="*/ 560294 h 1167172"/>
                <a:gd name="connsiteX92" fmla="*/ 704252 w 1165357"/>
                <a:gd name="connsiteY92" fmla="*/ 549344 h 1167172"/>
                <a:gd name="connsiteX93" fmla="*/ 691246 w 1165357"/>
                <a:gd name="connsiteY93" fmla="*/ 391877 h 1167172"/>
                <a:gd name="connsiteX94" fmla="*/ 580238 w 1165357"/>
                <a:gd name="connsiteY94" fmla="*/ 264851 h 1167172"/>
                <a:gd name="connsiteX95" fmla="*/ 628448 w 1165357"/>
                <a:gd name="connsiteY95" fmla="*/ 267673 h 1167172"/>
                <a:gd name="connsiteX96" fmla="*/ 648110 w 1165357"/>
                <a:gd name="connsiteY96" fmla="*/ 397462 h 1167172"/>
                <a:gd name="connsiteX97" fmla="*/ 656303 w 1165357"/>
                <a:gd name="connsiteY97" fmla="*/ 501485 h 1167172"/>
                <a:gd name="connsiteX98" fmla="*/ 610441 w 1165357"/>
                <a:gd name="connsiteY98" fmla="*/ 463456 h 1167172"/>
                <a:gd name="connsiteX99" fmla="*/ 422017 w 1165357"/>
                <a:gd name="connsiteY99" fmla="*/ 405613 h 1167172"/>
                <a:gd name="connsiteX100" fmla="*/ 290839 w 1165357"/>
                <a:gd name="connsiteY100" fmla="*/ 432229 h 1167172"/>
                <a:gd name="connsiteX101" fmla="*/ 285820 w 1165357"/>
                <a:gd name="connsiteY101" fmla="*/ 434967 h 1167172"/>
                <a:gd name="connsiteX102" fmla="*/ 295621 w 1165357"/>
                <a:gd name="connsiteY102" fmla="*/ 381194 h 1167172"/>
                <a:gd name="connsiteX103" fmla="*/ 319797 w 1165357"/>
                <a:gd name="connsiteY103" fmla="*/ 305335 h 1167172"/>
                <a:gd name="connsiteX104" fmla="*/ 370088 w 1165357"/>
                <a:gd name="connsiteY104" fmla="*/ 289486 h 1167172"/>
                <a:gd name="connsiteX105" fmla="*/ 580238 w 1165357"/>
                <a:gd name="connsiteY105" fmla="*/ 264851 h 1167172"/>
                <a:gd name="connsiteX106" fmla="*/ 610954 w 1165357"/>
                <a:gd name="connsiteY106" fmla="*/ 65165 h 1167172"/>
                <a:gd name="connsiteX107" fmla="*/ 642491 w 1165357"/>
                <a:gd name="connsiteY107" fmla="*/ 70579 h 1167172"/>
                <a:gd name="connsiteX108" fmla="*/ 798658 w 1165357"/>
                <a:gd name="connsiteY108" fmla="*/ 213975 h 1167172"/>
                <a:gd name="connsiteX109" fmla="*/ 821059 w 1165357"/>
                <a:gd name="connsiteY109" fmla="*/ 260215 h 1167172"/>
                <a:gd name="connsiteX110" fmla="*/ 792048 w 1165357"/>
                <a:gd name="connsiteY110" fmla="*/ 251456 h 1167172"/>
                <a:gd name="connsiteX111" fmla="*/ 696655 w 1165357"/>
                <a:gd name="connsiteY111" fmla="*/ 234229 h 1167172"/>
                <a:gd name="connsiteX112" fmla="*/ 663304 w 1165357"/>
                <a:gd name="connsiteY112" fmla="*/ 232185 h 1167172"/>
                <a:gd name="connsiteX113" fmla="*/ 635780 w 1165357"/>
                <a:gd name="connsiteY113" fmla="*/ 127174 h 1167172"/>
                <a:gd name="connsiteX114" fmla="*/ 570154 w 1165357"/>
                <a:gd name="connsiteY114" fmla="*/ 61622 h 1167172"/>
                <a:gd name="connsiteX115" fmla="*/ 601276 w 1165357"/>
                <a:gd name="connsiteY115" fmla="*/ 151925 h 1167172"/>
                <a:gd name="connsiteX116" fmla="*/ 619526 w 1165357"/>
                <a:gd name="connsiteY116" fmla="*/ 229501 h 1167172"/>
                <a:gd name="connsiteX117" fmla="*/ 580238 w 1165357"/>
                <a:gd name="connsiteY117" fmla="*/ 227093 h 1167172"/>
                <a:gd name="connsiteX118" fmla="*/ 355391 w 1165357"/>
                <a:gd name="connsiteY118" fmla="*/ 254695 h 1167172"/>
                <a:gd name="connsiteX119" fmla="*/ 339561 w 1165357"/>
                <a:gd name="connsiteY119" fmla="*/ 259919 h 1167172"/>
                <a:gd name="connsiteX120" fmla="*/ 361819 w 1165357"/>
                <a:gd name="connsiteY120" fmla="*/ 213975 h 1167172"/>
                <a:gd name="connsiteX121" fmla="*/ 517986 w 1165357"/>
                <a:gd name="connsiteY121" fmla="*/ 70579 h 1167172"/>
                <a:gd name="connsiteX122" fmla="*/ 582678 w 1165357"/>
                <a:gd name="connsiteY122" fmla="*/ 0 h 1167172"/>
                <a:gd name="connsiteX123" fmla="*/ 1154408 w 1165357"/>
                <a:gd name="connsiteY123" fmla="*/ 465973 h 1167172"/>
                <a:gd name="connsiteX124" fmla="*/ 1165357 w 1165357"/>
                <a:gd name="connsiteY124" fmla="*/ 574585 h 1167172"/>
                <a:gd name="connsiteX125" fmla="*/ 1157481 w 1165357"/>
                <a:gd name="connsiteY125" fmla="*/ 574585 h 1167172"/>
                <a:gd name="connsiteX126" fmla="*/ 1152777 w 1165357"/>
                <a:gd name="connsiteY126" fmla="*/ 531398 h 1167172"/>
                <a:gd name="connsiteX127" fmla="*/ 879771 w 1165357"/>
                <a:gd name="connsiteY127" fmla="*/ 277942 h 1167172"/>
                <a:gd name="connsiteX128" fmla="*/ 878195 w 1165357"/>
                <a:gd name="connsiteY128" fmla="*/ 277467 h 1167172"/>
                <a:gd name="connsiteX129" fmla="*/ 874400 w 1165357"/>
                <a:gd name="connsiteY129" fmla="*/ 266195 h 1167172"/>
                <a:gd name="connsiteX130" fmla="*/ 651732 w 1165357"/>
                <a:gd name="connsiteY130" fmla="*/ 25656 h 1167172"/>
                <a:gd name="connsiteX131" fmla="*/ 587837 w 1165357"/>
                <a:gd name="connsiteY131" fmla="*/ 15271 h 1167172"/>
                <a:gd name="connsiteX132" fmla="*/ 586161 w 1165357"/>
                <a:gd name="connsiteY132" fmla="*/ 12559 h 1167172"/>
                <a:gd name="connsiteX133" fmla="*/ 547416 w 1165357"/>
                <a:gd name="connsiteY133" fmla="*/ 12576 h 1167172"/>
                <a:gd name="connsiteX134" fmla="*/ 550438 w 1165357"/>
                <a:gd name="connsiteY134" fmla="*/ 18879 h 1167172"/>
                <a:gd name="connsiteX135" fmla="*/ 508744 w 1165357"/>
                <a:gd name="connsiteY135" fmla="*/ 25656 h 1167172"/>
                <a:gd name="connsiteX136" fmla="*/ 286077 w 1165357"/>
                <a:gd name="connsiteY136" fmla="*/ 266195 h 1167172"/>
                <a:gd name="connsiteX137" fmla="*/ 281768 w 1165357"/>
                <a:gd name="connsiteY137" fmla="*/ 278993 h 1167172"/>
                <a:gd name="connsiteX138" fmla="*/ 257269 w 1165357"/>
                <a:gd name="connsiteY138" fmla="*/ 287078 h 1167172"/>
                <a:gd name="connsiteX139" fmla="*/ 7229 w 1165357"/>
                <a:gd name="connsiteY139" fmla="*/ 533593 h 1167172"/>
                <a:gd name="connsiteX140" fmla="*/ 2976 w 1165357"/>
                <a:gd name="connsiteY140" fmla="*/ 574585 h 1167172"/>
                <a:gd name="connsiteX141" fmla="*/ 0 w 1165357"/>
                <a:gd name="connsiteY141" fmla="*/ 574585 h 1167172"/>
                <a:gd name="connsiteX142" fmla="*/ 10949 w 1165357"/>
                <a:gd name="connsiteY142" fmla="*/ 465973 h 1167172"/>
                <a:gd name="connsiteX143" fmla="*/ 582678 w 1165357"/>
                <a:gd name="connsiteY143" fmla="*/ 0 h 116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1165357" h="1167172">
                  <a:moveTo>
                    <a:pt x="616923" y="1019781"/>
                  </a:moveTo>
                  <a:lnTo>
                    <a:pt x="612922" y="1036063"/>
                  </a:lnTo>
                  <a:cubicBezTo>
                    <a:pt x="606371" y="1057274"/>
                    <a:pt x="599179" y="1075612"/>
                    <a:pt x="591423" y="1090683"/>
                  </a:cubicBezTo>
                  <a:lnTo>
                    <a:pt x="576681" y="1111432"/>
                  </a:lnTo>
                  <a:lnTo>
                    <a:pt x="517986" y="1101355"/>
                  </a:lnTo>
                  <a:cubicBezTo>
                    <a:pt x="502905" y="1096099"/>
                    <a:pt x="488225" y="1088972"/>
                    <a:pt x="474032" y="1080121"/>
                  </a:cubicBezTo>
                  <a:lnTo>
                    <a:pt x="471285" y="1078008"/>
                  </a:lnTo>
                  <a:lnTo>
                    <a:pt x="489936" y="1076118"/>
                  </a:lnTo>
                  <a:cubicBezTo>
                    <a:pt x="533813" y="1067095"/>
                    <a:pt x="574583" y="1049502"/>
                    <a:pt x="610441" y="1025156"/>
                  </a:cubicBezTo>
                  <a:close/>
                  <a:moveTo>
                    <a:pt x="829730" y="893821"/>
                  </a:moveTo>
                  <a:lnTo>
                    <a:pt x="798658" y="957959"/>
                  </a:lnTo>
                  <a:cubicBezTo>
                    <a:pt x="756734" y="1029360"/>
                    <a:pt x="702815" y="1080332"/>
                    <a:pt x="642491" y="1101355"/>
                  </a:cubicBezTo>
                  <a:lnTo>
                    <a:pt x="628967" y="1103677"/>
                  </a:lnTo>
                  <a:lnTo>
                    <a:pt x="646513" y="1067615"/>
                  </a:lnTo>
                  <a:cubicBezTo>
                    <a:pt x="656592" y="1040720"/>
                    <a:pt x="665594" y="1009949"/>
                    <a:pt x="673365" y="975914"/>
                  </a:cubicBezTo>
                  <a:lnTo>
                    <a:pt x="675369" y="965464"/>
                  </a:lnTo>
                  <a:lnTo>
                    <a:pt x="701469" y="933673"/>
                  </a:lnTo>
                  <a:lnTo>
                    <a:pt x="708720" y="920246"/>
                  </a:lnTo>
                  <a:lnTo>
                    <a:pt x="792048" y="905198"/>
                  </a:lnTo>
                  <a:close/>
                  <a:moveTo>
                    <a:pt x="933656" y="607220"/>
                  </a:moveTo>
                  <a:lnTo>
                    <a:pt x="1114488" y="607220"/>
                  </a:lnTo>
                  <a:lnTo>
                    <a:pt x="1106305" y="649122"/>
                  </a:lnTo>
                  <a:cubicBezTo>
                    <a:pt x="1079170" y="717373"/>
                    <a:pt x="1013652" y="777098"/>
                    <a:pt x="923660" y="820220"/>
                  </a:cubicBezTo>
                  <a:lnTo>
                    <a:pt x="900437" y="828401"/>
                  </a:lnTo>
                  <a:lnTo>
                    <a:pt x="907107" y="808589"/>
                  </a:lnTo>
                  <a:cubicBezTo>
                    <a:pt x="916083" y="774377"/>
                    <a:pt x="923053" y="738463"/>
                    <a:pt x="927778" y="701231"/>
                  </a:cubicBezTo>
                  <a:close/>
                  <a:moveTo>
                    <a:pt x="729704" y="607220"/>
                  </a:moveTo>
                  <a:lnTo>
                    <a:pt x="887872" y="607220"/>
                  </a:lnTo>
                  <a:lnTo>
                    <a:pt x="882855" y="691990"/>
                  </a:lnTo>
                  <a:cubicBezTo>
                    <a:pt x="878740" y="726236"/>
                    <a:pt x="872672" y="759271"/>
                    <a:pt x="864856" y="790740"/>
                  </a:cubicBezTo>
                  <a:lnTo>
                    <a:pt x="846835" y="847284"/>
                  </a:lnTo>
                  <a:lnTo>
                    <a:pt x="790389" y="867169"/>
                  </a:lnTo>
                  <a:lnTo>
                    <a:pt x="731670" y="877752"/>
                  </a:lnTo>
                  <a:lnTo>
                    <a:pt x="732541" y="876141"/>
                  </a:lnTo>
                  <a:cubicBezTo>
                    <a:pt x="749594" y="835620"/>
                    <a:pt x="759024" y="791070"/>
                    <a:pt x="759024" y="744306"/>
                  </a:cubicBezTo>
                  <a:cubicBezTo>
                    <a:pt x="759024" y="697542"/>
                    <a:pt x="749594" y="652992"/>
                    <a:pt x="732541" y="612471"/>
                  </a:cubicBezTo>
                  <a:close/>
                  <a:moveTo>
                    <a:pt x="45363" y="607220"/>
                  </a:moveTo>
                  <a:lnTo>
                    <a:pt x="114330" y="607220"/>
                  </a:lnTo>
                  <a:lnTo>
                    <a:pt x="111494" y="612471"/>
                  </a:lnTo>
                  <a:cubicBezTo>
                    <a:pt x="102967" y="632732"/>
                    <a:pt x="96346" y="654000"/>
                    <a:pt x="91857" y="676048"/>
                  </a:cubicBezTo>
                  <a:lnTo>
                    <a:pt x="88822" y="706305"/>
                  </a:lnTo>
                  <a:lnTo>
                    <a:pt x="73107" y="686111"/>
                  </a:lnTo>
                  <a:cubicBezTo>
                    <a:pt x="64024" y="671707"/>
                    <a:pt x="56709" y="656808"/>
                    <a:pt x="51315" y="641503"/>
                  </a:cubicBezTo>
                  <a:close/>
                  <a:moveTo>
                    <a:pt x="1475" y="607220"/>
                  </a:moveTo>
                  <a:lnTo>
                    <a:pt x="5586" y="607220"/>
                  </a:lnTo>
                  <a:lnTo>
                    <a:pt x="7229" y="623061"/>
                  </a:lnTo>
                  <a:cubicBezTo>
                    <a:pt x="12589" y="648697"/>
                    <a:pt x="22493" y="673470"/>
                    <a:pt x="36435" y="697073"/>
                  </a:cubicBezTo>
                  <a:lnTo>
                    <a:pt x="86578" y="759933"/>
                  </a:lnTo>
                  <a:lnTo>
                    <a:pt x="91857" y="812565"/>
                  </a:lnTo>
                  <a:cubicBezTo>
                    <a:pt x="118792" y="944853"/>
                    <a:pt x="222468" y="1049048"/>
                    <a:pt x="354099" y="1076118"/>
                  </a:cubicBezTo>
                  <a:lnTo>
                    <a:pt x="406080" y="1081384"/>
                  </a:lnTo>
                  <a:lnTo>
                    <a:pt x="442155" y="1112953"/>
                  </a:lnTo>
                  <a:cubicBezTo>
                    <a:pt x="463376" y="1127423"/>
                    <a:pt x="485651" y="1138660"/>
                    <a:pt x="508744" y="1146278"/>
                  </a:cubicBezTo>
                  <a:lnTo>
                    <a:pt x="545305" y="1152220"/>
                  </a:lnTo>
                  <a:lnTo>
                    <a:pt x="538227" y="1160145"/>
                  </a:lnTo>
                  <a:lnTo>
                    <a:pt x="591721" y="1160121"/>
                  </a:lnTo>
                  <a:lnTo>
                    <a:pt x="595994" y="1155337"/>
                  </a:lnTo>
                  <a:lnTo>
                    <a:pt x="651732" y="1146278"/>
                  </a:lnTo>
                  <a:cubicBezTo>
                    <a:pt x="744105" y="1115804"/>
                    <a:pt x="823399" y="1027447"/>
                    <a:pt x="874400" y="905739"/>
                  </a:cubicBezTo>
                  <a:lnTo>
                    <a:pt x="884153" y="876769"/>
                  </a:lnTo>
                  <a:lnTo>
                    <a:pt x="958267" y="843912"/>
                  </a:lnTo>
                  <a:cubicBezTo>
                    <a:pt x="1049973" y="795610"/>
                    <a:pt x="1116407" y="730041"/>
                    <a:pt x="1143892" y="655522"/>
                  </a:cubicBezTo>
                  <a:lnTo>
                    <a:pt x="1152650" y="607220"/>
                  </a:lnTo>
                  <a:lnTo>
                    <a:pt x="1163882" y="607220"/>
                  </a:lnTo>
                  <a:lnTo>
                    <a:pt x="1154408" y="701199"/>
                  </a:lnTo>
                  <a:cubicBezTo>
                    <a:pt x="1099991" y="967130"/>
                    <a:pt x="864696" y="1167172"/>
                    <a:pt x="582678" y="1167172"/>
                  </a:cubicBezTo>
                  <a:cubicBezTo>
                    <a:pt x="300661" y="1167172"/>
                    <a:pt x="65366" y="967130"/>
                    <a:pt x="10949" y="701199"/>
                  </a:cubicBezTo>
                  <a:close/>
                  <a:moveTo>
                    <a:pt x="894053" y="324569"/>
                  </a:moveTo>
                  <a:lnTo>
                    <a:pt x="933557" y="341293"/>
                  </a:lnTo>
                  <a:cubicBezTo>
                    <a:pt x="1019269" y="384402"/>
                    <a:pt x="1081360" y="442922"/>
                    <a:pt x="1107049" y="509431"/>
                  </a:cubicBezTo>
                  <a:lnTo>
                    <a:pt x="1119420" y="574585"/>
                  </a:lnTo>
                  <a:lnTo>
                    <a:pt x="934274" y="574585"/>
                  </a:lnTo>
                  <a:lnTo>
                    <a:pt x="927778" y="470703"/>
                  </a:lnTo>
                  <a:cubicBezTo>
                    <a:pt x="923053" y="433472"/>
                    <a:pt x="916083" y="397559"/>
                    <a:pt x="907107" y="363346"/>
                  </a:cubicBezTo>
                  <a:close/>
                  <a:moveTo>
                    <a:pt x="266606" y="324028"/>
                  </a:moveTo>
                  <a:lnTo>
                    <a:pt x="253369" y="363346"/>
                  </a:lnTo>
                  <a:lnTo>
                    <a:pt x="234153" y="463151"/>
                  </a:lnTo>
                  <a:lnTo>
                    <a:pt x="233593" y="463456"/>
                  </a:lnTo>
                  <a:cubicBezTo>
                    <a:pt x="197736" y="487803"/>
                    <a:pt x="166791" y="518902"/>
                    <a:pt x="142566" y="554940"/>
                  </a:cubicBezTo>
                  <a:lnTo>
                    <a:pt x="131956" y="574585"/>
                  </a:lnTo>
                  <a:lnTo>
                    <a:pt x="40996" y="574585"/>
                  </a:lnTo>
                  <a:lnTo>
                    <a:pt x="51315" y="515151"/>
                  </a:lnTo>
                  <a:cubicBezTo>
                    <a:pt x="72891" y="453931"/>
                    <a:pt x="125202" y="399212"/>
                    <a:pt x="198477" y="356666"/>
                  </a:cubicBezTo>
                  <a:close/>
                  <a:moveTo>
                    <a:pt x="671244" y="270178"/>
                  </a:moveTo>
                  <a:lnTo>
                    <a:pt x="689045" y="271220"/>
                  </a:lnTo>
                  <a:cubicBezTo>
                    <a:pt x="719798" y="274874"/>
                    <a:pt x="749598" y="280046"/>
                    <a:pt x="778203" y="286595"/>
                  </a:cubicBezTo>
                  <a:lnTo>
                    <a:pt x="840424" y="304535"/>
                  </a:lnTo>
                  <a:lnTo>
                    <a:pt x="864856" y="381194"/>
                  </a:lnTo>
                  <a:cubicBezTo>
                    <a:pt x="872672" y="412664"/>
                    <a:pt x="878740" y="445698"/>
                    <a:pt x="882855" y="479944"/>
                  </a:cubicBezTo>
                  <a:lnTo>
                    <a:pt x="888457" y="574585"/>
                  </a:lnTo>
                  <a:lnTo>
                    <a:pt x="712079" y="574585"/>
                  </a:lnTo>
                  <a:lnTo>
                    <a:pt x="704361" y="560294"/>
                  </a:lnTo>
                  <a:lnTo>
                    <a:pt x="704252" y="549344"/>
                  </a:lnTo>
                  <a:cubicBezTo>
                    <a:pt x="701840" y="494879"/>
                    <a:pt x="697409" y="442119"/>
                    <a:pt x="691246" y="391877"/>
                  </a:cubicBezTo>
                  <a:close/>
                  <a:moveTo>
                    <a:pt x="580238" y="264851"/>
                  </a:moveTo>
                  <a:lnTo>
                    <a:pt x="628448" y="267673"/>
                  </a:lnTo>
                  <a:lnTo>
                    <a:pt x="648110" y="397462"/>
                  </a:lnTo>
                  <a:lnTo>
                    <a:pt x="656303" y="501485"/>
                  </a:lnTo>
                  <a:lnTo>
                    <a:pt x="610441" y="463456"/>
                  </a:lnTo>
                  <a:cubicBezTo>
                    <a:pt x="556654" y="426937"/>
                    <a:pt x="491814" y="405613"/>
                    <a:pt x="422017" y="405613"/>
                  </a:cubicBezTo>
                  <a:cubicBezTo>
                    <a:pt x="375486" y="405613"/>
                    <a:pt x="331158" y="415090"/>
                    <a:pt x="290839" y="432229"/>
                  </a:cubicBezTo>
                  <a:lnTo>
                    <a:pt x="285820" y="434967"/>
                  </a:lnTo>
                  <a:lnTo>
                    <a:pt x="295621" y="381194"/>
                  </a:lnTo>
                  <a:lnTo>
                    <a:pt x="319797" y="305335"/>
                  </a:lnTo>
                  <a:lnTo>
                    <a:pt x="370088" y="289486"/>
                  </a:lnTo>
                  <a:cubicBezTo>
                    <a:pt x="434680" y="273623"/>
                    <a:pt x="505695" y="264851"/>
                    <a:pt x="580238" y="264851"/>
                  </a:cubicBezTo>
                  <a:close/>
                  <a:moveTo>
                    <a:pt x="610954" y="65165"/>
                  </a:moveTo>
                  <a:lnTo>
                    <a:pt x="642491" y="70579"/>
                  </a:lnTo>
                  <a:cubicBezTo>
                    <a:pt x="702815" y="91602"/>
                    <a:pt x="756734" y="142574"/>
                    <a:pt x="798658" y="213975"/>
                  </a:cubicBezTo>
                  <a:lnTo>
                    <a:pt x="821059" y="260215"/>
                  </a:lnTo>
                  <a:lnTo>
                    <a:pt x="792048" y="251456"/>
                  </a:lnTo>
                  <a:cubicBezTo>
                    <a:pt x="761442" y="244118"/>
                    <a:pt x="729558" y="238323"/>
                    <a:pt x="696655" y="234229"/>
                  </a:cubicBezTo>
                  <a:lnTo>
                    <a:pt x="663304" y="232185"/>
                  </a:lnTo>
                  <a:lnTo>
                    <a:pt x="635780" y="127174"/>
                  </a:lnTo>
                  <a:close/>
                  <a:moveTo>
                    <a:pt x="570154" y="61622"/>
                  </a:moveTo>
                  <a:lnTo>
                    <a:pt x="601276" y="151925"/>
                  </a:lnTo>
                  <a:lnTo>
                    <a:pt x="619526" y="229501"/>
                  </a:lnTo>
                  <a:lnTo>
                    <a:pt x="580238" y="227093"/>
                  </a:lnTo>
                  <a:cubicBezTo>
                    <a:pt x="500482" y="227093"/>
                    <a:pt x="424500" y="236921"/>
                    <a:pt x="355391" y="254695"/>
                  </a:cubicBezTo>
                  <a:lnTo>
                    <a:pt x="339561" y="259919"/>
                  </a:lnTo>
                  <a:lnTo>
                    <a:pt x="361819" y="213975"/>
                  </a:lnTo>
                  <a:cubicBezTo>
                    <a:pt x="403743" y="142574"/>
                    <a:pt x="457662" y="91602"/>
                    <a:pt x="517986" y="70579"/>
                  </a:cubicBezTo>
                  <a:close/>
                  <a:moveTo>
                    <a:pt x="582678" y="0"/>
                  </a:moveTo>
                  <a:cubicBezTo>
                    <a:pt x="864696" y="0"/>
                    <a:pt x="1099991" y="200043"/>
                    <a:pt x="1154408" y="465973"/>
                  </a:cubicBezTo>
                  <a:lnTo>
                    <a:pt x="1165357" y="574585"/>
                  </a:lnTo>
                  <a:lnTo>
                    <a:pt x="1157481" y="574585"/>
                  </a:lnTo>
                  <a:lnTo>
                    <a:pt x="1152777" y="531398"/>
                  </a:lnTo>
                  <a:cubicBezTo>
                    <a:pt x="1129179" y="423936"/>
                    <a:pt x="1025667" y="331844"/>
                    <a:pt x="879771" y="277942"/>
                  </a:cubicBezTo>
                  <a:lnTo>
                    <a:pt x="878195" y="277467"/>
                  </a:lnTo>
                  <a:lnTo>
                    <a:pt x="874400" y="266195"/>
                  </a:lnTo>
                  <a:cubicBezTo>
                    <a:pt x="823399" y="144487"/>
                    <a:pt x="744105" y="56130"/>
                    <a:pt x="651732" y="25656"/>
                  </a:cubicBezTo>
                  <a:lnTo>
                    <a:pt x="587837" y="15271"/>
                  </a:lnTo>
                  <a:lnTo>
                    <a:pt x="586161" y="12559"/>
                  </a:lnTo>
                  <a:lnTo>
                    <a:pt x="547416" y="12576"/>
                  </a:lnTo>
                  <a:lnTo>
                    <a:pt x="550438" y="18879"/>
                  </a:lnTo>
                  <a:lnTo>
                    <a:pt x="508744" y="25656"/>
                  </a:lnTo>
                  <a:cubicBezTo>
                    <a:pt x="416372" y="56130"/>
                    <a:pt x="337077" y="144487"/>
                    <a:pt x="286077" y="266195"/>
                  </a:cubicBezTo>
                  <a:lnTo>
                    <a:pt x="281768" y="278993"/>
                  </a:lnTo>
                  <a:lnTo>
                    <a:pt x="257269" y="287078"/>
                  </a:lnTo>
                  <a:cubicBezTo>
                    <a:pt x="122820" y="342308"/>
                    <a:pt x="28667" y="431050"/>
                    <a:pt x="7229" y="533593"/>
                  </a:cubicBezTo>
                  <a:lnTo>
                    <a:pt x="2976" y="574585"/>
                  </a:lnTo>
                  <a:lnTo>
                    <a:pt x="0" y="574585"/>
                  </a:lnTo>
                  <a:lnTo>
                    <a:pt x="10949" y="465973"/>
                  </a:lnTo>
                  <a:cubicBezTo>
                    <a:pt x="65366" y="200043"/>
                    <a:pt x="300661" y="0"/>
                    <a:pt x="582678" y="0"/>
                  </a:cubicBezTo>
                  <a:close/>
                </a:path>
              </a:pathLst>
            </a:custGeom>
            <a:solidFill>
              <a:srgbClr val="6D2077"/>
            </a:solidFill>
            <a:ln w="12700" cap="flat" cmpd="sng" algn="ctr">
              <a:noFill/>
              <a:prstDash val="solid"/>
              <a:miter lim="800000"/>
            </a:ln>
            <a:effectLst/>
          </p:spPr>
          <p:txBody>
            <a:bodyPr wrap="square" rtlCol="0" anchor="ctr">
              <a:noAutofit/>
            </a:bodyPr>
            <a:lstStyle/>
            <a:p>
              <a:pPr algn="ctr">
                <a:defRPr/>
              </a:pPr>
              <a:endParaRPr lang="en-US" sz="1350" kern="0">
                <a:solidFill>
                  <a:prstClr val="white"/>
                </a:solidFill>
                <a:latin typeface="Arial" panose="020B0604020202020204" pitchFamily="34" charset="0"/>
                <a:cs typeface="Arial" panose="020B0604020202020204" pitchFamily="34" charset="0"/>
              </a:endParaRPr>
            </a:p>
          </p:txBody>
        </p:sp>
        <p:sp>
          <p:nvSpPr>
            <p:cNvPr id="132" name="Freeform 355"/>
            <p:cNvSpPr>
              <a:spLocks/>
            </p:cNvSpPr>
            <p:nvPr/>
          </p:nvSpPr>
          <p:spPr bwMode="auto">
            <a:xfrm>
              <a:off x="5199234" y="2686013"/>
              <a:ext cx="167178" cy="163269"/>
            </a:xfrm>
            <a:custGeom>
              <a:avLst/>
              <a:gdLst>
                <a:gd name="connsiteX0" fmla="*/ 277012 w 551264"/>
                <a:gd name="connsiteY0" fmla="*/ 79932 h 554022"/>
                <a:gd name="connsiteX1" fmla="*/ 79934 w 551264"/>
                <a:gd name="connsiteY1" fmla="*/ 277010 h 554022"/>
                <a:gd name="connsiteX2" fmla="*/ 277012 w 551264"/>
                <a:gd name="connsiteY2" fmla="*/ 474088 h 554022"/>
                <a:gd name="connsiteX3" fmla="*/ 474090 w 551264"/>
                <a:gd name="connsiteY3" fmla="*/ 277010 h 554022"/>
                <a:gd name="connsiteX4" fmla="*/ 277012 w 551264"/>
                <a:gd name="connsiteY4" fmla="*/ 79932 h 554022"/>
                <a:gd name="connsiteX5" fmla="*/ 275632 w 551264"/>
                <a:gd name="connsiteY5" fmla="*/ 0 h 554022"/>
                <a:gd name="connsiteX6" fmla="*/ 551264 w 551264"/>
                <a:gd name="connsiteY6" fmla="*/ 277011 h 554022"/>
                <a:gd name="connsiteX7" fmla="*/ 275632 w 551264"/>
                <a:gd name="connsiteY7" fmla="*/ 554022 h 554022"/>
                <a:gd name="connsiteX8" fmla="*/ 0 w 551264"/>
                <a:gd name="connsiteY8" fmla="*/ 277011 h 554022"/>
                <a:gd name="connsiteX9" fmla="*/ 275632 w 551264"/>
                <a:gd name="connsiteY9" fmla="*/ 0 h 55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1264" h="554022">
                  <a:moveTo>
                    <a:pt x="277012" y="79932"/>
                  </a:moveTo>
                  <a:cubicBezTo>
                    <a:pt x="168169" y="79932"/>
                    <a:pt x="79934" y="168167"/>
                    <a:pt x="79934" y="277010"/>
                  </a:cubicBezTo>
                  <a:cubicBezTo>
                    <a:pt x="79934" y="385853"/>
                    <a:pt x="168169" y="474088"/>
                    <a:pt x="277012" y="474088"/>
                  </a:cubicBezTo>
                  <a:cubicBezTo>
                    <a:pt x="385855" y="474088"/>
                    <a:pt x="474090" y="385853"/>
                    <a:pt x="474090" y="277010"/>
                  </a:cubicBezTo>
                  <a:cubicBezTo>
                    <a:pt x="474090" y="168167"/>
                    <a:pt x="385855" y="79932"/>
                    <a:pt x="277012" y="79932"/>
                  </a:cubicBezTo>
                  <a:close/>
                  <a:moveTo>
                    <a:pt x="275632" y="0"/>
                  </a:moveTo>
                  <a:cubicBezTo>
                    <a:pt x="427859" y="0"/>
                    <a:pt x="551264" y="124022"/>
                    <a:pt x="551264" y="277011"/>
                  </a:cubicBezTo>
                  <a:cubicBezTo>
                    <a:pt x="551264" y="430000"/>
                    <a:pt x="427859" y="554022"/>
                    <a:pt x="275632" y="554022"/>
                  </a:cubicBezTo>
                  <a:cubicBezTo>
                    <a:pt x="123405" y="554022"/>
                    <a:pt x="0" y="430000"/>
                    <a:pt x="0" y="277011"/>
                  </a:cubicBezTo>
                  <a:cubicBezTo>
                    <a:pt x="0" y="124022"/>
                    <a:pt x="123405" y="0"/>
                    <a:pt x="275632" y="0"/>
                  </a:cubicBezTo>
                  <a:close/>
                </a:path>
              </a:pathLst>
            </a:custGeom>
            <a:solidFill>
              <a:srgbClr val="6D2077"/>
            </a:solidFill>
            <a:ln w="0">
              <a:noFill/>
              <a:prstDash val="solid"/>
              <a:round/>
              <a:headEnd/>
              <a:tailEnd/>
            </a:ln>
          </p:spPr>
          <p:txBody>
            <a:bodyPr vert="horz" wrap="square" lIns="68580" tIns="34290" rIns="68580" bIns="34290" numCol="1" anchor="t" anchorCtr="0" compatLnSpc="1">
              <a:prstTxWarp prst="textNoShape">
                <a:avLst/>
              </a:prstTxWarp>
              <a:noAutofit/>
            </a:bodyPr>
            <a:lstStyle/>
            <a:p>
              <a:pPr>
                <a:defRPr/>
              </a:pPr>
              <a:endParaRPr lang="en-US" sz="1350" kern="0">
                <a:solidFill>
                  <a:prstClr val="black"/>
                </a:solidFill>
                <a:latin typeface="Arial" panose="020B0604020202020204" pitchFamily="34" charset="0"/>
                <a:cs typeface="Arial" panose="020B0604020202020204" pitchFamily="34" charset="0"/>
              </a:endParaRPr>
            </a:p>
          </p:txBody>
        </p:sp>
        <p:sp>
          <p:nvSpPr>
            <p:cNvPr id="133" name="Freeform 127"/>
            <p:cNvSpPr>
              <a:spLocks/>
            </p:cNvSpPr>
            <p:nvPr/>
          </p:nvSpPr>
          <p:spPr bwMode="auto">
            <a:xfrm>
              <a:off x="5121191" y="2849279"/>
              <a:ext cx="78043" cy="75256"/>
            </a:xfrm>
            <a:custGeom>
              <a:avLst/>
              <a:gdLst>
                <a:gd name="T0" fmla="*/ 66 w 91"/>
                <a:gd name="T1" fmla="*/ 0 h 91"/>
                <a:gd name="T2" fmla="*/ 91 w 91"/>
                <a:gd name="T3" fmla="*/ 24 h 91"/>
                <a:gd name="T4" fmla="*/ 45 w 91"/>
                <a:gd name="T5" fmla="*/ 83 h 91"/>
                <a:gd name="T6" fmla="*/ 37 w 91"/>
                <a:gd name="T7" fmla="*/ 89 h 91"/>
                <a:gd name="T8" fmla="*/ 27 w 91"/>
                <a:gd name="T9" fmla="*/ 91 h 91"/>
                <a:gd name="T10" fmla="*/ 17 w 91"/>
                <a:gd name="T11" fmla="*/ 89 h 91"/>
                <a:gd name="T12" fmla="*/ 7 w 91"/>
                <a:gd name="T13" fmla="*/ 83 h 91"/>
                <a:gd name="T14" fmla="*/ 2 w 91"/>
                <a:gd name="T15" fmla="*/ 74 h 91"/>
                <a:gd name="T16" fmla="*/ 0 w 91"/>
                <a:gd name="T17" fmla="*/ 64 h 91"/>
                <a:gd name="T18" fmla="*/ 1 w 91"/>
                <a:gd name="T19" fmla="*/ 53 h 91"/>
                <a:gd name="T20" fmla="*/ 7 w 91"/>
                <a:gd name="T21" fmla="*/ 45 h 91"/>
                <a:gd name="T22" fmla="*/ 66 w 91"/>
                <a:gd name="T23" fmla="*/ 0 h 91"/>
                <a:gd name="connsiteX0" fmla="*/ 7253 w 10000"/>
                <a:gd name="connsiteY0" fmla="*/ 0 h 10000"/>
                <a:gd name="connsiteX1" fmla="*/ 10000 w 10000"/>
                <a:gd name="connsiteY1" fmla="*/ 2637 h 10000"/>
                <a:gd name="connsiteX2" fmla="*/ 4945 w 10000"/>
                <a:gd name="connsiteY2" fmla="*/ 9121 h 10000"/>
                <a:gd name="connsiteX3" fmla="*/ 4066 w 10000"/>
                <a:gd name="connsiteY3" fmla="*/ 9780 h 10000"/>
                <a:gd name="connsiteX4" fmla="*/ 2967 w 10000"/>
                <a:gd name="connsiteY4" fmla="*/ 10000 h 10000"/>
                <a:gd name="connsiteX5" fmla="*/ 1868 w 10000"/>
                <a:gd name="connsiteY5" fmla="*/ 9780 h 10000"/>
                <a:gd name="connsiteX6" fmla="*/ 769 w 10000"/>
                <a:gd name="connsiteY6" fmla="*/ 9121 h 10000"/>
                <a:gd name="connsiteX7" fmla="*/ 0 w 10000"/>
                <a:gd name="connsiteY7" fmla="*/ 7033 h 10000"/>
                <a:gd name="connsiteX8" fmla="*/ 110 w 10000"/>
                <a:gd name="connsiteY8" fmla="*/ 5824 h 10000"/>
                <a:gd name="connsiteX9" fmla="*/ 769 w 10000"/>
                <a:gd name="connsiteY9" fmla="*/ 4945 h 10000"/>
                <a:gd name="connsiteX10" fmla="*/ 7253 w 10000"/>
                <a:gd name="connsiteY10" fmla="*/ 0 h 10000"/>
                <a:gd name="connsiteX0" fmla="*/ 7143 w 9890"/>
                <a:gd name="connsiteY0" fmla="*/ 0 h 10000"/>
                <a:gd name="connsiteX1" fmla="*/ 9890 w 9890"/>
                <a:gd name="connsiteY1" fmla="*/ 2637 h 10000"/>
                <a:gd name="connsiteX2" fmla="*/ 4835 w 9890"/>
                <a:gd name="connsiteY2" fmla="*/ 9121 h 10000"/>
                <a:gd name="connsiteX3" fmla="*/ 3956 w 9890"/>
                <a:gd name="connsiteY3" fmla="*/ 9780 h 10000"/>
                <a:gd name="connsiteX4" fmla="*/ 2857 w 9890"/>
                <a:gd name="connsiteY4" fmla="*/ 10000 h 10000"/>
                <a:gd name="connsiteX5" fmla="*/ 1758 w 9890"/>
                <a:gd name="connsiteY5" fmla="*/ 9780 h 10000"/>
                <a:gd name="connsiteX6" fmla="*/ 659 w 9890"/>
                <a:gd name="connsiteY6" fmla="*/ 9121 h 10000"/>
                <a:gd name="connsiteX7" fmla="*/ 0 w 9890"/>
                <a:gd name="connsiteY7" fmla="*/ 5824 h 10000"/>
                <a:gd name="connsiteX8" fmla="*/ 659 w 9890"/>
                <a:gd name="connsiteY8" fmla="*/ 4945 h 10000"/>
                <a:gd name="connsiteX9" fmla="*/ 7143 w 9890"/>
                <a:gd name="connsiteY9" fmla="*/ 0 h 10000"/>
                <a:gd name="connsiteX0" fmla="*/ 7222 w 10000"/>
                <a:gd name="connsiteY0" fmla="*/ 0 h 10000"/>
                <a:gd name="connsiteX1" fmla="*/ 10000 w 10000"/>
                <a:gd name="connsiteY1" fmla="*/ 2637 h 10000"/>
                <a:gd name="connsiteX2" fmla="*/ 4889 w 10000"/>
                <a:gd name="connsiteY2" fmla="*/ 9121 h 10000"/>
                <a:gd name="connsiteX3" fmla="*/ 4000 w 10000"/>
                <a:gd name="connsiteY3" fmla="*/ 9780 h 10000"/>
                <a:gd name="connsiteX4" fmla="*/ 2889 w 10000"/>
                <a:gd name="connsiteY4" fmla="*/ 10000 h 10000"/>
                <a:gd name="connsiteX5" fmla="*/ 1778 w 10000"/>
                <a:gd name="connsiteY5" fmla="*/ 9780 h 10000"/>
                <a:gd name="connsiteX6" fmla="*/ 0 w 10000"/>
                <a:gd name="connsiteY6" fmla="*/ 5824 h 10000"/>
                <a:gd name="connsiteX7" fmla="*/ 666 w 10000"/>
                <a:gd name="connsiteY7" fmla="*/ 4945 h 10000"/>
                <a:gd name="connsiteX8" fmla="*/ 7222 w 10000"/>
                <a:gd name="connsiteY8" fmla="*/ 0 h 10000"/>
                <a:gd name="connsiteX0" fmla="*/ 7222 w 10000"/>
                <a:gd name="connsiteY0" fmla="*/ 0 h 10000"/>
                <a:gd name="connsiteX1" fmla="*/ 10000 w 10000"/>
                <a:gd name="connsiteY1" fmla="*/ 2637 h 10000"/>
                <a:gd name="connsiteX2" fmla="*/ 4889 w 10000"/>
                <a:gd name="connsiteY2" fmla="*/ 9121 h 10000"/>
                <a:gd name="connsiteX3" fmla="*/ 4000 w 10000"/>
                <a:gd name="connsiteY3" fmla="*/ 9780 h 10000"/>
                <a:gd name="connsiteX4" fmla="*/ 2889 w 10000"/>
                <a:gd name="connsiteY4" fmla="*/ 10000 h 10000"/>
                <a:gd name="connsiteX5" fmla="*/ 0 w 10000"/>
                <a:gd name="connsiteY5" fmla="*/ 5824 h 10000"/>
                <a:gd name="connsiteX6" fmla="*/ 666 w 10000"/>
                <a:gd name="connsiteY6" fmla="*/ 4945 h 10000"/>
                <a:gd name="connsiteX7" fmla="*/ 7222 w 10000"/>
                <a:gd name="connsiteY7" fmla="*/ 0 h 10000"/>
                <a:gd name="connsiteX0" fmla="*/ 7222 w 10000"/>
                <a:gd name="connsiteY0" fmla="*/ 0 h 9780"/>
                <a:gd name="connsiteX1" fmla="*/ 10000 w 10000"/>
                <a:gd name="connsiteY1" fmla="*/ 2637 h 9780"/>
                <a:gd name="connsiteX2" fmla="*/ 4889 w 10000"/>
                <a:gd name="connsiteY2" fmla="*/ 9121 h 9780"/>
                <a:gd name="connsiteX3" fmla="*/ 4000 w 10000"/>
                <a:gd name="connsiteY3" fmla="*/ 9780 h 9780"/>
                <a:gd name="connsiteX4" fmla="*/ 0 w 10000"/>
                <a:gd name="connsiteY4" fmla="*/ 5824 h 9780"/>
                <a:gd name="connsiteX5" fmla="*/ 666 w 10000"/>
                <a:gd name="connsiteY5" fmla="*/ 4945 h 9780"/>
                <a:gd name="connsiteX6" fmla="*/ 7222 w 10000"/>
                <a:gd name="connsiteY6" fmla="*/ 0 h 9780"/>
                <a:gd name="connsiteX0" fmla="*/ 7411 w 10189"/>
                <a:gd name="connsiteY0" fmla="*/ 0 h 10000"/>
                <a:gd name="connsiteX1" fmla="*/ 10189 w 10189"/>
                <a:gd name="connsiteY1" fmla="*/ 2696 h 10000"/>
                <a:gd name="connsiteX2" fmla="*/ 5078 w 10189"/>
                <a:gd name="connsiteY2" fmla="*/ 9326 h 10000"/>
                <a:gd name="connsiteX3" fmla="*/ 4189 w 10189"/>
                <a:gd name="connsiteY3" fmla="*/ 10000 h 10000"/>
                <a:gd name="connsiteX4" fmla="*/ 189 w 10189"/>
                <a:gd name="connsiteY4" fmla="*/ 5955 h 10000"/>
                <a:gd name="connsiteX5" fmla="*/ 855 w 10189"/>
                <a:gd name="connsiteY5" fmla="*/ 5056 h 10000"/>
                <a:gd name="connsiteX6" fmla="*/ 7411 w 10189"/>
                <a:gd name="connsiteY6" fmla="*/ 0 h 10000"/>
                <a:gd name="connsiteX0" fmla="*/ 7408 w 10186"/>
                <a:gd name="connsiteY0" fmla="*/ 0 h 10180"/>
                <a:gd name="connsiteX1" fmla="*/ 10186 w 10186"/>
                <a:gd name="connsiteY1" fmla="*/ 2696 h 10180"/>
                <a:gd name="connsiteX2" fmla="*/ 5075 w 10186"/>
                <a:gd name="connsiteY2" fmla="*/ 9326 h 10180"/>
                <a:gd name="connsiteX3" fmla="*/ 4186 w 10186"/>
                <a:gd name="connsiteY3" fmla="*/ 10000 h 10180"/>
                <a:gd name="connsiteX4" fmla="*/ 186 w 10186"/>
                <a:gd name="connsiteY4" fmla="*/ 5955 h 10180"/>
                <a:gd name="connsiteX5" fmla="*/ 852 w 10186"/>
                <a:gd name="connsiteY5" fmla="*/ 5056 h 10180"/>
                <a:gd name="connsiteX6" fmla="*/ 7408 w 10186"/>
                <a:gd name="connsiteY6" fmla="*/ 0 h 10180"/>
                <a:gd name="connsiteX0" fmla="*/ 7584 w 10362"/>
                <a:gd name="connsiteY0" fmla="*/ 0 h 10142"/>
                <a:gd name="connsiteX1" fmla="*/ 10362 w 10362"/>
                <a:gd name="connsiteY1" fmla="*/ 2696 h 10142"/>
                <a:gd name="connsiteX2" fmla="*/ 5251 w 10362"/>
                <a:gd name="connsiteY2" fmla="*/ 9326 h 10142"/>
                <a:gd name="connsiteX3" fmla="*/ 4362 w 10362"/>
                <a:gd name="connsiteY3" fmla="*/ 10000 h 10142"/>
                <a:gd name="connsiteX4" fmla="*/ 362 w 10362"/>
                <a:gd name="connsiteY4" fmla="*/ 5955 h 10142"/>
                <a:gd name="connsiteX5" fmla="*/ 1028 w 10362"/>
                <a:gd name="connsiteY5" fmla="*/ 5056 h 10142"/>
                <a:gd name="connsiteX6" fmla="*/ 7584 w 10362"/>
                <a:gd name="connsiteY6" fmla="*/ 0 h 10142"/>
                <a:gd name="connsiteX0" fmla="*/ 7596 w 10374"/>
                <a:gd name="connsiteY0" fmla="*/ 0 h 10410"/>
                <a:gd name="connsiteX1" fmla="*/ 10374 w 10374"/>
                <a:gd name="connsiteY1" fmla="*/ 2696 h 10410"/>
                <a:gd name="connsiteX2" fmla="*/ 5263 w 10374"/>
                <a:gd name="connsiteY2" fmla="*/ 9326 h 10410"/>
                <a:gd name="connsiteX3" fmla="*/ 4374 w 10374"/>
                <a:gd name="connsiteY3" fmla="*/ 10000 h 10410"/>
                <a:gd name="connsiteX4" fmla="*/ 374 w 10374"/>
                <a:gd name="connsiteY4" fmla="*/ 5955 h 10410"/>
                <a:gd name="connsiteX5" fmla="*/ 1040 w 10374"/>
                <a:gd name="connsiteY5" fmla="*/ 5056 h 10410"/>
                <a:gd name="connsiteX6" fmla="*/ 7596 w 10374"/>
                <a:gd name="connsiteY6" fmla="*/ 0 h 1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74" h="10410">
                  <a:moveTo>
                    <a:pt x="7596" y="0"/>
                  </a:moveTo>
                  <a:lnTo>
                    <a:pt x="10374" y="2696"/>
                  </a:lnTo>
                  <a:lnTo>
                    <a:pt x="5263" y="9326"/>
                  </a:lnTo>
                  <a:lnTo>
                    <a:pt x="4374" y="10000"/>
                  </a:lnTo>
                  <a:cubicBezTo>
                    <a:pt x="2945" y="11176"/>
                    <a:pt x="-1269" y="9827"/>
                    <a:pt x="374" y="5955"/>
                  </a:cubicBezTo>
                  <a:lnTo>
                    <a:pt x="1040" y="5056"/>
                  </a:lnTo>
                  <a:lnTo>
                    <a:pt x="7596" y="0"/>
                  </a:lnTo>
                  <a:close/>
                </a:path>
              </a:pathLst>
            </a:custGeom>
            <a:solidFill>
              <a:srgbClr val="6D2077"/>
            </a:solidFill>
            <a:ln w="0">
              <a:noFill/>
              <a:prstDash val="solid"/>
              <a:round/>
              <a:headEnd/>
              <a:tailEnd/>
            </a:ln>
          </p:spPr>
          <p:txBody>
            <a:bodyPr vert="horz" wrap="square" lIns="68580" tIns="34290" rIns="68580" bIns="34290" numCol="1" anchor="t" anchorCtr="0" compatLnSpc="1">
              <a:prstTxWarp prst="textNoShape">
                <a:avLst/>
              </a:prstTxWarp>
            </a:bodyPr>
            <a:lstStyle/>
            <a:p>
              <a:pPr>
                <a:defRPr/>
              </a:pPr>
              <a:endParaRPr lang="en-US" sz="1350" kern="0">
                <a:solidFill>
                  <a:prstClr val="black"/>
                </a:solidFill>
                <a:latin typeface="Arial" panose="020B0604020202020204" pitchFamily="34" charset="0"/>
                <a:cs typeface="Arial" panose="020B0604020202020204" pitchFamily="34" charset="0"/>
              </a:endParaRPr>
            </a:p>
          </p:txBody>
        </p:sp>
        <p:sp>
          <p:nvSpPr>
            <p:cNvPr id="134" name="Freeform 128"/>
            <p:cNvSpPr>
              <a:spLocks/>
            </p:cNvSpPr>
            <p:nvPr/>
          </p:nvSpPr>
          <p:spPr bwMode="auto">
            <a:xfrm>
              <a:off x="5251059" y="2736373"/>
              <a:ext cx="78163" cy="73657"/>
            </a:xfrm>
            <a:custGeom>
              <a:avLst/>
              <a:gdLst>
                <a:gd name="T0" fmla="*/ 77 w 93"/>
                <a:gd name="T1" fmla="*/ 0 h 93"/>
                <a:gd name="T2" fmla="*/ 87 w 93"/>
                <a:gd name="T3" fmla="*/ 14 h 93"/>
                <a:gd name="T4" fmla="*/ 93 w 93"/>
                <a:gd name="T5" fmla="*/ 30 h 93"/>
                <a:gd name="T6" fmla="*/ 93 w 93"/>
                <a:gd name="T7" fmla="*/ 47 h 93"/>
                <a:gd name="T8" fmla="*/ 87 w 93"/>
                <a:gd name="T9" fmla="*/ 63 h 93"/>
                <a:gd name="T10" fmla="*/ 77 w 93"/>
                <a:gd name="T11" fmla="*/ 77 h 93"/>
                <a:gd name="T12" fmla="*/ 63 w 93"/>
                <a:gd name="T13" fmla="*/ 87 h 93"/>
                <a:gd name="T14" fmla="*/ 47 w 93"/>
                <a:gd name="T15" fmla="*/ 93 h 93"/>
                <a:gd name="T16" fmla="*/ 30 w 93"/>
                <a:gd name="T17" fmla="*/ 93 h 93"/>
                <a:gd name="T18" fmla="*/ 14 w 93"/>
                <a:gd name="T19" fmla="*/ 87 h 93"/>
                <a:gd name="T20" fmla="*/ 0 w 93"/>
                <a:gd name="T21" fmla="*/ 77 h 93"/>
                <a:gd name="T22" fmla="*/ 22 w 93"/>
                <a:gd name="T23" fmla="*/ 68 h 93"/>
                <a:gd name="T24" fmla="*/ 40 w 93"/>
                <a:gd name="T25" fmla="*/ 56 h 93"/>
                <a:gd name="T26" fmla="*/ 56 w 93"/>
                <a:gd name="T27" fmla="*/ 40 h 93"/>
                <a:gd name="T28" fmla="*/ 68 w 93"/>
                <a:gd name="T29" fmla="*/ 22 h 93"/>
                <a:gd name="T30" fmla="*/ 77 w 93"/>
                <a:gd name="T31" fmla="*/ 0 h 93"/>
                <a:gd name="connsiteX0" fmla="*/ 8280 w 10000"/>
                <a:gd name="connsiteY0" fmla="*/ 0 h 10000"/>
                <a:gd name="connsiteX1" fmla="*/ 9355 w 10000"/>
                <a:gd name="connsiteY1" fmla="*/ 1505 h 10000"/>
                <a:gd name="connsiteX2" fmla="*/ 10000 w 10000"/>
                <a:gd name="connsiteY2" fmla="*/ 3226 h 10000"/>
                <a:gd name="connsiteX3" fmla="*/ 10000 w 10000"/>
                <a:gd name="connsiteY3" fmla="*/ 5054 h 10000"/>
                <a:gd name="connsiteX4" fmla="*/ 9355 w 10000"/>
                <a:gd name="connsiteY4" fmla="*/ 6774 h 10000"/>
                <a:gd name="connsiteX5" fmla="*/ 8280 w 10000"/>
                <a:gd name="connsiteY5" fmla="*/ 8280 h 10000"/>
                <a:gd name="connsiteX6" fmla="*/ 6774 w 10000"/>
                <a:gd name="connsiteY6" fmla="*/ 9355 h 10000"/>
                <a:gd name="connsiteX7" fmla="*/ 5054 w 10000"/>
                <a:gd name="connsiteY7" fmla="*/ 10000 h 10000"/>
                <a:gd name="connsiteX8" fmla="*/ 3226 w 10000"/>
                <a:gd name="connsiteY8" fmla="*/ 10000 h 10000"/>
                <a:gd name="connsiteX9" fmla="*/ 1505 w 10000"/>
                <a:gd name="connsiteY9" fmla="*/ 9355 h 10000"/>
                <a:gd name="connsiteX10" fmla="*/ 0 w 10000"/>
                <a:gd name="connsiteY10" fmla="*/ 8280 h 10000"/>
                <a:gd name="connsiteX11" fmla="*/ 2366 w 10000"/>
                <a:gd name="connsiteY11" fmla="*/ 7312 h 10000"/>
                <a:gd name="connsiteX12" fmla="*/ 4301 w 10000"/>
                <a:gd name="connsiteY12" fmla="*/ 6022 h 10000"/>
                <a:gd name="connsiteX13" fmla="*/ 7312 w 10000"/>
                <a:gd name="connsiteY13" fmla="*/ 2366 h 10000"/>
                <a:gd name="connsiteX14" fmla="*/ 8280 w 10000"/>
                <a:gd name="connsiteY14" fmla="*/ 0 h 10000"/>
                <a:gd name="connsiteX0" fmla="*/ 8280 w 10000"/>
                <a:gd name="connsiteY0" fmla="*/ 0 h 10000"/>
                <a:gd name="connsiteX1" fmla="*/ 9355 w 10000"/>
                <a:gd name="connsiteY1" fmla="*/ 1505 h 10000"/>
                <a:gd name="connsiteX2" fmla="*/ 10000 w 10000"/>
                <a:gd name="connsiteY2" fmla="*/ 3226 h 10000"/>
                <a:gd name="connsiteX3" fmla="*/ 10000 w 10000"/>
                <a:gd name="connsiteY3" fmla="*/ 5054 h 10000"/>
                <a:gd name="connsiteX4" fmla="*/ 9355 w 10000"/>
                <a:gd name="connsiteY4" fmla="*/ 6774 h 10000"/>
                <a:gd name="connsiteX5" fmla="*/ 8280 w 10000"/>
                <a:gd name="connsiteY5" fmla="*/ 8280 h 10000"/>
                <a:gd name="connsiteX6" fmla="*/ 6774 w 10000"/>
                <a:gd name="connsiteY6" fmla="*/ 9355 h 10000"/>
                <a:gd name="connsiteX7" fmla="*/ 5054 w 10000"/>
                <a:gd name="connsiteY7" fmla="*/ 10000 h 10000"/>
                <a:gd name="connsiteX8" fmla="*/ 3226 w 10000"/>
                <a:gd name="connsiteY8" fmla="*/ 10000 h 10000"/>
                <a:gd name="connsiteX9" fmla="*/ 1505 w 10000"/>
                <a:gd name="connsiteY9" fmla="*/ 9355 h 10000"/>
                <a:gd name="connsiteX10" fmla="*/ 0 w 10000"/>
                <a:gd name="connsiteY10" fmla="*/ 8280 h 10000"/>
                <a:gd name="connsiteX11" fmla="*/ 2366 w 10000"/>
                <a:gd name="connsiteY11" fmla="*/ 7312 h 10000"/>
                <a:gd name="connsiteX12" fmla="*/ 7312 w 10000"/>
                <a:gd name="connsiteY12" fmla="*/ 2366 h 10000"/>
                <a:gd name="connsiteX13" fmla="*/ 8280 w 10000"/>
                <a:gd name="connsiteY13" fmla="*/ 0 h 10000"/>
                <a:gd name="connsiteX0" fmla="*/ 8280 w 10000"/>
                <a:gd name="connsiteY0" fmla="*/ 0 h 10000"/>
                <a:gd name="connsiteX1" fmla="*/ 9355 w 10000"/>
                <a:gd name="connsiteY1" fmla="*/ 1505 h 10000"/>
                <a:gd name="connsiteX2" fmla="*/ 10000 w 10000"/>
                <a:gd name="connsiteY2" fmla="*/ 3226 h 10000"/>
                <a:gd name="connsiteX3" fmla="*/ 10000 w 10000"/>
                <a:gd name="connsiteY3" fmla="*/ 5054 h 10000"/>
                <a:gd name="connsiteX4" fmla="*/ 9355 w 10000"/>
                <a:gd name="connsiteY4" fmla="*/ 6774 h 10000"/>
                <a:gd name="connsiteX5" fmla="*/ 8280 w 10000"/>
                <a:gd name="connsiteY5" fmla="*/ 8280 h 10000"/>
                <a:gd name="connsiteX6" fmla="*/ 6774 w 10000"/>
                <a:gd name="connsiteY6" fmla="*/ 9355 h 10000"/>
                <a:gd name="connsiteX7" fmla="*/ 5054 w 10000"/>
                <a:gd name="connsiteY7" fmla="*/ 10000 h 10000"/>
                <a:gd name="connsiteX8" fmla="*/ 3226 w 10000"/>
                <a:gd name="connsiteY8" fmla="*/ 10000 h 10000"/>
                <a:gd name="connsiteX9" fmla="*/ 1505 w 10000"/>
                <a:gd name="connsiteY9" fmla="*/ 9355 h 10000"/>
                <a:gd name="connsiteX10" fmla="*/ 0 w 10000"/>
                <a:gd name="connsiteY10" fmla="*/ 8280 h 10000"/>
                <a:gd name="connsiteX11" fmla="*/ 7312 w 10000"/>
                <a:gd name="connsiteY11" fmla="*/ 2366 h 10000"/>
                <a:gd name="connsiteX12" fmla="*/ 8280 w 10000"/>
                <a:gd name="connsiteY12" fmla="*/ 0 h 10000"/>
                <a:gd name="connsiteX0" fmla="*/ 8280 w 10000"/>
                <a:gd name="connsiteY0" fmla="*/ 0 h 10000"/>
                <a:gd name="connsiteX1" fmla="*/ 9355 w 10000"/>
                <a:gd name="connsiteY1" fmla="*/ 1505 h 10000"/>
                <a:gd name="connsiteX2" fmla="*/ 10000 w 10000"/>
                <a:gd name="connsiteY2" fmla="*/ 3226 h 10000"/>
                <a:gd name="connsiteX3" fmla="*/ 10000 w 10000"/>
                <a:gd name="connsiteY3" fmla="*/ 5054 h 10000"/>
                <a:gd name="connsiteX4" fmla="*/ 9355 w 10000"/>
                <a:gd name="connsiteY4" fmla="*/ 6774 h 10000"/>
                <a:gd name="connsiteX5" fmla="*/ 8280 w 10000"/>
                <a:gd name="connsiteY5" fmla="*/ 8280 h 10000"/>
                <a:gd name="connsiteX6" fmla="*/ 6774 w 10000"/>
                <a:gd name="connsiteY6" fmla="*/ 9355 h 10000"/>
                <a:gd name="connsiteX7" fmla="*/ 5054 w 10000"/>
                <a:gd name="connsiteY7" fmla="*/ 10000 h 10000"/>
                <a:gd name="connsiteX8" fmla="*/ 3226 w 10000"/>
                <a:gd name="connsiteY8" fmla="*/ 10000 h 10000"/>
                <a:gd name="connsiteX9" fmla="*/ 1505 w 10000"/>
                <a:gd name="connsiteY9" fmla="*/ 9355 h 10000"/>
                <a:gd name="connsiteX10" fmla="*/ 0 w 10000"/>
                <a:gd name="connsiteY10" fmla="*/ 8280 h 10000"/>
                <a:gd name="connsiteX11" fmla="*/ 8280 w 10000"/>
                <a:gd name="connsiteY11" fmla="*/ 0 h 10000"/>
                <a:gd name="connsiteX0" fmla="*/ 8280 w 10000"/>
                <a:gd name="connsiteY0" fmla="*/ 0 h 10000"/>
                <a:gd name="connsiteX1" fmla="*/ 9355 w 10000"/>
                <a:gd name="connsiteY1" fmla="*/ 1505 h 10000"/>
                <a:gd name="connsiteX2" fmla="*/ 10000 w 10000"/>
                <a:gd name="connsiteY2" fmla="*/ 3226 h 10000"/>
                <a:gd name="connsiteX3" fmla="*/ 10000 w 10000"/>
                <a:gd name="connsiteY3" fmla="*/ 5054 h 10000"/>
                <a:gd name="connsiteX4" fmla="*/ 9355 w 10000"/>
                <a:gd name="connsiteY4" fmla="*/ 6774 h 10000"/>
                <a:gd name="connsiteX5" fmla="*/ 8280 w 10000"/>
                <a:gd name="connsiteY5" fmla="*/ 8280 h 10000"/>
                <a:gd name="connsiteX6" fmla="*/ 6774 w 10000"/>
                <a:gd name="connsiteY6" fmla="*/ 9355 h 10000"/>
                <a:gd name="connsiteX7" fmla="*/ 5054 w 10000"/>
                <a:gd name="connsiteY7" fmla="*/ 10000 h 10000"/>
                <a:gd name="connsiteX8" fmla="*/ 3226 w 10000"/>
                <a:gd name="connsiteY8" fmla="*/ 10000 h 10000"/>
                <a:gd name="connsiteX9" fmla="*/ 1505 w 10000"/>
                <a:gd name="connsiteY9" fmla="*/ 9355 h 10000"/>
                <a:gd name="connsiteX10" fmla="*/ 0 w 10000"/>
                <a:gd name="connsiteY10" fmla="*/ 8280 h 10000"/>
                <a:gd name="connsiteX11" fmla="*/ 8280 w 10000"/>
                <a:gd name="connsiteY11" fmla="*/ 0 h 10000"/>
                <a:gd name="connsiteX0" fmla="*/ 8280 w 10000"/>
                <a:gd name="connsiteY0" fmla="*/ 0 h 10000"/>
                <a:gd name="connsiteX1" fmla="*/ 9355 w 10000"/>
                <a:gd name="connsiteY1" fmla="*/ 1505 h 10000"/>
                <a:gd name="connsiteX2" fmla="*/ 10000 w 10000"/>
                <a:gd name="connsiteY2" fmla="*/ 3226 h 10000"/>
                <a:gd name="connsiteX3" fmla="*/ 10000 w 10000"/>
                <a:gd name="connsiteY3" fmla="*/ 5054 h 10000"/>
                <a:gd name="connsiteX4" fmla="*/ 9355 w 10000"/>
                <a:gd name="connsiteY4" fmla="*/ 6774 h 10000"/>
                <a:gd name="connsiteX5" fmla="*/ 8280 w 10000"/>
                <a:gd name="connsiteY5" fmla="*/ 8280 h 10000"/>
                <a:gd name="connsiteX6" fmla="*/ 6774 w 10000"/>
                <a:gd name="connsiteY6" fmla="*/ 9355 h 10000"/>
                <a:gd name="connsiteX7" fmla="*/ 5054 w 10000"/>
                <a:gd name="connsiteY7" fmla="*/ 10000 h 10000"/>
                <a:gd name="connsiteX8" fmla="*/ 3226 w 10000"/>
                <a:gd name="connsiteY8" fmla="*/ 10000 h 10000"/>
                <a:gd name="connsiteX9" fmla="*/ 1505 w 10000"/>
                <a:gd name="connsiteY9" fmla="*/ 9355 h 10000"/>
                <a:gd name="connsiteX10" fmla="*/ 0 w 10000"/>
                <a:gd name="connsiteY10" fmla="*/ 8280 h 10000"/>
                <a:gd name="connsiteX11" fmla="*/ 8280 w 10000"/>
                <a:gd name="connsiteY11" fmla="*/ 0 h 10000"/>
                <a:gd name="connsiteX0" fmla="*/ 8280 w 10000"/>
                <a:gd name="connsiteY0" fmla="*/ 0 h 10000"/>
                <a:gd name="connsiteX1" fmla="*/ 9355 w 10000"/>
                <a:gd name="connsiteY1" fmla="*/ 1505 h 10000"/>
                <a:gd name="connsiteX2" fmla="*/ 10000 w 10000"/>
                <a:gd name="connsiteY2" fmla="*/ 3226 h 10000"/>
                <a:gd name="connsiteX3" fmla="*/ 10000 w 10000"/>
                <a:gd name="connsiteY3" fmla="*/ 5054 h 10000"/>
                <a:gd name="connsiteX4" fmla="*/ 9355 w 10000"/>
                <a:gd name="connsiteY4" fmla="*/ 6774 h 10000"/>
                <a:gd name="connsiteX5" fmla="*/ 8280 w 10000"/>
                <a:gd name="connsiteY5" fmla="*/ 8280 h 10000"/>
                <a:gd name="connsiteX6" fmla="*/ 6774 w 10000"/>
                <a:gd name="connsiteY6" fmla="*/ 9355 h 10000"/>
                <a:gd name="connsiteX7" fmla="*/ 5054 w 10000"/>
                <a:gd name="connsiteY7" fmla="*/ 10000 h 10000"/>
                <a:gd name="connsiteX8" fmla="*/ 3226 w 10000"/>
                <a:gd name="connsiteY8" fmla="*/ 10000 h 10000"/>
                <a:gd name="connsiteX9" fmla="*/ 1505 w 10000"/>
                <a:gd name="connsiteY9" fmla="*/ 9355 h 10000"/>
                <a:gd name="connsiteX10" fmla="*/ 0 w 10000"/>
                <a:gd name="connsiteY10" fmla="*/ 8280 h 10000"/>
                <a:gd name="connsiteX11" fmla="*/ 8280 w 10000"/>
                <a:gd name="connsiteY11" fmla="*/ 0 h 10000"/>
                <a:gd name="connsiteX0" fmla="*/ 8280 w 10000"/>
                <a:gd name="connsiteY0" fmla="*/ 0 h 10000"/>
                <a:gd name="connsiteX1" fmla="*/ 9355 w 10000"/>
                <a:gd name="connsiteY1" fmla="*/ 1505 h 10000"/>
                <a:gd name="connsiteX2" fmla="*/ 10000 w 10000"/>
                <a:gd name="connsiteY2" fmla="*/ 3226 h 10000"/>
                <a:gd name="connsiteX3" fmla="*/ 10000 w 10000"/>
                <a:gd name="connsiteY3" fmla="*/ 5054 h 10000"/>
                <a:gd name="connsiteX4" fmla="*/ 9355 w 10000"/>
                <a:gd name="connsiteY4" fmla="*/ 6774 h 10000"/>
                <a:gd name="connsiteX5" fmla="*/ 8280 w 10000"/>
                <a:gd name="connsiteY5" fmla="*/ 8280 h 10000"/>
                <a:gd name="connsiteX6" fmla="*/ 6774 w 10000"/>
                <a:gd name="connsiteY6" fmla="*/ 9355 h 10000"/>
                <a:gd name="connsiteX7" fmla="*/ 5054 w 10000"/>
                <a:gd name="connsiteY7" fmla="*/ 10000 h 10000"/>
                <a:gd name="connsiteX8" fmla="*/ 3226 w 10000"/>
                <a:gd name="connsiteY8" fmla="*/ 10000 h 10000"/>
                <a:gd name="connsiteX9" fmla="*/ 0 w 10000"/>
                <a:gd name="connsiteY9" fmla="*/ 8280 h 10000"/>
                <a:gd name="connsiteX10" fmla="*/ 8280 w 10000"/>
                <a:gd name="connsiteY10" fmla="*/ 0 h 10000"/>
                <a:gd name="connsiteX0" fmla="*/ 8280 w 10000"/>
                <a:gd name="connsiteY0" fmla="*/ 0 h 10000"/>
                <a:gd name="connsiteX1" fmla="*/ 9355 w 10000"/>
                <a:gd name="connsiteY1" fmla="*/ 1505 h 10000"/>
                <a:gd name="connsiteX2" fmla="*/ 10000 w 10000"/>
                <a:gd name="connsiteY2" fmla="*/ 3226 h 10000"/>
                <a:gd name="connsiteX3" fmla="*/ 10000 w 10000"/>
                <a:gd name="connsiteY3" fmla="*/ 5054 h 10000"/>
                <a:gd name="connsiteX4" fmla="*/ 9355 w 10000"/>
                <a:gd name="connsiteY4" fmla="*/ 6774 h 10000"/>
                <a:gd name="connsiteX5" fmla="*/ 6774 w 10000"/>
                <a:gd name="connsiteY5" fmla="*/ 9355 h 10000"/>
                <a:gd name="connsiteX6" fmla="*/ 5054 w 10000"/>
                <a:gd name="connsiteY6" fmla="*/ 10000 h 10000"/>
                <a:gd name="connsiteX7" fmla="*/ 3226 w 10000"/>
                <a:gd name="connsiteY7" fmla="*/ 10000 h 10000"/>
                <a:gd name="connsiteX8" fmla="*/ 0 w 10000"/>
                <a:gd name="connsiteY8" fmla="*/ 8280 h 10000"/>
                <a:gd name="connsiteX9" fmla="*/ 8280 w 10000"/>
                <a:gd name="connsiteY9" fmla="*/ 0 h 10000"/>
                <a:gd name="connsiteX0" fmla="*/ 8280 w 10000"/>
                <a:gd name="connsiteY0" fmla="*/ 0 h 10000"/>
                <a:gd name="connsiteX1" fmla="*/ 9355 w 10000"/>
                <a:gd name="connsiteY1" fmla="*/ 1505 h 10000"/>
                <a:gd name="connsiteX2" fmla="*/ 10000 w 10000"/>
                <a:gd name="connsiteY2" fmla="*/ 3226 h 10000"/>
                <a:gd name="connsiteX3" fmla="*/ 10000 w 10000"/>
                <a:gd name="connsiteY3" fmla="*/ 5054 h 10000"/>
                <a:gd name="connsiteX4" fmla="*/ 6774 w 10000"/>
                <a:gd name="connsiteY4" fmla="*/ 9355 h 10000"/>
                <a:gd name="connsiteX5" fmla="*/ 5054 w 10000"/>
                <a:gd name="connsiteY5" fmla="*/ 10000 h 10000"/>
                <a:gd name="connsiteX6" fmla="*/ 3226 w 10000"/>
                <a:gd name="connsiteY6" fmla="*/ 10000 h 10000"/>
                <a:gd name="connsiteX7" fmla="*/ 0 w 10000"/>
                <a:gd name="connsiteY7" fmla="*/ 8280 h 10000"/>
                <a:gd name="connsiteX8" fmla="*/ 8280 w 10000"/>
                <a:gd name="connsiteY8" fmla="*/ 0 h 10000"/>
                <a:gd name="connsiteX0" fmla="*/ 8280 w 10000"/>
                <a:gd name="connsiteY0" fmla="*/ 0 h 10000"/>
                <a:gd name="connsiteX1" fmla="*/ 9355 w 10000"/>
                <a:gd name="connsiteY1" fmla="*/ 1505 h 10000"/>
                <a:gd name="connsiteX2" fmla="*/ 10000 w 10000"/>
                <a:gd name="connsiteY2" fmla="*/ 3226 h 10000"/>
                <a:gd name="connsiteX3" fmla="*/ 6774 w 10000"/>
                <a:gd name="connsiteY3" fmla="*/ 9355 h 10000"/>
                <a:gd name="connsiteX4" fmla="*/ 5054 w 10000"/>
                <a:gd name="connsiteY4" fmla="*/ 10000 h 10000"/>
                <a:gd name="connsiteX5" fmla="*/ 3226 w 10000"/>
                <a:gd name="connsiteY5" fmla="*/ 10000 h 10000"/>
                <a:gd name="connsiteX6" fmla="*/ 0 w 10000"/>
                <a:gd name="connsiteY6" fmla="*/ 8280 h 10000"/>
                <a:gd name="connsiteX7" fmla="*/ 8280 w 10000"/>
                <a:gd name="connsiteY7" fmla="*/ 0 h 10000"/>
                <a:gd name="connsiteX0" fmla="*/ 8280 w 9355"/>
                <a:gd name="connsiteY0" fmla="*/ 0 h 10000"/>
                <a:gd name="connsiteX1" fmla="*/ 9355 w 9355"/>
                <a:gd name="connsiteY1" fmla="*/ 1505 h 10000"/>
                <a:gd name="connsiteX2" fmla="*/ 6774 w 9355"/>
                <a:gd name="connsiteY2" fmla="*/ 9355 h 10000"/>
                <a:gd name="connsiteX3" fmla="*/ 5054 w 9355"/>
                <a:gd name="connsiteY3" fmla="*/ 10000 h 10000"/>
                <a:gd name="connsiteX4" fmla="*/ 3226 w 9355"/>
                <a:gd name="connsiteY4" fmla="*/ 10000 h 10000"/>
                <a:gd name="connsiteX5" fmla="*/ 0 w 9355"/>
                <a:gd name="connsiteY5" fmla="*/ 8280 h 10000"/>
                <a:gd name="connsiteX6" fmla="*/ 8280 w 9355"/>
                <a:gd name="connsiteY6" fmla="*/ 0 h 10000"/>
                <a:gd name="connsiteX0" fmla="*/ 8851 w 10000"/>
                <a:gd name="connsiteY0" fmla="*/ 0 h 10000"/>
                <a:gd name="connsiteX1" fmla="*/ 10000 w 10000"/>
                <a:gd name="connsiteY1" fmla="*/ 1505 h 10000"/>
                <a:gd name="connsiteX2" fmla="*/ 5402 w 10000"/>
                <a:gd name="connsiteY2" fmla="*/ 10000 h 10000"/>
                <a:gd name="connsiteX3" fmla="*/ 3448 w 10000"/>
                <a:gd name="connsiteY3" fmla="*/ 10000 h 10000"/>
                <a:gd name="connsiteX4" fmla="*/ 0 w 10000"/>
                <a:gd name="connsiteY4" fmla="*/ 8280 h 10000"/>
                <a:gd name="connsiteX5" fmla="*/ 8851 w 10000"/>
                <a:gd name="connsiteY5" fmla="*/ 0 h 10000"/>
                <a:gd name="connsiteX0" fmla="*/ 8851 w 10000"/>
                <a:gd name="connsiteY0" fmla="*/ 0 h 10000"/>
                <a:gd name="connsiteX1" fmla="*/ 10000 w 10000"/>
                <a:gd name="connsiteY1" fmla="*/ 1505 h 10000"/>
                <a:gd name="connsiteX2" fmla="*/ 3448 w 10000"/>
                <a:gd name="connsiteY2" fmla="*/ 10000 h 10000"/>
                <a:gd name="connsiteX3" fmla="*/ 0 w 10000"/>
                <a:gd name="connsiteY3" fmla="*/ 8280 h 10000"/>
                <a:gd name="connsiteX4" fmla="*/ 8851 w 10000"/>
                <a:gd name="connsiteY4" fmla="*/ 0 h 10000"/>
                <a:gd name="connsiteX0" fmla="*/ 8851 w 10000"/>
                <a:gd name="connsiteY0" fmla="*/ 0 h 10000"/>
                <a:gd name="connsiteX1" fmla="*/ 10000 w 10000"/>
                <a:gd name="connsiteY1" fmla="*/ 1505 h 10000"/>
                <a:gd name="connsiteX2" fmla="*/ 3448 w 10000"/>
                <a:gd name="connsiteY2" fmla="*/ 10000 h 10000"/>
                <a:gd name="connsiteX3" fmla="*/ 3654 w 10000"/>
                <a:gd name="connsiteY3" fmla="*/ 9998 h 10000"/>
                <a:gd name="connsiteX4" fmla="*/ 0 w 10000"/>
                <a:gd name="connsiteY4" fmla="*/ 8280 h 10000"/>
                <a:gd name="connsiteX5" fmla="*/ 8851 w 10000"/>
                <a:gd name="connsiteY5" fmla="*/ 0 h 10000"/>
                <a:gd name="connsiteX0" fmla="*/ 8851 w 8851"/>
                <a:gd name="connsiteY0" fmla="*/ 0 h 10000"/>
                <a:gd name="connsiteX1" fmla="*/ 3448 w 8851"/>
                <a:gd name="connsiteY1" fmla="*/ 10000 h 10000"/>
                <a:gd name="connsiteX2" fmla="*/ 3654 w 8851"/>
                <a:gd name="connsiteY2" fmla="*/ 9998 h 10000"/>
                <a:gd name="connsiteX3" fmla="*/ 0 w 8851"/>
                <a:gd name="connsiteY3" fmla="*/ 8280 h 10000"/>
                <a:gd name="connsiteX4" fmla="*/ 8851 w 8851"/>
                <a:gd name="connsiteY4" fmla="*/ 0 h 10000"/>
                <a:gd name="connsiteX0" fmla="*/ 10000 w 10000"/>
                <a:gd name="connsiteY0" fmla="*/ 0 h 10000"/>
                <a:gd name="connsiteX1" fmla="*/ 3896 w 10000"/>
                <a:gd name="connsiteY1" fmla="*/ 10000 h 10000"/>
                <a:gd name="connsiteX2" fmla="*/ 0 w 10000"/>
                <a:gd name="connsiteY2" fmla="*/ 8280 h 10000"/>
                <a:gd name="connsiteX3" fmla="*/ 10000 w 10000"/>
                <a:gd name="connsiteY3" fmla="*/ 0 h 10000"/>
                <a:gd name="connsiteX0" fmla="*/ 10000 w 10000"/>
                <a:gd name="connsiteY0" fmla="*/ 0 h 8280"/>
                <a:gd name="connsiteX1" fmla="*/ 0 w 10000"/>
                <a:gd name="connsiteY1" fmla="*/ 8280 h 8280"/>
                <a:gd name="connsiteX2" fmla="*/ 10000 w 10000"/>
                <a:gd name="connsiteY2" fmla="*/ 0 h 8280"/>
                <a:gd name="connsiteX0" fmla="*/ 10000 w 10000"/>
                <a:gd name="connsiteY0" fmla="*/ 0 h 11581"/>
                <a:gd name="connsiteX1" fmla="*/ 0 w 10000"/>
                <a:gd name="connsiteY1" fmla="*/ 10000 h 11581"/>
                <a:gd name="connsiteX2" fmla="*/ 10000 w 10000"/>
                <a:gd name="connsiteY2" fmla="*/ 0 h 11581"/>
                <a:gd name="connsiteX0" fmla="*/ 10000 w 11964"/>
                <a:gd name="connsiteY0" fmla="*/ 0 h 11573"/>
                <a:gd name="connsiteX1" fmla="*/ 0 w 11964"/>
                <a:gd name="connsiteY1" fmla="*/ 10000 h 11573"/>
                <a:gd name="connsiteX2" fmla="*/ 10000 w 11964"/>
                <a:gd name="connsiteY2" fmla="*/ 0 h 11573"/>
                <a:gd name="connsiteX0" fmla="*/ 10000 w 11673"/>
                <a:gd name="connsiteY0" fmla="*/ 0 h 11930"/>
                <a:gd name="connsiteX1" fmla="*/ 0 w 11673"/>
                <a:gd name="connsiteY1" fmla="*/ 10000 h 11930"/>
                <a:gd name="connsiteX2" fmla="*/ 10000 w 11673"/>
                <a:gd name="connsiteY2" fmla="*/ 0 h 11930"/>
                <a:gd name="connsiteX0" fmla="*/ 10000 w 12260"/>
                <a:gd name="connsiteY0" fmla="*/ 0 h 11930"/>
                <a:gd name="connsiteX1" fmla="*/ 0 w 12260"/>
                <a:gd name="connsiteY1" fmla="*/ 10000 h 11930"/>
                <a:gd name="connsiteX2" fmla="*/ 10000 w 12260"/>
                <a:gd name="connsiteY2" fmla="*/ 0 h 11930"/>
                <a:gd name="connsiteX0" fmla="*/ 10000 w 12102"/>
                <a:gd name="connsiteY0" fmla="*/ 0 h 11750"/>
                <a:gd name="connsiteX1" fmla="*/ 0 w 12102"/>
                <a:gd name="connsiteY1" fmla="*/ 10000 h 11750"/>
                <a:gd name="connsiteX2" fmla="*/ 10000 w 12102"/>
                <a:gd name="connsiteY2" fmla="*/ 0 h 11750"/>
                <a:gd name="connsiteX0" fmla="*/ 10000 w 12102"/>
                <a:gd name="connsiteY0" fmla="*/ 0 h 11750"/>
                <a:gd name="connsiteX1" fmla="*/ 0 w 12102"/>
                <a:gd name="connsiteY1" fmla="*/ 10000 h 11750"/>
                <a:gd name="connsiteX2" fmla="*/ 10000 w 12102"/>
                <a:gd name="connsiteY2" fmla="*/ 0 h 11750"/>
                <a:gd name="connsiteX0" fmla="*/ 10000 w 12102"/>
                <a:gd name="connsiteY0" fmla="*/ 0 h 11750"/>
                <a:gd name="connsiteX1" fmla="*/ 0 w 12102"/>
                <a:gd name="connsiteY1" fmla="*/ 10000 h 11750"/>
                <a:gd name="connsiteX2" fmla="*/ 10000 w 12102"/>
                <a:gd name="connsiteY2" fmla="*/ 0 h 11750"/>
                <a:gd name="connsiteX0" fmla="*/ 10000 w 12143"/>
                <a:gd name="connsiteY0" fmla="*/ 0 h 11776"/>
                <a:gd name="connsiteX1" fmla="*/ 0 w 12143"/>
                <a:gd name="connsiteY1" fmla="*/ 10000 h 11776"/>
                <a:gd name="connsiteX2" fmla="*/ 10000 w 12143"/>
                <a:gd name="connsiteY2" fmla="*/ 0 h 11776"/>
              </a:gdLst>
              <a:ahLst/>
              <a:cxnLst>
                <a:cxn ang="0">
                  <a:pos x="connsiteX0" y="connsiteY0"/>
                </a:cxn>
                <a:cxn ang="0">
                  <a:pos x="connsiteX1" y="connsiteY1"/>
                </a:cxn>
                <a:cxn ang="0">
                  <a:pos x="connsiteX2" y="connsiteY2"/>
                </a:cxn>
              </a:cxnLst>
              <a:rect l="l" t="t" r="r" b="b"/>
              <a:pathLst>
                <a:path w="12143" h="11776">
                  <a:moveTo>
                    <a:pt x="10000" y="0"/>
                  </a:moveTo>
                  <a:cubicBezTo>
                    <a:pt x="15025" y="3523"/>
                    <a:pt x="11026" y="16450"/>
                    <a:pt x="0" y="10000"/>
                  </a:cubicBezTo>
                  <a:cubicBezTo>
                    <a:pt x="5517" y="9992"/>
                    <a:pt x="9421" y="5518"/>
                    <a:pt x="10000" y="0"/>
                  </a:cubicBezTo>
                  <a:close/>
                </a:path>
              </a:pathLst>
            </a:custGeom>
            <a:solidFill>
              <a:srgbClr val="6D2077"/>
            </a:solidFill>
            <a:ln w="0">
              <a:noFill/>
              <a:prstDash val="solid"/>
              <a:round/>
              <a:headEnd/>
              <a:tailEnd/>
            </a:ln>
          </p:spPr>
          <p:txBody>
            <a:bodyPr vert="horz" wrap="square" lIns="68580" tIns="34290" rIns="68580" bIns="34290" numCol="1" anchor="t" anchorCtr="0" compatLnSpc="1">
              <a:prstTxWarp prst="textNoShape">
                <a:avLst/>
              </a:prstTxWarp>
            </a:bodyPr>
            <a:lstStyle/>
            <a:p>
              <a:pPr>
                <a:defRPr/>
              </a:pPr>
              <a:endParaRPr lang="en-US" sz="1350" kern="0">
                <a:solidFill>
                  <a:prstClr val="black"/>
                </a:solidFill>
                <a:latin typeface="Arial" panose="020B0604020202020204" pitchFamily="34" charset="0"/>
                <a:cs typeface="Arial" panose="020B0604020202020204" pitchFamily="34" charset="0"/>
              </a:endParaRPr>
            </a:p>
          </p:txBody>
        </p:sp>
        <p:sp>
          <p:nvSpPr>
            <p:cNvPr id="135" name="Freeform 131"/>
            <p:cNvSpPr>
              <a:spLocks/>
            </p:cNvSpPr>
            <p:nvPr/>
          </p:nvSpPr>
          <p:spPr bwMode="auto">
            <a:xfrm>
              <a:off x="5188368" y="2816788"/>
              <a:ext cx="43466" cy="43051"/>
            </a:xfrm>
            <a:custGeom>
              <a:avLst/>
              <a:gdLst>
                <a:gd name="T0" fmla="*/ 14 w 52"/>
                <a:gd name="T1" fmla="*/ 0 h 53"/>
                <a:gd name="T2" fmla="*/ 31 w 52"/>
                <a:gd name="T3" fmla="*/ 20 h 53"/>
                <a:gd name="T4" fmla="*/ 52 w 52"/>
                <a:gd name="T5" fmla="*/ 38 h 53"/>
                <a:gd name="T6" fmla="*/ 24 w 52"/>
                <a:gd name="T7" fmla="*/ 53 h 53"/>
                <a:gd name="T8" fmla="*/ 0 w 52"/>
                <a:gd name="T9" fmla="*/ 29 h 53"/>
                <a:gd name="T10" fmla="*/ 14 w 52"/>
                <a:gd name="T11" fmla="*/ 0 h 53"/>
              </a:gdLst>
              <a:ahLst/>
              <a:cxnLst>
                <a:cxn ang="0">
                  <a:pos x="T0" y="T1"/>
                </a:cxn>
                <a:cxn ang="0">
                  <a:pos x="T2" y="T3"/>
                </a:cxn>
                <a:cxn ang="0">
                  <a:pos x="T4" y="T5"/>
                </a:cxn>
                <a:cxn ang="0">
                  <a:pos x="T6" y="T7"/>
                </a:cxn>
                <a:cxn ang="0">
                  <a:pos x="T8" y="T9"/>
                </a:cxn>
                <a:cxn ang="0">
                  <a:pos x="T10" y="T11"/>
                </a:cxn>
              </a:cxnLst>
              <a:rect l="0" t="0" r="r" b="b"/>
              <a:pathLst>
                <a:path w="52" h="53">
                  <a:moveTo>
                    <a:pt x="14" y="0"/>
                  </a:moveTo>
                  <a:lnTo>
                    <a:pt x="31" y="20"/>
                  </a:lnTo>
                  <a:lnTo>
                    <a:pt x="52" y="38"/>
                  </a:lnTo>
                  <a:lnTo>
                    <a:pt x="24" y="53"/>
                  </a:lnTo>
                  <a:lnTo>
                    <a:pt x="0" y="29"/>
                  </a:lnTo>
                  <a:lnTo>
                    <a:pt x="14" y="0"/>
                  </a:lnTo>
                  <a:close/>
                </a:path>
              </a:pathLst>
            </a:custGeom>
            <a:solidFill>
              <a:srgbClr val="6D2077"/>
            </a:solidFill>
            <a:ln w="0">
              <a:noFill/>
              <a:prstDash val="solid"/>
              <a:round/>
              <a:headEnd/>
              <a:tailEnd/>
            </a:ln>
          </p:spPr>
          <p:txBody>
            <a:bodyPr vert="horz" wrap="square" lIns="68580" tIns="34290" rIns="68580" bIns="34290" numCol="1" anchor="t" anchorCtr="0" compatLnSpc="1">
              <a:prstTxWarp prst="textNoShape">
                <a:avLst/>
              </a:prstTxWarp>
            </a:bodyPr>
            <a:lstStyle/>
            <a:p>
              <a:pPr>
                <a:defRPr/>
              </a:pPr>
              <a:endParaRPr lang="en-US" sz="1350" kern="0">
                <a:solidFill>
                  <a:prstClr val="black"/>
                </a:solidFill>
                <a:latin typeface="Arial" panose="020B0604020202020204" pitchFamily="34" charset="0"/>
                <a:cs typeface="Arial" panose="020B0604020202020204" pitchFamily="34" charset="0"/>
              </a:endParaRPr>
            </a:p>
          </p:txBody>
        </p:sp>
        <p:sp>
          <p:nvSpPr>
            <p:cNvPr id="127" name="Oval Callout 62"/>
            <p:cNvSpPr/>
            <p:nvPr/>
          </p:nvSpPr>
          <p:spPr>
            <a:xfrm>
              <a:off x="2548124" y="2894696"/>
              <a:ext cx="744578" cy="716028"/>
            </a:xfrm>
            <a:prstGeom prst="wedgeEllipseCallout">
              <a:avLst>
                <a:gd name="adj1" fmla="val 740"/>
                <a:gd name="adj2" fmla="val 93698"/>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28" name="Oval 63"/>
            <p:cNvSpPr/>
            <p:nvPr/>
          </p:nvSpPr>
          <p:spPr>
            <a:xfrm>
              <a:off x="2598353" y="2945256"/>
              <a:ext cx="644120" cy="627108"/>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24" name="Freeform 169"/>
            <p:cNvSpPr>
              <a:spLocks/>
            </p:cNvSpPr>
            <p:nvPr/>
          </p:nvSpPr>
          <p:spPr bwMode="auto">
            <a:xfrm>
              <a:off x="2949836" y="3254802"/>
              <a:ext cx="183599" cy="154685"/>
            </a:xfrm>
            <a:custGeom>
              <a:avLst/>
              <a:gdLst>
                <a:gd name="T0" fmla="*/ 78 w 156"/>
                <a:gd name="T1" fmla="*/ 0 h 135"/>
                <a:gd name="T2" fmla="*/ 54 w 156"/>
                <a:gd name="T3" fmla="*/ 3 h 135"/>
                <a:gd name="T4" fmla="*/ 33 w 156"/>
                <a:gd name="T5" fmla="*/ 12 h 135"/>
                <a:gd name="T6" fmla="*/ 16 w 156"/>
                <a:gd name="T7" fmla="*/ 25 h 135"/>
                <a:gd name="T8" fmla="*/ 4 w 156"/>
                <a:gd name="T9" fmla="*/ 42 h 135"/>
                <a:gd name="T10" fmla="*/ 0 w 156"/>
                <a:gd name="T11" fmla="*/ 60 h 135"/>
                <a:gd name="T12" fmla="*/ 2 w 156"/>
                <a:gd name="T13" fmla="*/ 76 h 135"/>
                <a:gd name="T14" fmla="*/ 10 w 156"/>
                <a:gd name="T15" fmla="*/ 89 h 135"/>
                <a:gd name="T16" fmla="*/ 21 w 156"/>
                <a:gd name="T17" fmla="*/ 102 h 135"/>
                <a:gd name="T18" fmla="*/ 35 w 156"/>
                <a:gd name="T19" fmla="*/ 111 h 135"/>
                <a:gd name="T20" fmla="*/ 31 w 156"/>
                <a:gd name="T21" fmla="*/ 118 h 135"/>
                <a:gd name="T22" fmla="*/ 26 w 156"/>
                <a:gd name="T23" fmla="*/ 123 h 135"/>
                <a:gd name="T24" fmla="*/ 21 w 156"/>
                <a:gd name="T25" fmla="*/ 128 h 135"/>
                <a:gd name="T26" fmla="*/ 13 w 156"/>
                <a:gd name="T27" fmla="*/ 135 h 135"/>
                <a:gd name="T28" fmla="*/ 22 w 156"/>
                <a:gd name="T29" fmla="*/ 135 h 135"/>
                <a:gd name="T30" fmla="*/ 35 w 156"/>
                <a:gd name="T31" fmla="*/ 135 h 135"/>
                <a:gd name="T32" fmla="*/ 51 w 156"/>
                <a:gd name="T33" fmla="*/ 132 h 135"/>
                <a:gd name="T34" fmla="*/ 67 w 156"/>
                <a:gd name="T35" fmla="*/ 128 h 135"/>
                <a:gd name="T36" fmla="*/ 81 w 156"/>
                <a:gd name="T37" fmla="*/ 122 h 135"/>
                <a:gd name="T38" fmla="*/ 105 w 156"/>
                <a:gd name="T39" fmla="*/ 118 h 135"/>
                <a:gd name="T40" fmla="*/ 126 w 156"/>
                <a:gd name="T41" fmla="*/ 109 h 135"/>
                <a:gd name="T42" fmla="*/ 141 w 156"/>
                <a:gd name="T43" fmla="*/ 95 h 135"/>
                <a:gd name="T44" fmla="*/ 152 w 156"/>
                <a:gd name="T45" fmla="*/ 80 h 135"/>
                <a:gd name="T46" fmla="*/ 156 w 156"/>
                <a:gd name="T47" fmla="*/ 60 h 135"/>
                <a:gd name="T48" fmla="*/ 152 w 156"/>
                <a:gd name="T49" fmla="*/ 42 h 135"/>
                <a:gd name="T50" fmla="*/ 141 w 156"/>
                <a:gd name="T51" fmla="*/ 25 h 135"/>
                <a:gd name="T52" fmla="*/ 124 w 156"/>
                <a:gd name="T53" fmla="*/ 12 h 135"/>
                <a:gd name="T54" fmla="*/ 103 w 156"/>
                <a:gd name="T55" fmla="*/ 3 h 135"/>
                <a:gd name="T56" fmla="*/ 78 w 156"/>
                <a:gd name="T57"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6" h="135">
                  <a:moveTo>
                    <a:pt x="78" y="0"/>
                  </a:moveTo>
                  <a:lnTo>
                    <a:pt x="54" y="3"/>
                  </a:lnTo>
                  <a:lnTo>
                    <a:pt x="33" y="12"/>
                  </a:lnTo>
                  <a:lnTo>
                    <a:pt x="16" y="25"/>
                  </a:lnTo>
                  <a:lnTo>
                    <a:pt x="4" y="42"/>
                  </a:lnTo>
                  <a:lnTo>
                    <a:pt x="0" y="60"/>
                  </a:lnTo>
                  <a:lnTo>
                    <a:pt x="2" y="76"/>
                  </a:lnTo>
                  <a:lnTo>
                    <a:pt x="10" y="89"/>
                  </a:lnTo>
                  <a:lnTo>
                    <a:pt x="21" y="102"/>
                  </a:lnTo>
                  <a:lnTo>
                    <a:pt x="35" y="111"/>
                  </a:lnTo>
                  <a:lnTo>
                    <a:pt x="31" y="118"/>
                  </a:lnTo>
                  <a:lnTo>
                    <a:pt x="26" y="123"/>
                  </a:lnTo>
                  <a:lnTo>
                    <a:pt x="21" y="128"/>
                  </a:lnTo>
                  <a:lnTo>
                    <a:pt x="13" y="135"/>
                  </a:lnTo>
                  <a:lnTo>
                    <a:pt x="22" y="135"/>
                  </a:lnTo>
                  <a:lnTo>
                    <a:pt x="35" y="135"/>
                  </a:lnTo>
                  <a:lnTo>
                    <a:pt x="51" y="132"/>
                  </a:lnTo>
                  <a:lnTo>
                    <a:pt x="67" y="128"/>
                  </a:lnTo>
                  <a:lnTo>
                    <a:pt x="81" y="122"/>
                  </a:lnTo>
                  <a:lnTo>
                    <a:pt x="105" y="118"/>
                  </a:lnTo>
                  <a:lnTo>
                    <a:pt x="126" y="109"/>
                  </a:lnTo>
                  <a:lnTo>
                    <a:pt x="141" y="95"/>
                  </a:lnTo>
                  <a:lnTo>
                    <a:pt x="152" y="80"/>
                  </a:lnTo>
                  <a:lnTo>
                    <a:pt x="156" y="60"/>
                  </a:lnTo>
                  <a:lnTo>
                    <a:pt x="152" y="42"/>
                  </a:lnTo>
                  <a:lnTo>
                    <a:pt x="141" y="25"/>
                  </a:lnTo>
                  <a:lnTo>
                    <a:pt x="124" y="12"/>
                  </a:lnTo>
                  <a:lnTo>
                    <a:pt x="103" y="3"/>
                  </a:lnTo>
                  <a:lnTo>
                    <a:pt x="78" y="0"/>
                  </a:lnTo>
                  <a:close/>
                </a:path>
              </a:pathLst>
            </a:custGeom>
            <a:solidFill>
              <a:srgbClr val="483698"/>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200">
                <a:solidFill>
                  <a:schemeClr val="tx2"/>
                </a:solidFill>
                <a:latin typeface="Arial" panose="020B0604020202020204" pitchFamily="34" charset="0"/>
                <a:cs typeface="Arial" panose="020B0604020202020204" pitchFamily="34" charset="0"/>
              </a:endParaRPr>
            </a:p>
          </p:txBody>
        </p:sp>
        <p:sp>
          <p:nvSpPr>
            <p:cNvPr id="125" name="Freeform 170"/>
            <p:cNvSpPr>
              <a:spLocks/>
            </p:cNvSpPr>
            <p:nvPr/>
          </p:nvSpPr>
          <p:spPr bwMode="auto">
            <a:xfrm>
              <a:off x="2707390" y="3302925"/>
              <a:ext cx="114162" cy="96249"/>
            </a:xfrm>
            <a:custGeom>
              <a:avLst/>
              <a:gdLst>
                <a:gd name="T0" fmla="*/ 76 w 97"/>
                <a:gd name="T1" fmla="*/ 69 h 84"/>
                <a:gd name="T2" fmla="*/ 88 w 97"/>
                <a:gd name="T3" fmla="*/ 61 h 84"/>
                <a:gd name="T4" fmla="*/ 95 w 97"/>
                <a:gd name="T5" fmla="*/ 50 h 84"/>
                <a:gd name="T6" fmla="*/ 97 w 97"/>
                <a:gd name="T7" fmla="*/ 38 h 84"/>
                <a:gd name="T8" fmla="*/ 93 w 97"/>
                <a:gd name="T9" fmla="*/ 23 h 84"/>
                <a:gd name="T10" fmla="*/ 83 w 97"/>
                <a:gd name="T11" fmla="*/ 12 h 84"/>
                <a:gd name="T12" fmla="*/ 68 w 97"/>
                <a:gd name="T13" fmla="*/ 2 h 84"/>
                <a:gd name="T14" fmla="*/ 49 w 97"/>
                <a:gd name="T15" fmla="*/ 0 h 84"/>
                <a:gd name="T16" fmla="*/ 30 w 97"/>
                <a:gd name="T17" fmla="*/ 2 h 84"/>
                <a:gd name="T18" fmla="*/ 15 w 97"/>
                <a:gd name="T19" fmla="*/ 12 h 84"/>
                <a:gd name="T20" fmla="*/ 4 w 97"/>
                <a:gd name="T21" fmla="*/ 23 h 84"/>
                <a:gd name="T22" fmla="*/ 0 w 97"/>
                <a:gd name="T23" fmla="*/ 38 h 84"/>
                <a:gd name="T24" fmla="*/ 4 w 97"/>
                <a:gd name="T25" fmla="*/ 52 h 84"/>
                <a:gd name="T26" fmla="*/ 15 w 97"/>
                <a:gd name="T27" fmla="*/ 64 h 84"/>
                <a:gd name="T28" fmla="*/ 29 w 97"/>
                <a:gd name="T29" fmla="*/ 72 h 84"/>
                <a:gd name="T30" fmla="*/ 47 w 97"/>
                <a:gd name="T31" fmla="*/ 76 h 84"/>
                <a:gd name="T32" fmla="*/ 59 w 97"/>
                <a:gd name="T33" fmla="*/ 81 h 84"/>
                <a:gd name="T34" fmla="*/ 74 w 97"/>
                <a:gd name="T35" fmla="*/ 84 h 84"/>
                <a:gd name="T36" fmla="*/ 84 w 97"/>
                <a:gd name="T37" fmla="*/ 84 h 84"/>
                <a:gd name="T38" fmla="*/ 91 w 97"/>
                <a:gd name="T39" fmla="*/ 84 h 84"/>
                <a:gd name="T40" fmla="*/ 85 w 97"/>
                <a:gd name="T41" fmla="*/ 80 h 84"/>
                <a:gd name="T42" fmla="*/ 80 w 97"/>
                <a:gd name="T43" fmla="*/ 74 h 84"/>
                <a:gd name="T44" fmla="*/ 76 w 97"/>
                <a:gd name="T45" fmla="*/ 6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84">
                  <a:moveTo>
                    <a:pt x="76" y="69"/>
                  </a:moveTo>
                  <a:lnTo>
                    <a:pt x="88" y="61"/>
                  </a:lnTo>
                  <a:lnTo>
                    <a:pt x="95" y="50"/>
                  </a:lnTo>
                  <a:lnTo>
                    <a:pt x="97" y="38"/>
                  </a:lnTo>
                  <a:lnTo>
                    <a:pt x="93" y="23"/>
                  </a:lnTo>
                  <a:lnTo>
                    <a:pt x="83" y="12"/>
                  </a:lnTo>
                  <a:lnTo>
                    <a:pt x="68" y="2"/>
                  </a:lnTo>
                  <a:lnTo>
                    <a:pt x="49" y="0"/>
                  </a:lnTo>
                  <a:lnTo>
                    <a:pt x="30" y="2"/>
                  </a:lnTo>
                  <a:lnTo>
                    <a:pt x="15" y="12"/>
                  </a:lnTo>
                  <a:lnTo>
                    <a:pt x="4" y="23"/>
                  </a:lnTo>
                  <a:lnTo>
                    <a:pt x="0" y="38"/>
                  </a:lnTo>
                  <a:lnTo>
                    <a:pt x="4" y="52"/>
                  </a:lnTo>
                  <a:lnTo>
                    <a:pt x="15" y="64"/>
                  </a:lnTo>
                  <a:lnTo>
                    <a:pt x="29" y="72"/>
                  </a:lnTo>
                  <a:lnTo>
                    <a:pt x="47" y="76"/>
                  </a:lnTo>
                  <a:lnTo>
                    <a:pt x="59" y="81"/>
                  </a:lnTo>
                  <a:lnTo>
                    <a:pt x="74" y="84"/>
                  </a:lnTo>
                  <a:lnTo>
                    <a:pt x="84" y="84"/>
                  </a:lnTo>
                  <a:lnTo>
                    <a:pt x="91" y="84"/>
                  </a:lnTo>
                  <a:lnTo>
                    <a:pt x="85" y="80"/>
                  </a:lnTo>
                  <a:lnTo>
                    <a:pt x="80" y="74"/>
                  </a:lnTo>
                  <a:lnTo>
                    <a:pt x="76" y="69"/>
                  </a:lnTo>
                  <a:close/>
                </a:path>
              </a:pathLst>
            </a:custGeom>
            <a:solidFill>
              <a:srgbClr val="483698"/>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200">
                <a:solidFill>
                  <a:schemeClr val="tx2"/>
                </a:solidFill>
                <a:latin typeface="Arial" panose="020B0604020202020204" pitchFamily="34" charset="0"/>
                <a:cs typeface="Arial" panose="020B0604020202020204" pitchFamily="34" charset="0"/>
              </a:endParaRPr>
            </a:p>
          </p:txBody>
        </p:sp>
        <p:sp>
          <p:nvSpPr>
            <p:cNvPr id="126" name="Freeform 171"/>
            <p:cNvSpPr>
              <a:spLocks noEditPoints="1"/>
            </p:cNvSpPr>
            <p:nvPr/>
          </p:nvSpPr>
          <p:spPr bwMode="auto">
            <a:xfrm>
              <a:off x="2790951" y="3108136"/>
              <a:ext cx="320123" cy="272705"/>
            </a:xfrm>
            <a:custGeom>
              <a:avLst/>
              <a:gdLst>
                <a:gd name="T0" fmla="*/ 233 w 272"/>
                <a:gd name="T1" fmla="*/ 123 h 238"/>
                <a:gd name="T2" fmla="*/ 267 w 272"/>
                <a:gd name="T3" fmla="*/ 136 h 238"/>
                <a:gd name="T4" fmla="*/ 272 w 272"/>
                <a:gd name="T5" fmla="*/ 107 h 238"/>
                <a:gd name="T6" fmla="*/ 259 w 272"/>
                <a:gd name="T7" fmla="*/ 60 h 238"/>
                <a:gd name="T8" fmla="*/ 221 w 272"/>
                <a:gd name="T9" fmla="*/ 23 h 238"/>
                <a:gd name="T10" fmla="*/ 168 w 272"/>
                <a:gd name="T11" fmla="*/ 4 h 238"/>
                <a:gd name="T12" fmla="*/ 105 w 272"/>
                <a:gd name="T13" fmla="*/ 4 h 238"/>
                <a:gd name="T14" fmla="*/ 51 w 272"/>
                <a:gd name="T15" fmla="*/ 23 h 238"/>
                <a:gd name="T16" fmla="*/ 14 w 272"/>
                <a:gd name="T17" fmla="*/ 60 h 238"/>
                <a:gd name="T18" fmla="*/ 0 w 272"/>
                <a:gd name="T19" fmla="*/ 107 h 238"/>
                <a:gd name="T20" fmla="*/ 11 w 272"/>
                <a:gd name="T21" fmla="*/ 148 h 238"/>
                <a:gd name="T22" fmla="*/ 41 w 272"/>
                <a:gd name="T23" fmla="*/ 182 h 238"/>
                <a:gd name="T24" fmla="*/ 50 w 272"/>
                <a:gd name="T25" fmla="*/ 212 h 238"/>
                <a:gd name="T26" fmla="*/ 21 w 272"/>
                <a:gd name="T27" fmla="*/ 238 h 238"/>
                <a:gd name="T28" fmla="*/ 55 w 272"/>
                <a:gd name="T29" fmla="*/ 237 h 238"/>
                <a:gd name="T30" fmla="*/ 96 w 272"/>
                <a:gd name="T31" fmla="*/ 231 h 238"/>
                <a:gd name="T32" fmla="*/ 135 w 272"/>
                <a:gd name="T33" fmla="*/ 217 h 238"/>
                <a:gd name="T34" fmla="*/ 128 w 272"/>
                <a:gd name="T35" fmla="*/ 188 h 238"/>
                <a:gd name="T36" fmla="*/ 140 w 272"/>
                <a:gd name="T37" fmla="*/ 154 h 238"/>
                <a:gd name="T38" fmla="*/ 170 w 272"/>
                <a:gd name="T39" fmla="*/ 129 h 238"/>
                <a:gd name="T40" fmla="*/ 213 w 272"/>
                <a:gd name="T41" fmla="*/ 120 h 238"/>
                <a:gd name="T42" fmla="*/ 195 w 272"/>
                <a:gd name="T43" fmla="*/ 70 h 238"/>
                <a:gd name="T44" fmla="*/ 204 w 272"/>
                <a:gd name="T45" fmla="*/ 77 h 238"/>
                <a:gd name="T46" fmla="*/ 208 w 272"/>
                <a:gd name="T47" fmla="*/ 87 h 238"/>
                <a:gd name="T48" fmla="*/ 204 w 272"/>
                <a:gd name="T49" fmla="*/ 98 h 238"/>
                <a:gd name="T50" fmla="*/ 195 w 272"/>
                <a:gd name="T51" fmla="*/ 103 h 238"/>
                <a:gd name="T52" fmla="*/ 185 w 272"/>
                <a:gd name="T53" fmla="*/ 103 h 238"/>
                <a:gd name="T54" fmla="*/ 175 w 272"/>
                <a:gd name="T55" fmla="*/ 98 h 238"/>
                <a:gd name="T56" fmla="*/ 173 w 272"/>
                <a:gd name="T57" fmla="*/ 87 h 238"/>
                <a:gd name="T58" fmla="*/ 175 w 272"/>
                <a:gd name="T59" fmla="*/ 77 h 238"/>
                <a:gd name="T60" fmla="*/ 185 w 272"/>
                <a:gd name="T61" fmla="*/ 70 h 238"/>
                <a:gd name="T62" fmla="*/ 81 w 272"/>
                <a:gd name="T63" fmla="*/ 104 h 238"/>
                <a:gd name="T64" fmla="*/ 71 w 272"/>
                <a:gd name="T65" fmla="*/ 102 h 238"/>
                <a:gd name="T66" fmla="*/ 64 w 272"/>
                <a:gd name="T67" fmla="*/ 93 h 238"/>
                <a:gd name="T68" fmla="*/ 64 w 272"/>
                <a:gd name="T69" fmla="*/ 82 h 238"/>
                <a:gd name="T70" fmla="*/ 71 w 272"/>
                <a:gd name="T71" fmla="*/ 73 h 238"/>
                <a:gd name="T72" fmla="*/ 81 w 272"/>
                <a:gd name="T73" fmla="*/ 70 h 238"/>
                <a:gd name="T74" fmla="*/ 92 w 272"/>
                <a:gd name="T75" fmla="*/ 73 h 238"/>
                <a:gd name="T76" fmla="*/ 98 w 272"/>
                <a:gd name="T77" fmla="*/ 82 h 238"/>
                <a:gd name="T78" fmla="*/ 98 w 272"/>
                <a:gd name="T79" fmla="*/ 93 h 238"/>
                <a:gd name="T80" fmla="*/ 92 w 272"/>
                <a:gd name="T81" fmla="*/ 102 h 238"/>
                <a:gd name="T82" fmla="*/ 81 w 272"/>
                <a:gd name="T83" fmla="*/ 104 h 238"/>
                <a:gd name="T84" fmla="*/ 120 w 272"/>
                <a:gd name="T85" fmla="*/ 82 h 238"/>
                <a:gd name="T86" fmla="*/ 127 w 272"/>
                <a:gd name="T87" fmla="*/ 73 h 238"/>
                <a:gd name="T88" fmla="*/ 137 w 272"/>
                <a:gd name="T89" fmla="*/ 70 h 238"/>
                <a:gd name="T90" fmla="*/ 148 w 272"/>
                <a:gd name="T91" fmla="*/ 73 h 238"/>
                <a:gd name="T92" fmla="*/ 155 w 272"/>
                <a:gd name="T93" fmla="*/ 82 h 238"/>
                <a:gd name="T94" fmla="*/ 155 w 272"/>
                <a:gd name="T95" fmla="*/ 93 h 238"/>
                <a:gd name="T96" fmla="*/ 148 w 272"/>
                <a:gd name="T97" fmla="*/ 102 h 238"/>
                <a:gd name="T98" fmla="*/ 137 w 272"/>
                <a:gd name="T99" fmla="*/ 104 h 238"/>
                <a:gd name="T100" fmla="*/ 127 w 272"/>
                <a:gd name="T101" fmla="*/ 102 h 238"/>
                <a:gd name="T102" fmla="*/ 120 w 272"/>
                <a:gd name="T103" fmla="*/ 93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2" h="238">
                  <a:moveTo>
                    <a:pt x="213" y="120"/>
                  </a:moveTo>
                  <a:lnTo>
                    <a:pt x="233" y="123"/>
                  </a:lnTo>
                  <a:lnTo>
                    <a:pt x="251" y="128"/>
                  </a:lnTo>
                  <a:lnTo>
                    <a:pt x="267" y="136"/>
                  </a:lnTo>
                  <a:lnTo>
                    <a:pt x="271" y="121"/>
                  </a:lnTo>
                  <a:lnTo>
                    <a:pt x="272" y="107"/>
                  </a:lnTo>
                  <a:lnTo>
                    <a:pt x="270" y="82"/>
                  </a:lnTo>
                  <a:lnTo>
                    <a:pt x="259" y="60"/>
                  </a:lnTo>
                  <a:lnTo>
                    <a:pt x="242" y="40"/>
                  </a:lnTo>
                  <a:lnTo>
                    <a:pt x="221" y="23"/>
                  </a:lnTo>
                  <a:lnTo>
                    <a:pt x="196" y="11"/>
                  </a:lnTo>
                  <a:lnTo>
                    <a:pt x="168" y="4"/>
                  </a:lnTo>
                  <a:lnTo>
                    <a:pt x="136" y="0"/>
                  </a:lnTo>
                  <a:lnTo>
                    <a:pt x="105" y="4"/>
                  </a:lnTo>
                  <a:lnTo>
                    <a:pt x="76" y="11"/>
                  </a:lnTo>
                  <a:lnTo>
                    <a:pt x="51" y="23"/>
                  </a:lnTo>
                  <a:lnTo>
                    <a:pt x="30" y="40"/>
                  </a:lnTo>
                  <a:lnTo>
                    <a:pt x="14" y="60"/>
                  </a:lnTo>
                  <a:lnTo>
                    <a:pt x="4" y="82"/>
                  </a:lnTo>
                  <a:lnTo>
                    <a:pt x="0" y="107"/>
                  </a:lnTo>
                  <a:lnTo>
                    <a:pt x="3" y="128"/>
                  </a:lnTo>
                  <a:lnTo>
                    <a:pt x="11" y="148"/>
                  </a:lnTo>
                  <a:lnTo>
                    <a:pt x="24" y="166"/>
                  </a:lnTo>
                  <a:lnTo>
                    <a:pt x="41" y="182"/>
                  </a:lnTo>
                  <a:lnTo>
                    <a:pt x="60" y="195"/>
                  </a:lnTo>
                  <a:lnTo>
                    <a:pt x="50" y="212"/>
                  </a:lnTo>
                  <a:lnTo>
                    <a:pt x="35" y="226"/>
                  </a:lnTo>
                  <a:lnTo>
                    <a:pt x="21" y="238"/>
                  </a:lnTo>
                  <a:lnTo>
                    <a:pt x="39" y="238"/>
                  </a:lnTo>
                  <a:lnTo>
                    <a:pt x="55" y="237"/>
                  </a:lnTo>
                  <a:lnTo>
                    <a:pt x="73" y="235"/>
                  </a:lnTo>
                  <a:lnTo>
                    <a:pt x="96" y="231"/>
                  </a:lnTo>
                  <a:lnTo>
                    <a:pt x="117" y="225"/>
                  </a:lnTo>
                  <a:lnTo>
                    <a:pt x="135" y="217"/>
                  </a:lnTo>
                  <a:lnTo>
                    <a:pt x="130" y="203"/>
                  </a:lnTo>
                  <a:lnTo>
                    <a:pt x="128" y="188"/>
                  </a:lnTo>
                  <a:lnTo>
                    <a:pt x="131" y="170"/>
                  </a:lnTo>
                  <a:lnTo>
                    <a:pt x="140" y="154"/>
                  </a:lnTo>
                  <a:lnTo>
                    <a:pt x="153" y="140"/>
                  </a:lnTo>
                  <a:lnTo>
                    <a:pt x="170" y="129"/>
                  </a:lnTo>
                  <a:lnTo>
                    <a:pt x="191" y="123"/>
                  </a:lnTo>
                  <a:lnTo>
                    <a:pt x="213" y="120"/>
                  </a:lnTo>
                  <a:close/>
                  <a:moveTo>
                    <a:pt x="190" y="70"/>
                  </a:moveTo>
                  <a:lnTo>
                    <a:pt x="195" y="70"/>
                  </a:lnTo>
                  <a:lnTo>
                    <a:pt x="200" y="73"/>
                  </a:lnTo>
                  <a:lnTo>
                    <a:pt x="204" y="77"/>
                  </a:lnTo>
                  <a:lnTo>
                    <a:pt x="207" y="82"/>
                  </a:lnTo>
                  <a:lnTo>
                    <a:pt x="208" y="87"/>
                  </a:lnTo>
                  <a:lnTo>
                    <a:pt x="207" y="93"/>
                  </a:lnTo>
                  <a:lnTo>
                    <a:pt x="204" y="98"/>
                  </a:lnTo>
                  <a:lnTo>
                    <a:pt x="200" y="102"/>
                  </a:lnTo>
                  <a:lnTo>
                    <a:pt x="195" y="103"/>
                  </a:lnTo>
                  <a:lnTo>
                    <a:pt x="190" y="104"/>
                  </a:lnTo>
                  <a:lnTo>
                    <a:pt x="185" y="103"/>
                  </a:lnTo>
                  <a:lnTo>
                    <a:pt x="179" y="102"/>
                  </a:lnTo>
                  <a:lnTo>
                    <a:pt x="175" y="98"/>
                  </a:lnTo>
                  <a:lnTo>
                    <a:pt x="173" y="93"/>
                  </a:lnTo>
                  <a:lnTo>
                    <a:pt x="173" y="87"/>
                  </a:lnTo>
                  <a:lnTo>
                    <a:pt x="173" y="82"/>
                  </a:lnTo>
                  <a:lnTo>
                    <a:pt x="175" y="77"/>
                  </a:lnTo>
                  <a:lnTo>
                    <a:pt x="179" y="73"/>
                  </a:lnTo>
                  <a:lnTo>
                    <a:pt x="185" y="70"/>
                  </a:lnTo>
                  <a:lnTo>
                    <a:pt x="190" y="70"/>
                  </a:lnTo>
                  <a:close/>
                  <a:moveTo>
                    <a:pt x="81" y="104"/>
                  </a:moveTo>
                  <a:lnTo>
                    <a:pt x="75" y="103"/>
                  </a:lnTo>
                  <a:lnTo>
                    <a:pt x="71" y="102"/>
                  </a:lnTo>
                  <a:lnTo>
                    <a:pt x="67" y="98"/>
                  </a:lnTo>
                  <a:lnTo>
                    <a:pt x="64" y="93"/>
                  </a:lnTo>
                  <a:lnTo>
                    <a:pt x="63" y="87"/>
                  </a:lnTo>
                  <a:lnTo>
                    <a:pt x="64" y="82"/>
                  </a:lnTo>
                  <a:lnTo>
                    <a:pt x="67" y="77"/>
                  </a:lnTo>
                  <a:lnTo>
                    <a:pt x="71" y="73"/>
                  </a:lnTo>
                  <a:lnTo>
                    <a:pt x="75" y="70"/>
                  </a:lnTo>
                  <a:lnTo>
                    <a:pt x="81" y="70"/>
                  </a:lnTo>
                  <a:lnTo>
                    <a:pt x="86" y="70"/>
                  </a:lnTo>
                  <a:lnTo>
                    <a:pt x="92" y="73"/>
                  </a:lnTo>
                  <a:lnTo>
                    <a:pt x="96" y="77"/>
                  </a:lnTo>
                  <a:lnTo>
                    <a:pt x="98" y="82"/>
                  </a:lnTo>
                  <a:lnTo>
                    <a:pt x="98" y="87"/>
                  </a:lnTo>
                  <a:lnTo>
                    <a:pt x="98" y="93"/>
                  </a:lnTo>
                  <a:lnTo>
                    <a:pt x="96" y="98"/>
                  </a:lnTo>
                  <a:lnTo>
                    <a:pt x="92" y="102"/>
                  </a:lnTo>
                  <a:lnTo>
                    <a:pt x="86" y="103"/>
                  </a:lnTo>
                  <a:lnTo>
                    <a:pt x="81" y="104"/>
                  </a:lnTo>
                  <a:close/>
                  <a:moveTo>
                    <a:pt x="119" y="87"/>
                  </a:moveTo>
                  <a:lnTo>
                    <a:pt x="120" y="82"/>
                  </a:lnTo>
                  <a:lnTo>
                    <a:pt x="123" y="77"/>
                  </a:lnTo>
                  <a:lnTo>
                    <a:pt x="127" y="73"/>
                  </a:lnTo>
                  <a:lnTo>
                    <a:pt x="131" y="70"/>
                  </a:lnTo>
                  <a:lnTo>
                    <a:pt x="137" y="70"/>
                  </a:lnTo>
                  <a:lnTo>
                    <a:pt x="143" y="70"/>
                  </a:lnTo>
                  <a:lnTo>
                    <a:pt x="148" y="73"/>
                  </a:lnTo>
                  <a:lnTo>
                    <a:pt x="152" y="77"/>
                  </a:lnTo>
                  <a:lnTo>
                    <a:pt x="155" y="82"/>
                  </a:lnTo>
                  <a:lnTo>
                    <a:pt x="155" y="87"/>
                  </a:lnTo>
                  <a:lnTo>
                    <a:pt x="155" y="93"/>
                  </a:lnTo>
                  <a:lnTo>
                    <a:pt x="152" y="98"/>
                  </a:lnTo>
                  <a:lnTo>
                    <a:pt x="148" y="102"/>
                  </a:lnTo>
                  <a:lnTo>
                    <a:pt x="143" y="103"/>
                  </a:lnTo>
                  <a:lnTo>
                    <a:pt x="137" y="104"/>
                  </a:lnTo>
                  <a:lnTo>
                    <a:pt x="131" y="103"/>
                  </a:lnTo>
                  <a:lnTo>
                    <a:pt x="127" y="102"/>
                  </a:lnTo>
                  <a:lnTo>
                    <a:pt x="123" y="98"/>
                  </a:lnTo>
                  <a:lnTo>
                    <a:pt x="120" y="93"/>
                  </a:lnTo>
                  <a:lnTo>
                    <a:pt x="119" y="87"/>
                  </a:lnTo>
                  <a:close/>
                </a:path>
              </a:pathLst>
            </a:custGeom>
            <a:solidFill>
              <a:srgbClr val="483698"/>
            </a:solidFill>
            <a:ln w="0">
              <a:noFill/>
              <a:prstDash val="solid"/>
              <a:round/>
              <a:headEnd/>
              <a:tailEnd/>
            </a:ln>
          </p:spPr>
          <p:txBody>
            <a:bodyPr vert="horz" wrap="square" lIns="68580" tIns="34290" rIns="68580" bIns="34290" numCol="1" anchor="t" anchorCtr="0" compatLnSpc="1">
              <a:prstTxWarp prst="textNoShape">
                <a:avLst/>
              </a:prstTxWarp>
            </a:bodyPr>
            <a:lstStyle/>
            <a:p>
              <a:endParaRPr lang="en-US" sz="1200">
                <a:solidFill>
                  <a:schemeClr val="tx2"/>
                </a:solidFill>
                <a:latin typeface="Arial" panose="020B0604020202020204" pitchFamily="34" charset="0"/>
                <a:cs typeface="Arial" panose="020B0604020202020204" pitchFamily="34" charset="0"/>
              </a:endParaRPr>
            </a:p>
          </p:txBody>
        </p:sp>
        <p:sp>
          <p:nvSpPr>
            <p:cNvPr id="120" name="Oval Callout 77"/>
            <p:cNvSpPr/>
            <p:nvPr/>
          </p:nvSpPr>
          <p:spPr>
            <a:xfrm flipV="1">
              <a:off x="3843096" y="4905425"/>
              <a:ext cx="744578" cy="728228"/>
            </a:xfrm>
            <a:prstGeom prst="wedgeEllipseCallout">
              <a:avLst>
                <a:gd name="adj1" fmla="val 740"/>
                <a:gd name="adj2" fmla="val 93698"/>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21" name="Oval 78"/>
            <p:cNvSpPr/>
            <p:nvPr/>
          </p:nvSpPr>
          <p:spPr>
            <a:xfrm flipV="1">
              <a:off x="3893325" y="4955983"/>
              <a:ext cx="644120" cy="627109"/>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14" name="Freeform 194"/>
            <p:cNvSpPr/>
            <p:nvPr/>
          </p:nvSpPr>
          <p:spPr>
            <a:xfrm rot="11511994">
              <a:off x="4199001" y="5097370"/>
              <a:ext cx="65331" cy="135937"/>
            </a:xfrm>
            <a:custGeom>
              <a:avLst/>
              <a:gdLst>
                <a:gd name="connsiteX0" fmla="*/ 249695 w 249695"/>
                <a:gd name="connsiteY0" fmla="*/ 503745 h 516247"/>
                <a:gd name="connsiteX1" fmla="*/ 0 w 249695"/>
                <a:gd name="connsiteY1" fmla="*/ 497801 h 516247"/>
                <a:gd name="connsiteX2" fmla="*/ 136765 w 249695"/>
                <a:gd name="connsiteY2" fmla="*/ 0 h 516247"/>
                <a:gd name="connsiteX3" fmla="*/ 249695 w 249695"/>
                <a:gd name="connsiteY3" fmla="*/ 503745 h 516247"/>
              </a:gdLst>
              <a:ahLst/>
              <a:cxnLst>
                <a:cxn ang="0">
                  <a:pos x="connsiteX0" y="connsiteY0"/>
                </a:cxn>
                <a:cxn ang="0">
                  <a:pos x="connsiteX1" y="connsiteY1"/>
                </a:cxn>
                <a:cxn ang="0">
                  <a:pos x="connsiteX2" y="connsiteY2"/>
                </a:cxn>
                <a:cxn ang="0">
                  <a:pos x="connsiteX3" y="connsiteY3"/>
                </a:cxn>
              </a:cxnLst>
              <a:rect l="l" t="t" r="r" b="b"/>
              <a:pathLst>
                <a:path w="249695" h="516247">
                  <a:moveTo>
                    <a:pt x="249695" y="503745"/>
                  </a:moveTo>
                  <a:cubicBezTo>
                    <a:pt x="167231" y="522231"/>
                    <a:pt x="81490" y="520191"/>
                    <a:pt x="0" y="497801"/>
                  </a:cubicBezTo>
                  <a:lnTo>
                    <a:pt x="136765" y="0"/>
                  </a:lnTo>
                  <a:lnTo>
                    <a:pt x="249695" y="503745"/>
                  </a:ln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115" name="Freeform 195"/>
            <p:cNvSpPr/>
            <p:nvPr/>
          </p:nvSpPr>
          <p:spPr>
            <a:xfrm rot="11511994">
              <a:off x="4256884" y="5103796"/>
              <a:ext cx="98019" cy="130167"/>
            </a:xfrm>
            <a:custGeom>
              <a:avLst/>
              <a:gdLst>
                <a:gd name="connsiteX0" fmla="*/ 225816 w 374626"/>
                <a:gd name="connsiteY0" fmla="*/ 494335 h 494335"/>
                <a:gd name="connsiteX1" fmla="*/ 0 w 374626"/>
                <a:gd name="connsiteY1" fmla="*/ 355201 h 494335"/>
                <a:gd name="connsiteX2" fmla="*/ 374626 w 374626"/>
                <a:gd name="connsiteY2" fmla="*/ 0 h 494335"/>
                <a:gd name="connsiteX3" fmla="*/ 225816 w 374626"/>
                <a:gd name="connsiteY3" fmla="*/ 494335 h 494335"/>
              </a:gdLst>
              <a:ahLst/>
              <a:cxnLst>
                <a:cxn ang="0">
                  <a:pos x="connsiteX0" y="connsiteY0"/>
                </a:cxn>
                <a:cxn ang="0">
                  <a:pos x="connsiteX1" y="connsiteY1"/>
                </a:cxn>
                <a:cxn ang="0">
                  <a:pos x="connsiteX2" y="connsiteY2"/>
                </a:cxn>
                <a:cxn ang="0">
                  <a:pos x="connsiteX3" y="connsiteY3"/>
                </a:cxn>
              </a:cxnLst>
              <a:rect l="l" t="t" r="r" b="b"/>
              <a:pathLst>
                <a:path w="374626" h="494335">
                  <a:moveTo>
                    <a:pt x="225816" y="494335"/>
                  </a:moveTo>
                  <a:cubicBezTo>
                    <a:pt x="139711" y="468415"/>
                    <a:pt x="61871" y="420455"/>
                    <a:pt x="0" y="355201"/>
                  </a:cubicBezTo>
                  <a:lnTo>
                    <a:pt x="374626" y="0"/>
                  </a:lnTo>
                  <a:lnTo>
                    <a:pt x="225816" y="494335"/>
                  </a:ln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116" name="Freeform 196"/>
            <p:cNvSpPr/>
            <p:nvPr/>
          </p:nvSpPr>
          <p:spPr>
            <a:xfrm rot="11511994">
              <a:off x="4074241" y="5113800"/>
              <a:ext cx="129786" cy="131721"/>
            </a:xfrm>
            <a:custGeom>
              <a:avLst/>
              <a:gdLst>
                <a:gd name="connsiteX0" fmla="*/ 127562 w 496038"/>
                <a:gd name="connsiteY0" fmla="*/ 500240 h 500240"/>
                <a:gd name="connsiteX1" fmla="*/ 0 w 496038"/>
                <a:gd name="connsiteY1" fmla="*/ 0 h 500240"/>
                <a:gd name="connsiteX2" fmla="*/ 496038 w 496038"/>
                <a:gd name="connsiteY2" fmla="*/ 143031 h 500240"/>
                <a:gd name="connsiteX3" fmla="*/ 127562 w 496038"/>
                <a:gd name="connsiteY3" fmla="*/ 500240 h 500240"/>
              </a:gdLst>
              <a:ahLst/>
              <a:cxnLst>
                <a:cxn ang="0">
                  <a:pos x="connsiteX0" y="connsiteY0"/>
                </a:cxn>
                <a:cxn ang="0">
                  <a:pos x="connsiteX1" y="connsiteY1"/>
                </a:cxn>
                <a:cxn ang="0">
                  <a:pos x="connsiteX2" y="connsiteY2"/>
                </a:cxn>
                <a:cxn ang="0">
                  <a:pos x="connsiteX3" y="connsiteY3"/>
                </a:cxn>
              </a:cxnLst>
              <a:rect l="l" t="t" r="r" b="b"/>
              <a:pathLst>
                <a:path w="496038" h="500240">
                  <a:moveTo>
                    <a:pt x="127562" y="500240"/>
                  </a:moveTo>
                  <a:lnTo>
                    <a:pt x="0" y="0"/>
                  </a:lnTo>
                  <a:lnTo>
                    <a:pt x="496038" y="143031"/>
                  </a:lnTo>
                  <a:cubicBezTo>
                    <a:pt x="445287" y="319042"/>
                    <a:pt x="305063" y="454976"/>
                    <a:pt x="127562" y="500240"/>
                  </a:cubicBez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117" name="Freeform 197"/>
            <p:cNvSpPr/>
            <p:nvPr/>
          </p:nvSpPr>
          <p:spPr>
            <a:xfrm rot="11511994">
              <a:off x="4258209" y="5177485"/>
              <a:ext cx="134015" cy="98108"/>
            </a:xfrm>
            <a:custGeom>
              <a:avLst/>
              <a:gdLst>
                <a:gd name="connsiteX0" fmla="*/ 154862 w 512203"/>
                <a:gd name="connsiteY0" fmla="*/ 372585 h 372585"/>
                <a:gd name="connsiteX1" fmla="*/ 0 w 512203"/>
                <a:gd name="connsiteY1" fmla="*/ 64501 h 372585"/>
                <a:gd name="connsiteX2" fmla="*/ 512203 w 512203"/>
                <a:gd name="connsiteY2" fmla="*/ 0 h 372585"/>
                <a:gd name="connsiteX3" fmla="*/ 154862 w 512203"/>
                <a:gd name="connsiteY3" fmla="*/ 372585 h 372585"/>
              </a:gdLst>
              <a:ahLst/>
              <a:cxnLst>
                <a:cxn ang="0">
                  <a:pos x="connsiteX0" y="connsiteY0"/>
                </a:cxn>
                <a:cxn ang="0">
                  <a:pos x="connsiteX1" y="connsiteY1"/>
                </a:cxn>
                <a:cxn ang="0">
                  <a:pos x="connsiteX2" y="connsiteY2"/>
                </a:cxn>
                <a:cxn ang="0">
                  <a:pos x="connsiteX3" y="connsiteY3"/>
                </a:cxn>
              </a:cxnLst>
              <a:rect l="l" t="t" r="r" b="b"/>
              <a:pathLst>
                <a:path w="512203" h="372585">
                  <a:moveTo>
                    <a:pt x="154862" y="372585"/>
                  </a:moveTo>
                  <a:cubicBezTo>
                    <a:pt x="69457" y="290674"/>
                    <a:pt x="14785" y="181909"/>
                    <a:pt x="0" y="64501"/>
                  </a:cubicBezTo>
                  <a:lnTo>
                    <a:pt x="512203" y="0"/>
                  </a:lnTo>
                  <a:lnTo>
                    <a:pt x="154862" y="372585"/>
                  </a:ln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118" name="Freeform 198"/>
            <p:cNvSpPr/>
            <p:nvPr/>
          </p:nvSpPr>
          <p:spPr>
            <a:xfrm rot="11511994">
              <a:off x="4038546" y="5223336"/>
              <a:ext cx="145179" cy="161052"/>
            </a:xfrm>
            <a:custGeom>
              <a:avLst/>
              <a:gdLst>
                <a:gd name="connsiteX0" fmla="*/ 536674 w 554872"/>
                <a:gd name="connsiteY0" fmla="*/ 611624 h 611624"/>
                <a:gd name="connsiteX1" fmla="*/ 0 w 554872"/>
                <a:gd name="connsiteY1" fmla="*/ 470846 h 611624"/>
                <a:gd name="connsiteX2" fmla="*/ 293499 w 554872"/>
                <a:gd name="connsiteY2" fmla="*/ 0 h 611624"/>
                <a:gd name="connsiteX3" fmla="*/ 536674 w 554872"/>
                <a:gd name="connsiteY3" fmla="*/ 611624 h 611624"/>
              </a:gdLst>
              <a:ahLst/>
              <a:cxnLst>
                <a:cxn ang="0">
                  <a:pos x="connsiteX0" y="connsiteY0"/>
                </a:cxn>
                <a:cxn ang="0">
                  <a:pos x="connsiteX1" y="connsiteY1"/>
                </a:cxn>
                <a:cxn ang="0">
                  <a:pos x="connsiteX2" y="connsiteY2"/>
                </a:cxn>
                <a:cxn ang="0">
                  <a:pos x="connsiteX3" y="connsiteY3"/>
                </a:cxn>
              </a:cxnLst>
              <a:rect l="l" t="t" r="r" b="b"/>
              <a:pathLst>
                <a:path w="554872" h="611624">
                  <a:moveTo>
                    <a:pt x="536674" y="611624"/>
                  </a:moveTo>
                  <a:lnTo>
                    <a:pt x="0" y="470846"/>
                  </a:lnTo>
                  <a:lnTo>
                    <a:pt x="293499" y="0"/>
                  </a:lnTo>
                  <a:cubicBezTo>
                    <a:pt x="499790" y="128590"/>
                    <a:pt x="598353" y="376492"/>
                    <a:pt x="536674" y="611624"/>
                  </a:cubicBez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119" name="Freeform 199"/>
            <p:cNvSpPr/>
            <p:nvPr/>
          </p:nvSpPr>
          <p:spPr>
            <a:xfrm rot="11511994">
              <a:off x="4104709" y="5270616"/>
              <a:ext cx="236869" cy="171092"/>
            </a:xfrm>
            <a:custGeom>
              <a:avLst/>
              <a:gdLst>
                <a:gd name="connsiteX0" fmla="*/ 308653 w 905308"/>
                <a:gd name="connsiteY0" fmla="*/ 319985 h 649753"/>
                <a:gd name="connsiteX1" fmla="*/ 295774 w 905308"/>
                <a:gd name="connsiteY1" fmla="*/ 319691 h 649753"/>
                <a:gd name="connsiteX2" fmla="*/ 285496 w 905308"/>
                <a:gd name="connsiteY2" fmla="*/ 312308 h 649753"/>
                <a:gd name="connsiteX3" fmla="*/ 277366 w 905308"/>
                <a:gd name="connsiteY3" fmla="*/ 296972 h 649753"/>
                <a:gd name="connsiteX4" fmla="*/ 270667 w 905308"/>
                <a:gd name="connsiteY4" fmla="*/ 272883 h 649753"/>
                <a:gd name="connsiteX5" fmla="*/ 267061 w 905308"/>
                <a:gd name="connsiteY5" fmla="*/ 249235 h 649753"/>
                <a:gd name="connsiteX6" fmla="*/ 267996 w 905308"/>
                <a:gd name="connsiteY6" fmla="*/ 232267 h 649753"/>
                <a:gd name="connsiteX7" fmla="*/ 274013 w 905308"/>
                <a:gd name="connsiteY7" fmla="*/ 221323 h 649753"/>
                <a:gd name="connsiteX8" fmla="*/ 285918 w 905308"/>
                <a:gd name="connsiteY8" fmla="*/ 215684 h 649753"/>
                <a:gd name="connsiteX9" fmla="*/ 297875 w 905308"/>
                <a:gd name="connsiteY9" fmla="*/ 215490 h 649753"/>
                <a:gd name="connsiteX10" fmla="*/ 307934 w 905308"/>
                <a:gd name="connsiteY10" fmla="*/ 221830 h 649753"/>
                <a:gd name="connsiteX11" fmla="*/ 316561 w 905308"/>
                <a:gd name="connsiteY11" fmla="*/ 236923 h 649753"/>
                <a:gd name="connsiteX12" fmla="*/ 323959 w 905308"/>
                <a:gd name="connsiteY12" fmla="*/ 263048 h 649753"/>
                <a:gd name="connsiteX13" fmla="*/ 327412 w 905308"/>
                <a:gd name="connsiteY13" fmla="*/ 287274 h 649753"/>
                <a:gd name="connsiteX14" fmla="*/ 325928 w 905308"/>
                <a:gd name="connsiteY14" fmla="*/ 304220 h 649753"/>
                <a:gd name="connsiteX15" fmla="*/ 319567 w 905308"/>
                <a:gd name="connsiteY15" fmla="*/ 314828 h 649753"/>
                <a:gd name="connsiteX16" fmla="*/ 308653 w 905308"/>
                <a:gd name="connsiteY16" fmla="*/ 319985 h 649753"/>
                <a:gd name="connsiteX17" fmla="*/ 315030 w 905308"/>
                <a:gd name="connsiteY17" fmla="*/ 356823 h 649753"/>
                <a:gd name="connsiteX18" fmla="*/ 349802 w 905308"/>
                <a:gd name="connsiteY18" fmla="*/ 342564 h 649753"/>
                <a:gd name="connsiteX19" fmla="*/ 370429 w 905308"/>
                <a:gd name="connsiteY19" fmla="*/ 318731 h 649753"/>
                <a:gd name="connsiteX20" fmla="*/ 378446 w 905308"/>
                <a:gd name="connsiteY20" fmla="*/ 287459 h 649753"/>
                <a:gd name="connsiteX21" fmla="*/ 375341 w 905308"/>
                <a:gd name="connsiteY21" fmla="*/ 250615 h 649753"/>
                <a:gd name="connsiteX22" fmla="*/ 364166 w 905308"/>
                <a:gd name="connsiteY22" fmla="*/ 215604 h 649753"/>
                <a:gd name="connsiteX23" fmla="*/ 345788 w 905308"/>
                <a:gd name="connsiteY23" fmla="*/ 190425 h 649753"/>
                <a:gd name="connsiteX24" fmla="*/ 318206 w 905308"/>
                <a:gd name="connsiteY24" fmla="*/ 177267 h 649753"/>
                <a:gd name="connsiteX25" fmla="*/ 279748 w 905308"/>
                <a:gd name="connsiteY25" fmla="*/ 178530 h 649753"/>
                <a:gd name="connsiteX26" fmla="*/ 245209 w 905308"/>
                <a:gd name="connsiteY26" fmla="*/ 192606 h 649753"/>
                <a:gd name="connsiteX27" fmla="*/ 224370 w 905308"/>
                <a:gd name="connsiteY27" fmla="*/ 216072 h 649753"/>
                <a:gd name="connsiteX28" fmla="*/ 216089 w 905308"/>
                <a:gd name="connsiteY28" fmla="*/ 247400 h 649753"/>
                <a:gd name="connsiteX29" fmla="*/ 219339 w 905308"/>
                <a:gd name="connsiteY29" fmla="*/ 285576 h 649753"/>
                <a:gd name="connsiteX30" fmla="*/ 229759 w 905308"/>
                <a:gd name="connsiteY30" fmla="*/ 318293 h 649753"/>
                <a:gd name="connsiteX31" fmla="*/ 247645 w 905308"/>
                <a:gd name="connsiteY31" fmla="*/ 343712 h 649753"/>
                <a:gd name="connsiteX32" fmla="*/ 275286 w 905308"/>
                <a:gd name="connsiteY32" fmla="*/ 357813 h 649753"/>
                <a:gd name="connsiteX33" fmla="*/ 315030 w 905308"/>
                <a:gd name="connsiteY33" fmla="*/ 356823 h 649753"/>
                <a:gd name="connsiteX34" fmla="*/ 547871 w 905308"/>
                <a:gd name="connsiteY34" fmla="*/ 446155 h 649753"/>
                <a:gd name="connsiteX35" fmla="*/ 534993 w 905308"/>
                <a:gd name="connsiteY35" fmla="*/ 445861 h 649753"/>
                <a:gd name="connsiteX36" fmla="*/ 524714 w 905308"/>
                <a:gd name="connsiteY36" fmla="*/ 438478 h 649753"/>
                <a:gd name="connsiteX37" fmla="*/ 516584 w 905308"/>
                <a:gd name="connsiteY37" fmla="*/ 423142 h 649753"/>
                <a:gd name="connsiteX38" fmla="*/ 509885 w 905308"/>
                <a:gd name="connsiteY38" fmla="*/ 399053 h 649753"/>
                <a:gd name="connsiteX39" fmla="*/ 506282 w 905308"/>
                <a:gd name="connsiteY39" fmla="*/ 375404 h 649753"/>
                <a:gd name="connsiteX40" fmla="*/ 507214 w 905308"/>
                <a:gd name="connsiteY40" fmla="*/ 358437 h 649753"/>
                <a:gd name="connsiteX41" fmla="*/ 513233 w 905308"/>
                <a:gd name="connsiteY41" fmla="*/ 347490 h 649753"/>
                <a:gd name="connsiteX42" fmla="*/ 525139 w 905308"/>
                <a:gd name="connsiteY42" fmla="*/ 341854 h 649753"/>
                <a:gd name="connsiteX43" fmla="*/ 537096 w 905308"/>
                <a:gd name="connsiteY43" fmla="*/ 341660 h 649753"/>
                <a:gd name="connsiteX44" fmla="*/ 547155 w 905308"/>
                <a:gd name="connsiteY44" fmla="*/ 347999 h 649753"/>
                <a:gd name="connsiteX45" fmla="*/ 555779 w 905308"/>
                <a:gd name="connsiteY45" fmla="*/ 363093 h 649753"/>
                <a:gd name="connsiteX46" fmla="*/ 563177 w 905308"/>
                <a:gd name="connsiteY46" fmla="*/ 389219 h 649753"/>
                <a:gd name="connsiteX47" fmla="*/ 566633 w 905308"/>
                <a:gd name="connsiteY47" fmla="*/ 413443 h 649753"/>
                <a:gd name="connsiteX48" fmla="*/ 565149 w 905308"/>
                <a:gd name="connsiteY48" fmla="*/ 430390 h 649753"/>
                <a:gd name="connsiteX49" fmla="*/ 558788 w 905308"/>
                <a:gd name="connsiteY49" fmla="*/ 440998 h 649753"/>
                <a:gd name="connsiteX50" fmla="*/ 547871 w 905308"/>
                <a:gd name="connsiteY50" fmla="*/ 446155 h 649753"/>
                <a:gd name="connsiteX51" fmla="*/ 554248 w 905308"/>
                <a:gd name="connsiteY51" fmla="*/ 482993 h 649753"/>
                <a:gd name="connsiteX52" fmla="*/ 589022 w 905308"/>
                <a:gd name="connsiteY52" fmla="*/ 468733 h 649753"/>
                <a:gd name="connsiteX53" fmla="*/ 609647 w 905308"/>
                <a:gd name="connsiteY53" fmla="*/ 444901 h 649753"/>
                <a:gd name="connsiteX54" fmla="*/ 617666 w 905308"/>
                <a:gd name="connsiteY54" fmla="*/ 413628 h 649753"/>
                <a:gd name="connsiteX55" fmla="*/ 614559 w 905308"/>
                <a:gd name="connsiteY55" fmla="*/ 376785 h 649753"/>
                <a:gd name="connsiteX56" fmla="*/ 603386 w 905308"/>
                <a:gd name="connsiteY56" fmla="*/ 341774 h 649753"/>
                <a:gd name="connsiteX57" fmla="*/ 585005 w 905308"/>
                <a:gd name="connsiteY57" fmla="*/ 316593 h 649753"/>
                <a:gd name="connsiteX58" fmla="*/ 557424 w 905308"/>
                <a:gd name="connsiteY58" fmla="*/ 303437 h 649753"/>
                <a:gd name="connsiteX59" fmla="*/ 518966 w 905308"/>
                <a:gd name="connsiteY59" fmla="*/ 304700 h 649753"/>
                <a:gd name="connsiteX60" fmla="*/ 484427 w 905308"/>
                <a:gd name="connsiteY60" fmla="*/ 318776 h 649753"/>
                <a:gd name="connsiteX61" fmla="*/ 463588 w 905308"/>
                <a:gd name="connsiteY61" fmla="*/ 342242 h 649753"/>
                <a:gd name="connsiteX62" fmla="*/ 455309 w 905308"/>
                <a:gd name="connsiteY62" fmla="*/ 373570 h 649753"/>
                <a:gd name="connsiteX63" fmla="*/ 458558 w 905308"/>
                <a:gd name="connsiteY63" fmla="*/ 411747 h 649753"/>
                <a:gd name="connsiteX64" fmla="*/ 468979 w 905308"/>
                <a:gd name="connsiteY64" fmla="*/ 444463 h 649753"/>
                <a:gd name="connsiteX65" fmla="*/ 486864 w 905308"/>
                <a:gd name="connsiteY65" fmla="*/ 469883 h 649753"/>
                <a:gd name="connsiteX66" fmla="*/ 514506 w 905308"/>
                <a:gd name="connsiteY66" fmla="*/ 483980 h 649753"/>
                <a:gd name="connsiteX67" fmla="*/ 554248 w 905308"/>
                <a:gd name="connsiteY67" fmla="*/ 482993 h 649753"/>
                <a:gd name="connsiteX68" fmla="*/ 328073 w 905308"/>
                <a:gd name="connsiteY68" fmla="*/ 535697 h 649753"/>
                <a:gd name="connsiteX69" fmla="*/ 340759 w 905308"/>
                <a:gd name="connsiteY69" fmla="*/ 532487 h 649753"/>
                <a:gd name="connsiteX70" fmla="*/ 349386 w 905308"/>
                <a:gd name="connsiteY70" fmla="*/ 528764 h 649753"/>
                <a:gd name="connsiteX71" fmla="*/ 354809 w 905308"/>
                <a:gd name="connsiteY71" fmla="*/ 524079 h 649753"/>
                <a:gd name="connsiteX72" fmla="*/ 358470 w 905308"/>
                <a:gd name="connsiteY72" fmla="*/ 518128 h 649753"/>
                <a:gd name="connsiteX73" fmla="*/ 529958 w 905308"/>
                <a:gd name="connsiteY73" fmla="*/ 137679 h 649753"/>
                <a:gd name="connsiteX74" fmla="*/ 531822 w 905308"/>
                <a:gd name="connsiteY74" fmla="*/ 130334 h 649753"/>
                <a:gd name="connsiteX75" fmla="*/ 528980 w 905308"/>
                <a:gd name="connsiteY75" fmla="*/ 125886 h 649753"/>
                <a:gd name="connsiteX76" fmla="*/ 521009 w 905308"/>
                <a:gd name="connsiteY76" fmla="*/ 124287 h 649753"/>
                <a:gd name="connsiteX77" fmla="*/ 507079 w 905308"/>
                <a:gd name="connsiteY77" fmla="*/ 126125 h 649753"/>
                <a:gd name="connsiteX78" fmla="*/ 494390 w 905308"/>
                <a:gd name="connsiteY78" fmla="*/ 129336 h 649753"/>
                <a:gd name="connsiteX79" fmla="*/ 485894 w 905308"/>
                <a:gd name="connsiteY79" fmla="*/ 133029 h 649753"/>
                <a:gd name="connsiteX80" fmla="*/ 480443 w 905308"/>
                <a:gd name="connsiteY80" fmla="*/ 137585 h 649753"/>
                <a:gd name="connsiteX81" fmla="*/ 476681 w 905308"/>
                <a:gd name="connsiteY81" fmla="*/ 143692 h 649753"/>
                <a:gd name="connsiteX82" fmla="*/ 305191 w 905308"/>
                <a:gd name="connsiteY82" fmla="*/ 524144 h 649753"/>
                <a:gd name="connsiteX83" fmla="*/ 303430 w 905308"/>
                <a:gd name="connsiteY83" fmla="*/ 531331 h 649753"/>
                <a:gd name="connsiteX84" fmla="*/ 306169 w 905308"/>
                <a:gd name="connsiteY84" fmla="*/ 535937 h 649753"/>
                <a:gd name="connsiteX85" fmla="*/ 314142 w 905308"/>
                <a:gd name="connsiteY85" fmla="*/ 537533 h 649753"/>
                <a:gd name="connsiteX86" fmla="*/ 328073 w 905308"/>
                <a:gd name="connsiteY86" fmla="*/ 535697 h 649753"/>
                <a:gd name="connsiteX87" fmla="*/ 592941 w 905308"/>
                <a:gd name="connsiteY87" fmla="*/ 592930 h 649753"/>
                <a:gd name="connsiteX88" fmla="*/ 2739 w 905308"/>
                <a:gd name="connsiteY88" fmla="*/ 649753 h 649753"/>
                <a:gd name="connsiteX89" fmla="*/ 280015 w 905308"/>
                <a:gd name="connsiteY89" fmla="*/ 89298 h 649753"/>
                <a:gd name="connsiteX90" fmla="*/ 905308 w 905308"/>
                <a:gd name="connsiteY90" fmla="*/ 88952 h 649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905308" h="649753">
                  <a:moveTo>
                    <a:pt x="308653" y="319985"/>
                  </a:moveTo>
                  <a:cubicBezTo>
                    <a:pt x="303952" y="320973"/>
                    <a:pt x="299659" y="320876"/>
                    <a:pt x="295774" y="319691"/>
                  </a:cubicBezTo>
                  <a:cubicBezTo>
                    <a:pt x="291888" y="318509"/>
                    <a:pt x="288464" y="316048"/>
                    <a:pt x="285496" y="312308"/>
                  </a:cubicBezTo>
                  <a:cubicBezTo>
                    <a:pt x="282529" y="308568"/>
                    <a:pt x="279818" y="303456"/>
                    <a:pt x="277366" y="296972"/>
                  </a:cubicBezTo>
                  <a:cubicBezTo>
                    <a:pt x="274911" y="290488"/>
                    <a:pt x="272680" y="282460"/>
                    <a:pt x="270667" y="272883"/>
                  </a:cubicBezTo>
                  <a:cubicBezTo>
                    <a:pt x="268765" y="263828"/>
                    <a:pt x="267563" y="255945"/>
                    <a:pt x="267061" y="249235"/>
                  </a:cubicBezTo>
                  <a:cubicBezTo>
                    <a:pt x="266560" y="242521"/>
                    <a:pt x="266871" y="236866"/>
                    <a:pt x="267996" y="232267"/>
                  </a:cubicBezTo>
                  <a:cubicBezTo>
                    <a:pt x="269121" y="227667"/>
                    <a:pt x="271125" y="224019"/>
                    <a:pt x="274013" y="221323"/>
                  </a:cubicBezTo>
                  <a:cubicBezTo>
                    <a:pt x="276901" y="218625"/>
                    <a:pt x="280869" y="216745"/>
                    <a:pt x="285918" y="215684"/>
                  </a:cubicBezTo>
                  <a:cubicBezTo>
                    <a:pt x="290270" y="214770"/>
                    <a:pt x="294258" y="214704"/>
                    <a:pt x="297875" y="215490"/>
                  </a:cubicBezTo>
                  <a:cubicBezTo>
                    <a:pt x="301495" y="216274"/>
                    <a:pt x="304849" y="218388"/>
                    <a:pt x="307934" y="221830"/>
                  </a:cubicBezTo>
                  <a:cubicBezTo>
                    <a:pt x="311022" y="225271"/>
                    <a:pt x="313897" y="230303"/>
                    <a:pt x="316561" y="236923"/>
                  </a:cubicBezTo>
                  <a:cubicBezTo>
                    <a:pt x="319226" y="243546"/>
                    <a:pt x="321690" y="252253"/>
                    <a:pt x="323959" y="263048"/>
                  </a:cubicBezTo>
                  <a:cubicBezTo>
                    <a:pt x="325934" y="272450"/>
                    <a:pt x="327086" y="280526"/>
                    <a:pt x="327412" y="287274"/>
                  </a:cubicBezTo>
                  <a:cubicBezTo>
                    <a:pt x="327741" y="294023"/>
                    <a:pt x="327244" y="299671"/>
                    <a:pt x="325928" y="304220"/>
                  </a:cubicBezTo>
                  <a:cubicBezTo>
                    <a:pt x="324612" y="308770"/>
                    <a:pt x="322492" y="312306"/>
                    <a:pt x="319567" y="314828"/>
                  </a:cubicBezTo>
                  <a:cubicBezTo>
                    <a:pt x="316643" y="317353"/>
                    <a:pt x="313005" y="319071"/>
                    <a:pt x="308653" y="319985"/>
                  </a:cubicBezTo>
                  <a:close/>
                  <a:moveTo>
                    <a:pt x="315030" y="356823"/>
                  </a:moveTo>
                  <a:cubicBezTo>
                    <a:pt x="329132" y="353860"/>
                    <a:pt x="340725" y="349108"/>
                    <a:pt x="349802" y="342564"/>
                  </a:cubicBezTo>
                  <a:cubicBezTo>
                    <a:pt x="358880" y="336019"/>
                    <a:pt x="365757" y="328075"/>
                    <a:pt x="370429" y="318731"/>
                  </a:cubicBezTo>
                  <a:cubicBezTo>
                    <a:pt x="375101" y="309387"/>
                    <a:pt x="377773" y="298963"/>
                    <a:pt x="378446" y="287459"/>
                  </a:cubicBezTo>
                  <a:cubicBezTo>
                    <a:pt x="379119" y="275954"/>
                    <a:pt x="378085" y="263673"/>
                    <a:pt x="375341" y="250615"/>
                  </a:cubicBezTo>
                  <a:cubicBezTo>
                    <a:pt x="372597" y="237557"/>
                    <a:pt x="368872" y="225887"/>
                    <a:pt x="364166" y="215604"/>
                  </a:cubicBezTo>
                  <a:cubicBezTo>
                    <a:pt x="359462" y="205320"/>
                    <a:pt x="353335" y="196928"/>
                    <a:pt x="345788" y="190425"/>
                  </a:cubicBezTo>
                  <a:cubicBezTo>
                    <a:pt x="338237" y="183920"/>
                    <a:pt x="329046" y="179534"/>
                    <a:pt x="318206" y="177267"/>
                  </a:cubicBezTo>
                  <a:cubicBezTo>
                    <a:pt x="307366" y="174999"/>
                    <a:pt x="294547" y="175420"/>
                    <a:pt x="279748" y="178530"/>
                  </a:cubicBezTo>
                  <a:cubicBezTo>
                    <a:pt x="265819" y="181456"/>
                    <a:pt x="254306" y="186148"/>
                    <a:pt x="245209" y="192606"/>
                  </a:cubicBezTo>
                  <a:cubicBezTo>
                    <a:pt x="236112" y="199061"/>
                    <a:pt x="229166" y="206885"/>
                    <a:pt x="224370" y="216072"/>
                  </a:cubicBezTo>
                  <a:cubicBezTo>
                    <a:pt x="219573" y="225262"/>
                    <a:pt x="216815" y="235704"/>
                    <a:pt x="216089" y="247400"/>
                  </a:cubicBezTo>
                  <a:cubicBezTo>
                    <a:pt x="215366" y="259098"/>
                    <a:pt x="216450" y="271823"/>
                    <a:pt x="219339" y="285576"/>
                  </a:cubicBezTo>
                  <a:cubicBezTo>
                    <a:pt x="221791" y="297242"/>
                    <a:pt x="225264" y="308146"/>
                    <a:pt x="229759" y="318293"/>
                  </a:cubicBezTo>
                  <a:cubicBezTo>
                    <a:pt x="234253" y="328438"/>
                    <a:pt x="240216" y="336911"/>
                    <a:pt x="247645" y="343712"/>
                  </a:cubicBezTo>
                  <a:cubicBezTo>
                    <a:pt x="255073" y="350514"/>
                    <a:pt x="264288" y="355213"/>
                    <a:pt x="275286" y="357813"/>
                  </a:cubicBezTo>
                  <a:cubicBezTo>
                    <a:pt x="286286" y="360410"/>
                    <a:pt x="299533" y="360079"/>
                    <a:pt x="315030" y="356823"/>
                  </a:cubicBezTo>
                  <a:close/>
                  <a:moveTo>
                    <a:pt x="547871" y="446155"/>
                  </a:moveTo>
                  <a:cubicBezTo>
                    <a:pt x="543170" y="447143"/>
                    <a:pt x="538877" y="447046"/>
                    <a:pt x="534993" y="445861"/>
                  </a:cubicBezTo>
                  <a:cubicBezTo>
                    <a:pt x="531109" y="444679"/>
                    <a:pt x="527682" y="442218"/>
                    <a:pt x="524714" y="438478"/>
                  </a:cubicBezTo>
                  <a:cubicBezTo>
                    <a:pt x="521747" y="434739"/>
                    <a:pt x="519038" y="429625"/>
                    <a:pt x="516584" y="423142"/>
                  </a:cubicBezTo>
                  <a:cubicBezTo>
                    <a:pt x="514132" y="416657"/>
                    <a:pt x="511897" y="408628"/>
                    <a:pt x="509885" y="399053"/>
                  </a:cubicBezTo>
                  <a:cubicBezTo>
                    <a:pt x="507983" y="389999"/>
                    <a:pt x="506781" y="382116"/>
                    <a:pt x="506282" y="375404"/>
                  </a:cubicBezTo>
                  <a:cubicBezTo>
                    <a:pt x="505780" y="368691"/>
                    <a:pt x="506089" y="363036"/>
                    <a:pt x="507214" y="358437"/>
                  </a:cubicBezTo>
                  <a:cubicBezTo>
                    <a:pt x="508339" y="353837"/>
                    <a:pt x="510345" y="350188"/>
                    <a:pt x="513233" y="347490"/>
                  </a:cubicBezTo>
                  <a:cubicBezTo>
                    <a:pt x="516121" y="344795"/>
                    <a:pt x="520089" y="342915"/>
                    <a:pt x="525139" y="341854"/>
                  </a:cubicBezTo>
                  <a:cubicBezTo>
                    <a:pt x="529491" y="340940"/>
                    <a:pt x="533476" y="340874"/>
                    <a:pt x="537096" y="341660"/>
                  </a:cubicBezTo>
                  <a:cubicBezTo>
                    <a:pt x="540715" y="342444"/>
                    <a:pt x="544066" y="344556"/>
                    <a:pt x="547155" y="347999"/>
                  </a:cubicBezTo>
                  <a:cubicBezTo>
                    <a:pt x="550240" y="351441"/>
                    <a:pt x="553115" y="356473"/>
                    <a:pt x="555779" y="363093"/>
                  </a:cubicBezTo>
                  <a:cubicBezTo>
                    <a:pt x="558444" y="369716"/>
                    <a:pt x="560908" y="378423"/>
                    <a:pt x="563177" y="389219"/>
                  </a:cubicBezTo>
                  <a:cubicBezTo>
                    <a:pt x="565152" y="398620"/>
                    <a:pt x="566305" y="406696"/>
                    <a:pt x="566633" y="413443"/>
                  </a:cubicBezTo>
                  <a:cubicBezTo>
                    <a:pt x="566959" y="420194"/>
                    <a:pt x="566465" y="425841"/>
                    <a:pt x="565149" y="430390"/>
                  </a:cubicBezTo>
                  <a:cubicBezTo>
                    <a:pt x="563833" y="434940"/>
                    <a:pt x="561712" y="438476"/>
                    <a:pt x="558788" y="440998"/>
                  </a:cubicBezTo>
                  <a:cubicBezTo>
                    <a:pt x="555863" y="443521"/>
                    <a:pt x="552225" y="445240"/>
                    <a:pt x="547871" y="446155"/>
                  </a:cubicBezTo>
                  <a:close/>
                  <a:moveTo>
                    <a:pt x="554248" y="482993"/>
                  </a:moveTo>
                  <a:cubicBezTo>
                    <a:pt x="568352" y="480029"/>
                    <a:pt x="579943" y="475275"/>
                    <a:pt x="589022" y="468733"/>
                  </a:cubicBezTo>
                  <a:cubicBezTo>
                    <a:pt x="598101" y="462189"/>
                    <a:pt x="604975" y="454246"/>
                    <a:pt x="609647" y="444901"/>
                  </a:cubicBezTo>
                  <a:cubicBezTo>
                    <a:pt x="614319" y="435557"/>
                    <a:pt x="616993" y="425133"/>
                    <a:pt x="617666" y="413628"/>
                  </a:cubicBezTo>
                  <a:cubicBezTo>
                    <a:pt x="618340" y="402124"/>
                    <a:pt x="617303" y="389843"/>
                    <a:pt x="614559" y="376785"/>
                  </a:cubicBezTo>
                  <a:cubicBezTo>
                    <a:pt x="611815" y="363727"/>
                    <a:pt x="608093" y="352057"/>
                    <a:pt x="603386" y="341774"/>
                  </a:cubicBezTo>
                  <a:cubicBezTo>
                    <a:pt x="598680" y="331490"/>
                    <a:pt x="592553" y="323098"/>
                    <a:pt x="585005" y="316593"/>
                  </a:cubicBezTo>
                  <a:cubicBezTo>
                    <a:pt x="577458" y="310090"/>
                    <a:pt x="568264" y="305704"/>
                    <a:pt x="557424" y="303437"/>
                  </a:cubicBezTo>
                  <a:cubicBezTo>
                    <a:pt x="546586" y="301168"/>
                    <a:pt x="533765" y="301590"/>
                    <a:pt x="518966" y="304700"/>
                  </a:cubicBezTo>
                  <a:cubicBezTo>
                    <a:pt x="505037" y="307627"/>
                    <a:pt x="493524" y="312318"/>
                    <a:pt x="484427" y="318776"/>
                  </a:cubicBezTo>
                  <a:cubicBezTo>
                    <a:pt x="475332" y="325231"/>
                    <a:pt x="468384" y="333055"/>
                    <a:pt x="463588" y="342242"/>
                  </a:cubicBezTo>
                  <a:cubicBezTo>
                    <a:pt x="458793" y="351432"/>
                    <a:pt x="456033" y="361874"/>
                    <a:pt x="455309" y="373570"/>
                  </a:cubicBezTo>
                  <a:cubicBezTo>
                    <a:pt x="454586" y="385265"/>
                    <a:pt x="455667" y="397991"/>
                    <a:pt x="458558" y="411747"/>
                  </a:cubicBezTo>
                  <a:cubicBezTo>
                    <a:pt x="461009" y="423413"/>
                    <a:pt x="464483" y="434317"/>
                    <a:pt x="468979" y="444463"/>
                  </a:cubicBezTo>
                  <a:cubicBezTo>
                    <a:pt x="473474" y="454608"/>
                    <a:pt x="479434" y="463081"/>
                    <a:pt x="486864" y="469883"/>
                  </a:cubicBezTo>
                  <a:cubicBezTo>
                    <a:pt x="494293" y="476684"/>
                    <a:pt x="503506" y="481384"/>
                    <a:pt x="514506" y="483980"/>
                  </a:cubicBezTo>
                  <a:cubicBezTo>
                    <a:pt x="525506" y="486579"/>
                    <a:pt x="538752" y="486249"/>
                    <a:pt x="554248" y="482993"/>
                  </a:cubicBezTo>
                  <a:close/>
                  <a:moveTo>
                    <a:pt x="328073" y="535697"/>
                  </a:moveTo>
                  <a:cubicBezTo>
                    <a:pt x="333122" y="534637"/>
                    <a:pt x="337351" y="533567"/>
                    <a:pt x="340759" y="532487"/>
                  </a:cubicBezTo>
                  <a:cubicBezTo>
                    <a:pt x="344170" y="531406"/>
                    <a:pt x="347044" y="530165"/>
                    <a:pt x="349386" y="528764"/>
                  </a:cubicBezTo>
                  <a:cubicBezTo>
                    <a:pt x="351727" y="527363"/>
                    <a:pt x="353537" y="525803"/>
                    <a:pt x="354809" y="524079"/>
                  </a:cubicBezTo>
                  <a:cubicBezTo>
                    <a:pt x="356085" y="522358"/>
                    <a:pt x="357305" y="520374"/>
                    <a:pt x="358470" y="518128"/>
                  </a:cubicBezTo>
                  <a:lnTo>
                    <a:pt x="529958" y="137679"/>
                  </a:lnTo>
                  <a:cubicBezTo>
                    <a:pt x="531325" y="134665"/>
                    <a:pt x="531947" y="132216"/>
                    <a:pt x="531822" y="130334"/>
                  </a:cubicBezTo>
                  <a:cubicBezTo>
                    <a:pt x="531700" y="128449"/>
                    <a:pt x="530753" y="126967"/>
                    <a:pt x="528980" y="125886"/>
                  </a:cubicBezTo>
                  <a:cubicBezTo>
                    <a:pt x="527208" y="124802"/>
                    <a:pt x="524551" y="124271"/>
                    <a:pt x="521009" y="124287"/>
                  </a:cubicBezTo>
                  <a:cubicBezTo>
                    <a:pt x="517468" y="124306"/>
                    <a:pt x="512823" y="124918"/>
                    <a:pt x="507079" y="126125"/>
                  </a:cubicBezTo>
                  <a:cubicBezTo>
                    <a:pt x="502029" y="127186"/>
                    <a:pt x="497798" y="128256"/>
                    <a:pt x="494390" y="129336"/>
                  </a:cubicBezTo>
                  <a:cubicBezTo>
                    <a:pt x="490981" y="130416"/>
                    <a:pt x="488149" y="131647"/>
                    <a:pt x="485894" y="133029"/>
                  </a:cubicBezTo>
                  <a:cubicBezTo>
                    <a:pt x="483639" y="134412"/>
                    <a:pt x="481823" y="135932"/>
                    <a:pt x="480443" y="137585"/>
                  </a:cubicBezTo>
                  <a:cubicBezTo>
                    <a:pt x="479063" y="139238"/>
                    <a:pt x="477810" y="141273"/>
                    <a:pt x="476681" y="143692"/>
                  </a:cubicBezTo>
                  <a:lnTo>
                    <a:pt x="305191" y="524144"/>
                  </a:lnTo>
                  <a:cubicBezTo>
                    <a:pt x="303962" y="526946"/>
                    <a:pt x="303377" y="529343"/>
                    <a:pt x="303430" y="531331"/>
                  </a:cubicBezTo>
                  <a:cubicBezTo>
                    <a:pt x="303484" y="533320"/>
                    <a:pt x="304398" y="534855"/>
                    <a:pt x="306169" y="535937"/>
                  </a:cubicBezTo>
                  <a:cubicBezTo>
                    <a:pt x="307943" y="537018"/>
                    <a:pt x="310601" y="537551"/>
                    <a:pt x="314142" y="537533"/>
                  </a:cubicBezTo>
                  <a:cubicBezTo>
                    <a:pt x="317683" y="537517"/>
                    <a:pt x="322326" y="536905"/>
                    <a:pt x="328073" y="535697"/>
                  </a:cubicBezTo>
                  <a:close/>
                  <a:moveTo>
                    <a:pt x="592941" y="592930"/>
                  </a:moveTo>
                  <a:lnTo>
                    <a:pt x="2739" y="649753"/>
                  </a:lnTo>
                  <a:cubicBezTo>
                    <a:pt x="-18859" y="425421"/>
                    <a:pt x="88587" y="208239"/>
                    <a:pt x="280015" y="89298"/>
                  </a:cubicBezTo>
                  <a:cubicBezTo>
                    <a:pt x="471442" y="-29642"/>
                    <a:pt x="713750" y="-29777"/>
                    <a:pt x="905308" y="88952"/>
                  </a:cubicBezTo>
                  <a:close/>
                </a:path>
              </a:pathLst>
            </a:cu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110" name="Oval Callout 174"/>
            <p:cNvSpPr/>
            <p:nvPr/>
          </p:nvSpPr>
          <p:spPr>
            <a:xfrm>
              <a:off x="8944498" y="1290080"/>
              <a:ext cx="744578" cy="728228"/>
            </a:xfrm>
            <a:prstGeom prst="wedgeEllipseCallout">
              <a:avLst>
                <a:gd name="adj1" fmla="val 740"/>
                <a:gd name="adj2" fmla="val 93698"/>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11" name="Oval 175"/>
            <p:cNvSpPr/>
            <p:nvPr/>
          </p:nvSpPr>
          <p:spPr>
            <a:xfrm>
              <a:off x="8994727" y="1340637"/>
              <a:ext cx="644120" cy="627109"/>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08" name="Freeform 351"/>
            <p:cNvSpPr/>
            <p:nvPr/>
          </p:nvSpPr>
          <p:spPr>
            <a:xfrm>
              <a:off x="9150515" y="1492313"/>
              <a:ext cx="238019" cy="290845"/>
            </a:xfrm>
            <a:custGeom>
              <a:avLst/>
              <a:gdLst>
                <a:gd name="connsiteX0" fmla="*/ 75158 w 648856"/>
                <a:gd name="connsiteY0" fmla="*/ 541527 h 798066"/>
                <a:gd name="connsiteX1" fmla="*/ 75158 w 648856"/>
                <a:gd name="connsiteY1" fmla="*/ 595527 h 798066"/>
                <a:gd name="connsiteX2" fmla="*/ 291795 w 648856"/>
                <a:gd name="connsiteY2" fmla="*/ 595527 h 798066"/>
                <a:gd name="connsiteX3" fmla="*/ 291795 w 648856"/>
                <a:gd name="connsiteY3" fmla="*/ 541527 h 798066"/>
                <a:gd name="connsiteX4" fmla="*/ 75158 w 648856"/>
                <a:gd name="connsiteY4" fmla="*/ 433522 h 798066"/>
                <a:gd name="connsiteX5" fmla="*/ 75158 w 648856"/>
                <a:gd name="connsiteY5" fmla="*/ 487522 h 798066"/>
                <a:gd name="connsiteX6" fmla="*/ 291795 w 648856"/>
                <a:gd name="connsiteY6" fmla="*/ 487522 h 798066"/>
                <a:gd name="connsiteX7" fmla="*/ 291795 w 648856"/>
                <a:gd name="connsiteY7" fmla="*/ 433522 h 798066"/>
                <a:gd name="connsiteX8" fmla="*/ 75158 w 648856"/>
                <a:gd name="connsiteY8" fmla="*/ 333241 h 798066"/>
                <a:gd name="connsiteX9" fmla="*/ 75158 w 648856"/>
                <a:gd name="connsiteY9" fmla="*/ 387241 h 798066"/>
                <a:gd name="connsiteX10" fmla="*/ 379008 w 648856"/>
                <a:gd name="connsiteY10" fmla="*/ 387241 h 798066"/>
                <a:gd name="connsiteX11" fmla="*/ 379008 w 648856"/>
                <a:gd name="connsiteY11" fmla="*/ 333241 h 798066"/>
                <a:gd name="connsiteX12" fmla="*/ 75158 w 648856"/>
                <a:gd name="connsiteY12" fmla="*/ 225241 h 798066"/>
                <a:gd name="connsiteX13" fmla="*/ 75158 w 648856"/>
                <a:gd name="connsiteY13" fmla="*/ 279241 h 798066"/>
                <a:gd name="connsiteX14" fmla="*/ 379008 w 648856"/>
                <a:gd name="connsiteY14" fmla="*/ 279241 h 798066"/>
                <a:gd name="connsiteX15" fmla="*/ 379008 w 648856"/>
                <a:gd name="connsiteY15" fmla="*/ 225241 h 798066"/>
                <a:gd name="connsiteX16" fmla="*/ 75158 w 648856"/>
                <a:gd name="connsiteY16" fmla="*/ 128819 h 798066"/>
                <a:gd name="connsiteX17" fmla="*/ 75158 w 648856"/>
                <a:gd name="connsiteY17" fmla="*/ 182819 h 798066"/>
                <a:gd name="connsiteX18" fmla="*/ 379008 w 648856"/>
                <a:gd name="connsiteY18" fmla="*/ 182819 h 798066"/>
                <a:gd name="connsiteX19" fmla="*/ 379008 w 648856"/>
                <a:gd name="connsiteY19" fmla="*/ 128819 h 798066"/>
                <a:gd name="connsiteX20" fmla="*/ 50974 w 648856"/>
                <a:gd name="connsiteY20" fmla="*/ 0 h 798066"/>
                <a:gd name="connsiteX21" fmla="*/ 597882 w 648856"/>
                <a:gd name="connsiteY21" fmla="*/ 0 h 798066"/>
                <a:gd name="connsiteX22" fmla="*/ 648856 w 648856"/>
                <a:gd name="connsiteY22" fmla="*/ 50369 h 798066"/>
                <a:gd name="connsiteX23" fmla="*/ 648856 w 648856"/>
                <a:gd name="connsiteY23" fmla="*/ 325399 h 798066"/>
                <a:gd name="connsiteX24" fmla="*/ 613340 w 648856"/>
                <a:gd name="connsiteY24" fmla="*/ 321452 h 798066"/>
                <a:gd name="connsiteX25" fmla="*/ 336296 w 648856"/>
                <a:gd name="connsiteY25" fmla="*/ 626875 h 798066"/>
                <a:gd name="connsiteX26" fmla="*/ 383611 w 648856"/>
                <a:gd name="connsiteY26" fmla="*/ 797640 h 798066"/>
                <a:gd name="connsiteX27" fmla="*/ 383930 w 648856"/>
                <a:gd name="connsiteY27" fmla="*/ 798066 h 798066"/>
                <a:gd name="connsiteX28" fmla="*/ 50974 w 648856"/>
                <a:gd name="connsiteY28" fmla="*/ 798066 h 798066"/>
                <a:gd name="connsiteX29" fmla="*/ 0 w 648856"/>
                <a:gd name="connsiteY29" fmla="*/ 747697 h 798066"/>
                <a:gd name="connsiteX30" fmla="*/ 0 w 648856"/>
                <a:gd name="connsiteY30" fmla="*/ 50369 h 798066"/>
                <a:gd name="connsiteX31" fmla="*/ 50974 w 648856"/>
                <a:gd name="connsiteY31" fmla="*/ 0 h 79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48856" h="798066">
                  <a:moveTo>
                    <a:pt x="75158" y="541527"/>
                  </a:moveTo>
                  <a:lnTo>
                    <a:pt x="75158" y="595527"/>
                  </a:lnTo>
                  <a:lnTo>
                    <a:pt x="291795" y="595527"/>
                  </a:lnTo>
                  <a:lnTo>
                    <a:pt x="291795" y="541527"/>
                  </a:lnTo>
                  <a:close/>
                  <a:moveTo>
                    <a:pt x="75158" y="433522"/>
                  </a:moveTo>
                  <a:lnTo>
                    <a:pt x="75158" y="487522"/>
                  </a:lnTo>
                  <a:lnTo>
                    <a:pt x="291795" y="487522"/>
                  </a:lnTo>
                  <a:lnTo>
                    <a:pt x="291795" y="433522"/>
                  </a:lnTo>
                  <a:close/>
                  <a:moveTo>
                    <a:pt x="75158" y="333241"/>
                  </a:moveTo>
                  <a:lnTo>
                    <a:pt x="75158" y="387241"/>
                  </a:lnTo>
                  <a:lnTo>
                    <a:pt x="379008" y="387241"/>
                  </a:lnTo>
                  <a:lnTo>
                    <a:pt x="379008" y="333241"/>
                  </a:lnTo>
                  <a:close/>
                  <a:moveTo>
                    <a:pt x="75158" y="225241"/>
                  </a:moveTo>
                  <a:lnTo>
                    <a:pt x="75158" y="279241"/>
                  </a:lnTo>
                  <a:lnTo>
                    <a:pt x="379008" y="279241"/>
                  </a:lnTo>
                  <a:lnTo>
                    <a:pt x="379008" y="225241"/>
                  </a:lnTo>
                  <a:close/>
                  <a:moveTo>
                    <a:pt x="75158" y="128819"/>
                  </a:moveTo>
                  <a:lnTo>
                    <a:pt x="75158" y="182819"/>
                  </a:lnTo>
                  <a:lnTo>
                    <a:pt x="379008" y="182819"/>
                  </a:lnTo>
                  <a:lnTo>
                    <a:pt x="379008" y="128819"/>
                  </a:lnTo>
                  <a:close/>
                  <a:moveTo>
                    <a:pt x="50974" y="0"/>
                  </a:moveTo>
                  <a:lnTo>
                    <a:pt x="597882" y="0"/>
                  </a:lnTo>
                  <a:cubicBezTo>
                    <a:pt x="626035" y="0"/>
                    <a:pt x="648856" y="22551"/>
                    <a:pt x="648856" y="50369"/>
                  </a:cubicBezTo>
                  <a:lnTo>
                    <a:pt x="648856" y="325399"/>
                  </a:lnTo>
                  <a:lnTo>
                    <a:pt x="613340" y="321452"/>
                  </a:lnTo>
                  <a:cubicBezTo>
                    <a:pt x="460332" y="321452"/>
                    <a:pt x="336296" y="458195"/>
                    <a:pt x="336296" y="626875"/>
                  </a:cubicBezTo>
                  <a:cubicBezTo>
                    <a:pt x="336296" y="690131"/>
                    <a:pt x="353738" y="748895"/>
                    <a:pt x="383611" y="797640"/>
                  </a:cubicBezTo>
                  <a:lnTo>
                    <a:pt x="383930" y="798066"/>
                  </a:lnTo>
                  <a:lnTo>
                    <a:pt x="50974" y="798066"/>
                  </a:lnTo>
                  <a:cubicBezTo>
                    <a:pt x="22822" y="798066"/>
                    <a:pt x="0" y="775515"/>
                    <a:pt x="0" y="747697"/>
                  </a:cubicBezTo>
                  <a:lnTo>
                    <a:pt x="0" y="50369"/>
                  </a:lnTo>
                  <a:cubicBezTo>
                    <a:pt x="0" y="22551"/>
                    <a:pt x="22822" y="0"/>
                    <a:pt x="50974" y="0"/>
                  </a:cubicBezTo>
                  <a:close/>
                </a:path>
              </a:pathLst>
            </a:custGeom>
            <a:solidFill>
              <a:srgbClr val="005EB8"/>
            </a:solidFill>
            <a:ln w="12700" cap="flat" cmpd="sng" algn="ctr">
              <a:noFill/>
              <a:prstDash val="solid"/>
              <a:miter lim="800000"/>
            </a:ln>
            <a:effectLst/>
          </p:spPr>
          <p:txBody>
            <a:bodyPr wrap="square" rtlCol="0" anchor="ctr">
              <a:noAutofit/>
            </a:bodyPr>
            <a:lstStyle/>
            <a:p>
              <a:pPr algn="ctr">
                <a:defRPr/>
              </a:pPr>
              <a:endParaRPr lang="en-US" sz="1350" kern="0">
                <a:solidFill>
                  <a:prstClr val="white"/>
                </a:solidFill>
                <a:latin typeface="Arial" panose="020B0604020202020204" pitchFamily="34" charset="0"/>
                <a:cs typeface="Arial" panose="020B0604020202020204" pitchFamily="34" charset="0"/>
              </a:endParaRPr>
            </a:p>
          </p:txBody>
        </p:sp>
        <p:sp>
          <p:nvSpPr>
            <p:cNvPr id="109" name="Freeform 352"/>
            <p:cNvSpPr>
              <a:spLocks/>
            </p:cNvSpPr>
            <p:nvPr/>
          </p:nvSpPr>
          <p:spPr bwMode="auto">
            <a:xfrm>
              <a:off x="9288115" y="1625896"/>
              <a:ext cx="194945" cy="190181"/>
            </a:xfrm>
            <a:custGeom>
              <a:avLst/>
              <a:gdLst>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91942 w 985025"/>
                <a:gd name="connsiteY91" fmla="*/ 155728 h 978864"/>
                <a:gd name="connsiteX92" fmla="*/ 283027 w 985025"/>
                <a:gd name="connsiteY92" fmla="*/ 46718 h 978864"/>
                <a:gd name="connsiteX93" fmla="*/ 285256 w 985025"/>
                <a:gd name="connsiteY93" fmla="*/ 44494 h 978864"/>
                <a:gd name="connsiteX94" fmla="*/ 369942 w 985025"/>
                <a:gd name="connsiteY94" fmla="*/ 13348 h 978864"/>
                <a:gd name="connsiteX95" fmla="*/ 376627 w 985025"/>
                <a:gd name="connsiteY95" fmla="*/ 15573 h 978864"/>
                <a:gd name="connsiteX96" fmla="*/ 434570 w 985025"/>
                <a:gd name="connsiteY96" fmla="*/ 104560 h 978864"/>
                <a:gd name="connsiteX97" fmla="*/ 439027 w 985025"/>
                <a:gd name="connsiteY97" fmla="*/ 109010 h 978864"/>
                <a:gd name="connsiteX98" fmla="*/ 481370 w 985025"/>
                <a:gd name="connsiteY98" fmla="*/ 104560 h 978864"/>
                <a:gd name="connsiteX99" fmla="*/ 488055 w 985025"/>
                <a:gd name="connsiteY99" fmla="*/ 100111 h 978864"/>
                <a:gd name="connsiteX100" fmla="*/ 532627 w 985025"/>
                <a:gd name="connsiteY100" fmla="*/ 2225 h 978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985025" h="978864">
                  <a:moveTo>
                    <a:pt x="492512" y="301234"/>
                  </a:moveTo>
                  <a:cubicBezTo>
                    <a:pt x="388030" y="301234"/>
                    <a:pt x="303330" y="385493"/>
                    <a:pt x="303330" y="489432"/>
                  </a:cubicBezTo>
                  <a:cubicBezTo>
                    <a:pt x="303330" y="593371"/>
                    <a:pt x="388030" y="677630"/>
                    <a:pt x="492512" y="677630"/>
                  </a:cubicBezTo>
                  <a:cubicBezTo>
                    <a:pt x="596994" y="677630"/>
                    <a:pt x="681694" y="593371"/>
                    <a:pt x="681694" y="489432"/>
                  </a:cubicBezTo>
                  <a:cubicBezTo>
                    <a:pt x="681694" y="385493"/>
                    <a:pt x="596994" y="301234"/>
                    <a:pt x="492512" y="301234"/>
                  </a:cubicBezTo>
                  <a:close/>
                  <a:moveTo>
                    <a:pt x="537084" y="0"/>
                  </a:moveTo>
                  <a:lnTo>
                    <a:pt x="626226" y="15573"/>
                  </a:lnTo>
                  <a:lnTo>
                    <a:pt x="630684" y="22247"/>
                  </a:lnTo>
                  <a:lnTo>
                    <a:pt x="637369" y="126807"/>
                  </a:lnTo>
                  <a:lnTo>
                    <a:pt x="641826" y="133481"/>
                  </a:lnTo>
                  <a:lnTo>
                    <a:pt x="677483" y="153504"/>
                  </a:lnTo>
                  <a:lnTo>
                    <a:pt x="686398" y="149054"/>
                  </a:lnTo>
                  <a:lnTo>
                    <a:pt x="773312" y="88988"/>
                  </a:lnTo>
                  <a:lnTo>
                    <a:pt x="779997" y="88988"/>
                  </a:lnTo>
                  <a:lnTo>
                    <a:pt x="846854" y="146830"/>
                  </a:lnTo>
                  <a:lnTo>
                    <a:pt x="846854" y="153504"/>
                  </a:lnTo>
                  <a:lnTo>
                    <a:pt x="800054" y="249165"/>
                  </a:lnTo>
                  <a:lnTo>
                    <a:pt x="800054" y="255839"/>
                  </a:lnTo>
                  <a:lnTo>
                    <a:pt x="822340" y="289210"/>
                  </a:lnTo>
                  <a:lnTo>
                    <a:pt x="829026" y="291434"/>
                  </a:lnTo>
                  <a:lnTo>
                    <a:pt x="938225" y="280311"/>
                  </a:lnTo>
                  <a:lnTo>
                    <a:pt x="940454" y="286985"/>
                  </a:lnTo>
                  <a:lnTo>
                    <a:pt x="971654" y="369299"/>
                  </a:lnTo>
                  <a:lnTo>
                    <a:pt x="967197" y="375973"/>
                  </a:lnTo>
                  <a:lnTo>
                    <a:pt x="878054" y="433815"/>
                  </a:lnTo>
                  <a:lnTo>
                    <a:pt x="875825" y="438264"/>
                  </a:lnTo>
                  <a:lnTo>
                    <a:pt x="878054" y="480533"/>
                  </a:lnTo>
                  <a:lnTo>
                    <a:pt x="884740" y="487207"/>
                  </a:lnTo>
                  <a:lnTo>
                    <a:pt x="982797" y="531701"/>
                  </a:lnTo>
                  <a:lnTo>
                    <a:pt x="985025" y="536151"/>
                  </a:lnTo>
                  <a:lnTo>
                    <a:pt x="967197" y="622914"/>
                  </a:lnTo>
                  <a:lnTo>
                    <a:pt x="962739" y="627363"/>
                  </a:lnTo>
                  <a:lnTo>
                    <a:pt x="855768" y="634037"/>
                  </a:lnTo>
                  <a:lnTo>
                    <a:pt x="851311" y="636262"/>
                  </a:lnTo>
                  <a:lnTo>
                    <a:pt x="831254" y="676306"/>
                  </a:lnTo>
                  <a:lnTo>
                    <a:pt x="831254" y="680756"/>
                  </a:lnTo>
                  <a:lnTo>
                    <a:pt x="895883" y="769743"/>
                  </a:lnTo>
                  <a:lnTo>
                    <a:pt x="895883" y="776417"/>
                  </a:lnTo>
                  <a:lnTo>
                    <a:pt x="835711" y="843158"/>
                  </a:lnTo>
                  <a:lnTo>
                    <a:pt x="831254" y="843158"/>
                  </a:lnTo>
                  <a:lnTo>
                    <a:pt x="733197" y="794215"/>
                  </a:lnTo>
                  <a:lnTo>
                    <a:pt x="728740" y="794215"/>
                  </a:lnTo>
                  <a:lnTo>
                    <a:pt x="695312" y="816462"/>
                  </a:lnTo>
                  <a:lnTo>
                    <a:pt x="690855" y="825360"/>
                  </a:lnTo>
                  <a:lnTo>
                    <a:pt x="701998" y="932146"/>
                  </a:lnTo>
                  <a:lnTo>
                    <a:pt x="697540" y="936595"/>
                  </a:lnTo>
                  <a:lnTo>
                    <a:pt x="612855" y="965516"/>
                  </a:lnTo>
                  <a:lnTo>
                    <a:pt x="608398" y="965516"/>
                  </a:lnTo>
                  <a:lnTo>
                    <a:pt x="548227" y="876528"/>
                  </a:lnTo>
                  <a:lnTo>
                    <a:pt x="543770" y="872079"/>
                  </a:lnTo>
                  <a:lnTo>
                    <a:pt x="501427" y="876528"/>
                  </a:lnTo>
                  <a:lnTo>
                    <a:pt x="494741" y="878753"/>
                  </a:lnTo>
                  <a:lnTo>
                    <a:pt x="450170" y="976639"/>
                  </a:lnTo>
                  <a:lnTo>
                    <a:pt x="445713" y="978864"/>
                  </a:lnTo>
                  <a:lnTo>
                    <a:pt x="356570" y="961067"/>
                  </a:lnTo>
                  <a:lnTo>
                    <a:pt x="352113" y="958842"/>
                  </a:lnTo>
                  <a:lnTo>
                    <a:pt x="347656" y="849832"/>
                  </a:lnTo>
                  <a:lnTo>
                    <a:pt x="340970" y="845383"/>
                  </a:lnTo>
                  <a:lnTo>
                    <a:pt x="305313" y="827585"/>
                  </a:lnTo>
                  <a:lnTo>
                    <a:pt x="296399" y="827585"/>
                  </a:lnTo>
                  <a:lnTo>
                    <a:pt x="211713" y="889877"/>
                  </a:lnTo>
                  <a:lnTo>
                    <a:pt x="205028" y="889877"/>
                  </a:lnTo>
                  <a:lnTo>
                    <a:pt x="138171" y="832035"/>
                  </a:lnTo>
                  <a:lnTo>
                    <a:pt x="135942" y="825360"/>
                  </a:lnTo>
                  <a:lnTo>
                    <a:pt x="182742" y="727474"/>
                  </a:lnTo>
                  <a:lnTo>
                    <a:pt x="182742" y="723025"/>
                  </a:lnTo>
                  <a:lnTo>
                    <a:pt x="160457" y="689654"/>
                  </a:lnTo>
                  <a:lnTo>
                    <a:pt x="153771" y="687430"/>
                  </a:lnTo>
                  <a:lnTo>
                    <a:pt x="49028" y="698553"/>
                  </a:lnTo>
                  <a:lnTo>
                    <a:pt x="42343" y="694104"/>
                  </a:lnTo>
                  <a:lnTo>
                    <a:pt x="11143" y="611790"/>
                  </a:lnTo>
                  <a:lnTo>
                    <a:pt x="15600" y="605116"/>
                  </a:lnTo>
                  <a:lnTo>
                    <a:pt x="104742" y="545049"/>
                  </a:lnTo>
                  <a:lnTo>
                    <a:pt x="106971" y="538375"/>
                  </a:lnTo>
                  <a:lnTo>
                    <a:pt x="104742" y="498331"/>
                  </a:lnTo>
                  <a:lnTo>
                    <a:pt x="102514" y="491657"/>
                  </a:lnTo>
                  <a:lnTo>
                    <a:pt x="4457" y="447163"/>
                  </a:lnTo>
                  <a:lnTo>
                    <a:pt x="0" y="442714"/>
                  </a:lnTo>
                  <a:lnTo>
                    <a:pt x="15600" y="355951"/>
                  </a:lnTo>
                  <a:lnTo>
                    <a:pt x="20057" y="353726"/>
                  </a:lnTo>
                  <a:lnTo>
                    <a:pt x="129257" y="344827"/>
                  </a:lnTo>
                  <a:lnTo>
                    <a:pt x="135942" y="342602"/>
                  </a:lnTo>
                  <a:lnTo>
                    <a:pt x="151542" y="304783"/>
                  </a:lnTo>
                  <a:lnTo>
                    <a:pt x="151542" y="298109"/>
                  </a:lnTo>
                  <a:lnTo>
                    <a:pt x="91371" y="211346"/>
                  </a:lnTo>
                  <a:lnTo>
                    <a:pt x="91371" y="202447"/>
                  </a:lnTo>
                  <a:lnTo>
                    <a:pt x="147085" y="135706"/>
                  </a:lnTo>
                  <a:lnTo>
                    <a:pt x="153771" y="135706"/>
                  </a:lnTo>
                  <a:lnTo>
                    <a:pt x="249599" y="182425"/>
                  </a:lnTo>
                  <a:lnTo>
                    <a:pt x="256285" y="182425"/>
                  </a:lnTo>
                  <a:lnTo>
                    <a:pt x="289713" y="160178"/>
                  </a:lnTo>
                  <a:lnTo>
                    <a:pt x="291942" y="155728"/>
                  </a:lnTo>
                  <a:lnTo>
                    <a:pt x="283027" y="46718"/>
                  </a:lnTo>
                  <a:lnTo>
                    <a:pt x="285256" y="44494"/>
                  </a:lnTo>
                  <a:lnTo>
                    <a:pt x="369942" y="13348"/>
                  </a:lnTo>
                  <a:lnTo>
                    <a:pt x="376627" y="15573"/>
                  </a:lnTo>
                  <a:lnTo>
                    <a:pt x="434570" y="104560"/>
                  </a:lnTo>
                  <a:lnTo>
                    <a:pt x="439027" y="109010"/>
                  </a:lnTo>
                  <a:lnTo>
                    <a:pt x="481370" y="104560"/>
                  </a:lnTo>
                  <a:lnTo>
                    <a:pt x="488055" y="100111"/>
                  </a:lnTo>
                  <a:lnTo>
                    <a:pt x="532627" y="2225"/>
                  </a:lnTo>
                  <a:close/>
                </a:path>
              </a:pathLst>
            </a:custGeom>
            <a:solidFill>
              <a:srgbClr val="005EB8"/>
            </a:solidFill>
            <a:ln w="0">
              <a:noFill/>
              <a:prstDash val="solid"/>
              <a:round/>
              <a:headEnd/>
              <a:tailEnd/>
            </a:ln>
            <a:effectLst/>
          </p:spPr>
          <p:txBody>
            <a:bodyPr vert="horz" wrap="square" lIns="68580" tIns="34290" rIns="68580" bIns="34290" numCol="1" anchor="t" anchorCtr="0" compatLnSpc="1">
              <a:prstTxWarp prst="textNoShape">
                <a:avLst/>
              </a:prstTxWarp>
              <a:noAutofit/>
            </a:bodyPr>
            <a:lstStyle/>
            <a:p>
              <a:pPr>
                <a:defRPr/>
              </a:pPr>
              <a:endParaRPr lang="en-US" sz="1350" kern="0">
                <a:solidFill>
                  <a:prstClr val="black"/>
                </a:solidFill>
                <a:latin typeface="Arial" panose="020B0604020202020204" pitchFamily="34" charset="0"/>
                <a:cs typeface="Arial" panose="020B0604020202020204" pitchFamily="34" charset="0"/>
              </a:endParaRPr>
            </a:p>
          </p:txBody>
        </p:sp>
        <p:sp>
          <p:nvSpPr>
            <p:cNvPr id="104" name="Oval Callout 80"/>
            <p:cNvSpPr/>
            <p:nvPr/>
          </p:nvSpPr>
          <p:spPr>
            <a:xfrm flipV="1">
              <a:off x="6018278" y="4028119"/>
              <a:ext cx="744578" cy="728228"/>
            </a:xfrm>
            <a:prstGeom prst="wedgeEllipseCallout">
              <a:avLst>
                <a:gd name="adj1" fmla="val 740"/>
                <a:gd name="adj2" fmla="val 93698"/>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05" name="Oval 81"/>
            <p:cNvSpPr/>
            <p:nvPr/>
          </p:nvSpPr>
          <p:spPr>
            <a:xfrm flipV="1">
              <a:off x="6068507" y="4078677"/>
              <a:ext cx="644120" cy="627109"/>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00" name="Freeform 360"/>
            <p:cNvSpPr/>
            <p:nvPr/>
          </p:nvSpPr>
          <p:spPr>
            <a:xfrm rot="5635743" flipH="1" flipV="1">
              <a:off x="6391456" y="4188558"/>
              <a:ext cx="190416" cy="208070"/>
            </a:xfrm>
            <a:custGeom>
              <a:avLst/>
              <a:gdLst>
                <a:gd name="connsiteX0" fmla="*/ 914369 w 1816194"/>
                <a:gd name="connsiteY0" fmla="*/ 1345127 h 1690670"/>
                <a:gd name="connsiteX1" fmla="*/ 1166515 w 1816194"/>
                <a:gd name="connsiteY1" fmla="*/ 1525017 h 1690670"/>
                <a:gd name="connsiteX2" fmla="*/ 1656860 w 1816194"/>
                <a:gd name="connsiteY2" fmla="*/ 837718 h 1690670"/>
                <a:gd name="connsiteX3" fmla="*/ 1404715 w 1816194"/>
                <a:gd name="connsiteY3" fmla="*/ 657828 h 1690670"/>
                <a:gd name="connsiteX4" fmla="*/ 562798 w 1816194"/>
                <a:gd name="connsiteY4" fmla="*/ 1097444 h 1690670"/>
                <a:gd name="connsiteX5" fmla="*/ 814944 w 1816194"/>
                <a:gd name="connsiteY5" fmla="*/ 1277334 h 1690670"/>
                <a:gd name="connsiteX6" fmla="*/ 1305289 w 1816194"/>
                <a:gd name="connsiteY6" fmla="*/ 590035 h 1690670"/>
                <a:gd name="connsiteX7" fmla="*/ 1053144 w 1816194"/>
                <a:gd name="connsiteY7" fmla="*/ 410145 h 1690670"/>
                <a:gd name="connsiteX8" fmla="*/ 188632 w 1816194"/>
                <a:gd name="connsiteY8" fmla="*/ 306313 h 1690670"/>
                <a:gd name="connsiteX9" fmla="*/ 271557 w 1816194"/>
                <a:gd name="connsiteY9" fmla="*/ 578756 h 1690670"/>
                <a:gd name="connsiteX10" fmla="*/ 468638 w 1816194"/>
                <a:gd name="connsiteY10" fmla="*/ 306313 h 1690670"/>
                <a:gd name="connsiteX11" fmla="*/ 214935 w 1816194"/>
                <a:gd name="connsiteY11" fmla="*/ 852992 h 1690670"/>
                <a:gd name="connsiteX12" fmla="*/ 467080 w 1816194"/>
                <a:gd name="connsiteY12" fmla="*/ 1032882 h 1690670"/>
                <a:gd name="connsiteX13" fmla="*/ 957425 w 1816194"/>
                <a:gd name="connsiteY13" fmla="*/ 345583 h 1690670"/>
                <a:gd name="connsiteX14" fmla="*/ 705280 w 1816194"/>
                <a:gd name="connsiteY14" fmla="*/ 165693 h 1690670"/>
                <a:gd name="connsiteX15" fmla="*/ 0 w 1816194"/>
                <a:gd name="connsiteY15" fmla="*/ 306313 h 1690670"/>
                <a:gd name="connsiteX16" fmla="*/ 0 w 1816194"/>
                <a:gd name="connsiteY16" fmla="*/ 188968 h 1690670"/>
                <a:gd name="connsiteX17" fmla="*/ 30254 w 1816194"/>
                <a:gd name="connsiteY17" fmla="*/ 188968 h 1690670"/>
                <a:gd name="connsiteX18" fmla="*/ 19387 w 1816194"/>
                <a:gd name="connsiteY18" fmla="*/ 153266 h 1690670"/>
                <a:gd name="connsiteX19" fmla="*/ 131647 w 1816194"/>
                <a:gd name="connsiteY19" fmla="*/ 119096 h 1690670"/>
                <a:gd name="connsiteX20" fmla="*/ 152915 w 1816194"/>
                <a:gd name="connsiteY20" fmla="*/ 188968 h 1690670"/>
                <a:gd name="connsiteX21" fmla="*/ 553523 w 1816194"/>
                <a:gd name="connsiteY21" fmla="*/ 188968 h 1690670"/>
                <a:gd name="connsiteX22" fmla="*/ 690218 w 1816194"/>
                <a:gd name="connsiteY22" fmla="*/ 0 h 1690670"/>
                <a:gd name="connsiteX23" fmla="*/ 1816194 w 1816194"/>
                <a:gd name="connsiteY23" fmla="*/ 814510 h 1690670"/>
                <a:gd name="connsiteX24" fmla="*/ 1182396 w 1816194"/>
                <a:gd name="connsiteY24" fmla="*/ 1690670 h 1690670"/>
                <a:gd name="connsiteX25" fmla="*/ 56421 w 1816194"/>
                <a:gd name="connsiteY25" fmla="*/ 876160 h 1690670"/>
                <a:gd name="connsiteX26" fmla="*/ 185224 w 1816194"/>
                <a:gd name="connsiteY26" fmla="*/ 698104 h 1690670"/>
                <a:gd name="connsiteX27" fmla="*/ 65971 w 1816194"/>
                <a:gd name="connsiteY27" fmla="*/ 306313 h 169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16194" h="1690670">
                  <a:moveTo>
                    <a:pt x="914369" y="1345127"/>
                  </a:moveTo>
                  <a:lnTo>
                    <a:pt x="1166515" y="1525017"/>
                  </a:lnTo>
                  <a:lnTo>
                    <a:pt x="1656860" y="837718"/>
                  </a:lnTo>
                  <a:lnTo>
                    <a:pt x="1404715" y="657828"/>
                  </a:lnTo>
                  <a:close/>
                  <a:moveTo>
                    <a:pt x="562798" y="1097444"/>
                  </a:moveTo>
                  <a:lnTo>
                    <a:pt x="814944" y="1277334"/>
                  </a:lnTo>
                  <a:lnTo>
                    <a:pt x="1305289" y="590035"/>
                  </a:lnTo>
                  <a:lnTo>
                    <a:pt x="1053144" y="410145"/>
                  </a:lnTo>
                  <a:close/>
                  <a:moveTo>
                    <a:pt x="188632" y="306313"/>
                  </a:moveTo>
                  <a:lnTo>
                    <a:pt x="271557" y="578756"/>
                  </a:lnTo>
                  <a:lnTo>
                    <a:pt x="468638" y="306313"/>
                  </a:lnTo>
                  <a:close/>
                  <a:moveTo>
                    <a:pt x="214935" y="852992"/>
                  </a:moveTo>
                  <a:lnTo>
                    <a:pt x="467080" y="1032882"/>
                  </a:lnTo>
                  <a:lnTo>
                    <a:pt x="957425" y="345583"/>
                  </a:lnTo>
                  <a:lnTo>
                    <a:pt x="705280" y="165693"/>
                  </a:lnTo>
                  <a:close/>
                  <a:moveTo>
                    <a:pt x="0" y="306313"/>
                  </a:moveTo>
                  <a:lnTo>
                    <a:pt x="0" y="188968"/>
                  </a:lnTo>
                  <a:lnTo>
                    <a:pt x="30254" y="188968"/>
                  </a:lnTo>
                  <a:lnTo>
                    <a:pt x="19387" y="153266"/>
                  </a:lnTo>
                  <a:lnTo>
                    <a:pt x="131647" y="119096"/>
                  </a:lnTo>
                  <a:lnTo>
                    <a:pt x="152915" y="188968"/>
                  </a:lnTo>
                  <a:lnTo>
                    <a:pt x="553523" y="188968"/>
                  </a:lnTo>
                  <a:lnTo>
                    <a:pt x="690218" y="0"/>
                  </a:lnTo>
                  <a:lnTo>
                    <a:pt x="1816194" y="814510"/>
                  </a:lnTo>
                  <a:lnTo>
                    <a:pt x="1182396" y="1690670"/>
                  </a:lnTo>
                  <a:lnTo>
                    <a:pt x="56421" y="876160"/>
                  </a:lnTo>
                  <a:lnTo>
                    <a:pt x="185224" y="698104"/>
                  </a:lnTo>
                  <a:lnTo>
                    <a:pt x="65971" y="306313"/>
                  </a:lnTo>
                  <a:close/>
                </a:path>
              </a:pathLst>
            </a:custGeom>
            <a:solidFill>
              <a:srgbClr val="00A3A1"/>
            </a:solidFill>
            <a:ln w="12700" cap="flat" cmpd="sng" algn="ctr">
              <a:noFill/>
              <a:prstDash val="solid"/>
              <a:miter lim="800000"/>
            </a:ln>
            <a:effectLst/>
          </p:spPr>
          <p:txBody>
            <a:bodyPr rtlCol="0" anchor="ctr"/>
            <a:lstStyle/>
            <a:p>
              <a:pPr algn="ctr">
                <a:defRPr/>
              </a:pPr>
              <a:endParaRPr lang="en-US" sz="1350" kern="0">
                <a:solidFill>
                  <a:prstClr val="white"/>
                </a:solidFill>
                <a:latin typeface="Arial" panose="020B0604020202020204" pitchFamily="34" charset="0"/>
                <a:cs typeface="Arial" panose="020B0604020202020204" pitchFamily="34" charset="0"/>
              </a:endParaRPr>
            </a:p>
          </p:txBody>
        </p:sp>
        <p:sp>
          <p:nvSpPr>
            <p:cNvPr id="101" name="Freeform 361"/>
            <p:cNvSpPr/>
            <p:nvPr/>
          </p:nvSpPr>
          <p:spPr>
            <a:xfrm rot="5635743">
              <a:off x="6199262" y="4387836"/>
              <a:ext cx="190416" cy="208070"/>
            </a:xfrm>
            <a:custGeom>
              <a:avLst/>
              <a:gdLst>
                <a:gd name="connsiteX0" fmla="*/ 914369 w 1816194"/>
                <a:gd name="connsiteY0" fmla="*/ 1345127 h 1690670"/>
                <a:gd name="connsiteX1" fmla="*/ 1166515 w 1816194"/>
                <a:gd name="connsiteY1" fmla="*/ 1525017 h 1690670"/>
                <a:gd name="connsiteX2" fmla="*/ 1656860 w 1816194"/>
                <a:gd name="connsiteY2" fmla="*/ 837718 h 1690670"/>
                <a:gd name="connsiteX3" fmla="*/ 1404715 w 1816194"/>
                <a:gd name="connsiteY3" fmla="*/ 657828 h 1690670"/>
                <a:gd name="connsiteX4" fmla="*/ 562798 w 1816194"/>
                <a:gd name="connsiteY4" fmla="*/ 1097444 h 1690670"/>
                <a:gd name="connsiteX5" fmla="*/ 814944 w 1816194"/>
                <a:gd name="connsiteY5" fmla="*/ 1277334 h 1690670"/>
                <a:gd name="connsiteX6" fmla="*/ 1305289 w 1816194"/>
                <a:gd name="connsiteY6" fmla="*/ 590035 h 1690670"/>
                <a:gd name="connsiteX7" fmla="*/ 1053144 w 1816194"/>
                <a:gd name="connsiteY7" fmla="*/ 410145 h 1690670"/>
                <a:gd name="connsiteX8" fmla="*/ 188632 w 1816194"/>
                <a:gd name="connsiteY8" fmla="*/ 306313 h 1690670"/>
                <a:gd name="connsiteX9" fmla="*/ 271557 w 1816194"/>
                <a:gd name="connsiteY9" fmla="*/ 578756 h 1690670"/>
                <a:gd name="connsiteX10" fmla="*/ 468638 w 1816194"/>
                <a:gd name="connsiteY10" fmla="*/ 306313 h 1690670"/>
                <a:gd name="connsiteX11" fmla="*/ 214935 w 1816194"/>
                <a:gd name="connsiteY11" fmla="*/ 852992 h 1690670"/>
                <a:gd name="connsiteX12" fmla="*/ 467080 w 1816194"/>
                <a:gd name="connsiteY12" fmla="*/ 1032882 h 1690670"/>
                <a:gd name="connsiteX13" fmla="*/ 957425 w 1816194"/>
                <a:gd name="connsiteY13" fmla="*/ 345583 h 1690670"/>
                <a:gd name="connsiteX14" fmla="*/ 705280 w 1816194"/>
                <a:gd name="connsiteY14" fmla="*/ 165693 h 1690670"/>
                <a:gd name="connsiteX15" fmla="*/ 0 w 1816194"/>
                <a:gd name="connsiteY15" fmla="*/ 306313 h 1690670"/>
                <a:gd name="connsiteX16" fmla="*/ 0 w 1816194"/>
                <a:gd name="connsiteY16" fmla="*/ 188968 h 1690670"/>
                <a:gd name="connsiteX17" fmla="*/ 30254 w 1816194"/>
                <a:gd name="connsiteY17" fmla="*/ 188968 h 1690670"/>
                <a:gd name="connsiteX18" fmla="*/ 19387 w 1816194"/>
                <a:gd name="connsiteY18" fmla="*/ 153266 h 1690670"/>
                <a:gd name="connsiteX19" fmla="*/ 131647 w 1816194"/>
                <a:gd name="connsiteY19" fmla="*/ 119096 h 1690670"/>
                <a:gd name="connsiteX20" fmla="*/ 152915 w 1816194"/>
                <a:gd name="connsiteY20" fmla="*/ 188968 h 1690670"/>
                <a:gd name="connsiteX21" fmla="*/ 553523 w 1816194"/>
                <a:gd name="connsiteY21" fmla="*/ 188968 h 1690670"/>
                <a:gd name="connsiteX22" fmla="*/ 690218 w 1816194"/>
                <a:gd name="connsiteY22" fmla="*/ 0 h 1690670"/>
                <a:gd name="connsiteX23" fmla="*/ 1816194 w 1816194"/>
                <a:gd name="connsiteY23" fmla="*/ 814510 h 1690670"/>
                <a:gd name="connsiteX24" fmla="*/ 1182396 w 1816194"/>
                <a:gd name="connsiteY24" fmla="*/ 1690670 h 1690670"/>
                <a:gd name="connsiteX25" fmla="*/ 56421 w 1816194"/>
                <a:gd name="connsiteY25" fmla="*/ 876160 h 1690670"/>
                <a:gd name="connsiteX26" fmla="*/ 185224 w 1816194"/>
                <a:gd name="connsiteY26" fmla="*/ 698104 h 1690670"/>
                <a:gd name="connsiteX27" fmla="*/ 65971 w 1816194"/>
                <a:gd name="connsiteY27" fmla="*/ 306313 h 169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16194" h="1690670">
                  <a:moveTo>
                    <a:pt x="914369" y="1345127"/>
                  </a:moveTo>
                  <a:lnTo>
                    <a:pt x="1166515" y="1525017"/>
                  </a:lnTo>
                  <a:lnTo>
                    <a:pt x="1656860" y="837718"/>
                  </a:lnTo>
                  <a:lnTo>
                    <a:pt x="1404715" y="657828"/>
                  </a:lnTo>
                  <a:close/>
                  <a:moveTo>
                    <a:pt x="562798" y="1097444"/>
                  </a:moveTo>
                  <a:lnTo>
                    <a:pt x="814944" y="1277334"/>
                  </a:lnTo>
                  <a:lnTo>
                    <a:pt x="1305289" y="590035"/>
                  </a:lnTo>
                  <a:lnTo>
                    <a:pt x="1053144" y="410145"/>
                  </a:lnTo>
                  <a:close/>
                  <a:moveTo>
                    <a:pt x="188632" y="306313"/>
                  </a:moveTo>
                  <a:lnTo>
                    <a:pt x="271557" y="578756"/>
                  </a:lnTo>
                  <a:lnTo>
                    <a:pt x="468638" y="306313"/>
                  </a:lnTo>
                  <a:close/>
                  <a:moveTo>
                    <a:pt x="214935" y="852992"/>
                  </a:moveTo>
                  <a:lnTo>
                    <a:pt x="467080" y="1032882"/>
                  </a:lnTo>
                  <a:lnTo>
                    <a:pt x="957425" y="345583"/>
                  </a:lnTo>
                  <a:lnTo>
                    <a:pt x="705280" y="165693"/>
                  </a:lnTo>
                  <a:close/>
                  <a:moveTo>
                    <a:pt x="0" y="306313"/>
                  </a:moveTo>
                  <a:lnTo>
                    <a:pt x="0" y="188968"/>
                  </a:lnTo>
                  <a:lnTo>
                    <a:pt x="30254" y="188968"/>
                  </a:lnTo>
                  <a:lnTo>
                    <a:pt x="19387" y="153266"/>
                  </a:lnTo>
                  <a:lnTo>
                    <a:pt x="131647" y="119096"/>
                  </a:lnTo>
                  <a:lnTo>
                    <a:pt x="152915" y="188968"/>
                  </a:lnTo>
                  <a:lnTo>
                    <a:pt x="553523" y="188968"/>
                  </a:lnTo>
                  <a:lnTo>
                    <a:pt x="690218" y="0"/>
                  </a:lnTo>
                  <a:lnTo>
                    <a:pt x="1816194" y="814510"/>
                  </a:lnTo>
                  <a:lnTo>
                    <a:pt x="1182396" y="1690670"/>
                  </a:lnTo>
                  <a:lnTo>
                    <a:pt x="56421" y="876160"/>
                  </a:lnTo>
                  <a:lnTo>
                    <a:pt x="185224" y="698104"/>
                  </a:lnTo>
                  <a:lnTo>
                    <a:pt x="65971" y="306313"/>
                  </a:lnTo>
                  <a:close/>
                </a:path>
              </a:pathLst>
            </a:custGeom>
            <a:solidFill>
              <a:srgbClr val="00A3A1"/>
            </a:solidFill>
            <a:ln w="12700" cap="flat" cmpd="sng" algn="ctr">
              <a:noFill/>
              <a:prstDash val="solid"/>
              <a:miter lim="800000"/>
            </a:ln>
            <a:effectLst/>
          </p:spPr>
          <p:txBody>
            <a:bodyPr rtlCol="0" anchor="ctr"/>
            <a:lstStyle/>
            <a:p>
              <a:pPr algn="ctr">
                <a:defRPr/>
              </a:pPr>
              <a:endParaRPr lang="en-US" sz="1350" kern="0">
                <a:solidFill>
                  <a:prstClr val="white"/>
                </a:solidFill>
                <a:latin typeface="Arial" panose="020B0604020202020204" pitchFamily="34" charset="0"/>
                <a:cs typeface="Arial" panose="020B0604020202020204" pitchFamily="34" charset="0"/>
              </a:endParaRPr>
            </a:p>
          </p:txBody>
        </p:sp>
        <p:sp>
          <p:nvSpPr>
            <p:cNvPr id="102" name="Oval 362"/>
            <p:cNvSpPr/>
            <p:nvPr/>
          </p:nvSpPr>
          <p:spPr>
            <a:xfrm rot="18624017">
              <a:off x="6412728" y="4410020"/>
              <a:ext cx="114508" cy="63338"/>
            </a:xfrm>
            <a:prstGeom prst="ellipse">
              <a:avLst/>
            </a:prstGeom>
            <a:solidFill>
              <a:srgbClr val="00A3A1"/>
            </a:solidFill>
            <a:ln w="12700" cap="flat" cmpd="sng" algn="ctr">
              <a:noFill/>
              <a:prstDash val="solid"/>
              <a:miter lim="800000"/>
            </a:ln>
            <a:effectLst/>
          </p:spPr>
          <p:txBody>
            <a:bodyPr rtlCol="0" anchor="ctr"/>
            <a:lstStyle/>
            <a:p>
              <a:pPr algn="ctr">
                <a:defRPr/>
              </a:pPr>
              <a:endParaRPr lang="en-US" sz="1350" kern="0">
                <a:solidFill>
                  <a:prstClr val="white"/>
                </a:solidFill>
                <a:latin typeface="Arial" panose="020B0604020202020204" pitchFamily="34" charset="0"/>
                <a:cs typeface="Arial" panose="020B0604020202020204" pitchFamily="34" charset="0"/>
              </a:endParaRPr>
            </a:p>
          </p:txBody>
        </p:sp>
        <p:sp>
          <p:nvSpPr>
            <p:cNvPr id="103" name="Freeform 363"/>
            <p:cNvSpPr/>
            <p:nvPr/>
          </p:nvSpPr>
          <p:spPr>
            <a:xfrm rot="18578080">
              <a:off x="6336776" y="4269018"/>
              <a:ext cx="58002" cy="202952"/>
            </a:xfrm>
            <a:custGeom>
              <a:avLst/>
              <a:gdLst>
                <a:gd name="connsiteX0" fmla="*/ 542041 w 554801"/>
                <a:gd name="connsiteY0" fmla="*/ 245275 h 1657430"/>
                <a:gd name="connsiteX1" fmla="*/ 554801 w 554801"/>
                <a:gd name="connsiteY1" fmla="*/ 1627335 h 1657430"/>
                <a:gd name="connsiteX2" fmla="*/ 0 w 554801"/>
                <a:gd name="connsiteY2" fmla="*/ 1657430 h 1657430"/>
                <a:gd name="connsiteX3" fmla="*/ 0 w 554801"/>
                <a:gd name="connsiteY3" fmla="*/ 245275 h 1657430"/>
                <a:gd name="connsiteX4" fmla="*/ 105802 w 554801"/>
                <a:gd name="connsiteY4" fmla="*/ 245275 h 1657430"/>
                <a:gd name="connsiteX5" fmla="*/ 104770 w 554801"/>
                <a:gd name="connsiteY5" fmla="*/ 157082 h 1657430"/>
                <a:gd name="connsiteX6" fmla="*/ 258209 w 554801"/>
                <a:gd name="connsiteY6" fmla="*/ 10 h 1657430"/>
                <a:gd name="connsiteX7" fmla="*/ 415281 w 554801"/>
                <a:gd name="connsiteY7" fmla="*/ 153449 h 1657430"/>
                <a:gd name="connsiteX8" fmla="*/ 416355 w 554801"/>
                <a:gd name="connsiteY8" fmla="*/ 245275 h 1657430"/>
                <a:gd name="connsiteX0" fmla="*/ 542041 w 554801"/>
                <a:gd name="connsiteY0" fmla="*/ 245275 h 1657430"/>
                <a:gd name="connsiteX1" fmla="*/ 554801 w 554801"/>
                <a:gd name="connsiteY1" fmla="*/ 1627335 h 1657430"/>
                <a:gd name="connsiteX2" fmla="*/ 0 w 554801"/>
                <a:gd name="connsiteY2" fmla="*/ 1657430 h 1657430"/>
                <a:gd name="connsiteX3" fmla="*/ 0 w 554801"/>
                <a:gd name="connsiteY3" fmla="*/ 245275 h 1657430"/>
                <a:gd name="connsiteX4" fmla="*/ 105802 w 554801"/>
                <a:gd name="connsiteY4" fmla="*/ 245275 h 1657430"/>
                <a:gd name="connsiteX5" fmla="*/ 104770 w 554801"/>
                <a:gd name="connsiteY5" fmla="*/ 157082 h 1657430"/>
                <a:gd name="connsiteX6" fmla="*/ 258209 w 554801"/>
                <a:gd name="connsiteY6" fmla="*/ 10 h 1657430"/>
                <a:gd name="connsiteX7" fmla="*/ 415281 w 554801"/>
                <a:gd name="connsiteY7" fmla="*/ 153449 h 1657430"/>
                <a:gd name="connsiteX8" fmla="*/ 416355 w 554801"/>
                <a:gd name="connsiteY8" fmla="*/ 245275 h 1657430"/>
                <a:gd name="connsiteX9" fmla="*/ 542041 w 554801"/>
                <a:gd name="connsiteY9" fmla="*/ 245275 h 1657430"/>
                <a:gd name="connsiteX0" fmla="*/ 542041 w 553232"/>
                <a:gd name="connsiteY0" fmla="*/ 245275 h 1657430"/>
                <a:gd name="connsiteX1" fmla="*/ 553232 w 553232"/>
                <a:gd name="connsiteY1" fmla="*/ 1644011 h 1657430"/>
                <a:gd name="connsiteX2" fmla="*/ 0 w 553232"/>
                <a:gd name="connsiteY2" fmla="*/ 1657430 h 1657430"/>
                <a:gd name="connsiteX3" fmla="*/ 0 w 553232"/>
                <a:gd name="connsiteY3" fmla="*/ 245275 h 1657430"/>
                <a:gd name="connsiteX4" fmla="*/ 105802 w 553232"/>
                <a:gd name="connsiteY4" fmla="*/ 245275 h 1657430"/>
                <a:gd name="connsiteX5" fmla="*/ 104770 w 553232"/>
                <a:gd name="connsiteY5" fmla="*/ 157082 h 1657430"/>
                <a:gd name="connsiteX6" fmla="*/ 258209 w 553232"/>
                <a:gd name="connsiteY6" fmla="*/ 10 h 1657430"/>
                <a:gd name="connsiteX7" fmla="*/ 415281 w 553232"/>
                <a:gd name="connsiteY7" fmla="*/ 153449 h 1657430"/>
                <a:gd name="connsiteX8" fmla="*/ 416355 w 553232"/>
                <a:gd name="connsiteY8" fmla="*/ 245275 h 1657430"/>
                <a:gd name="connsiteX9" fmla="*/ 542041 w 553232"/>
                <a:gd name="connsiteY9" fmla="*/ 245275 h 1657430"/>
                <a:gd name="connsiteX0" fmla="*/ 542041 w 553232"/>
                <a:gd name="connsiteY0" fmla="*/ 245275 h 1649091"/>
                <a:gd name="connsiteX1" fmla="*/ 553232 w 553232"/>
                <a:gd name="connsiteY1" fmla="*/ 1644011 h 1649091"/>
                <a:gd name="connsiteX2" fmla="*/ 784 w 553232"/>
                <a:gd name="connsiteY2" fmla="*/ 1649091 h 1649091"/>
                <a:gd name="connsiteX3" fmla="*/ 0 w 553232"/>
                <a:gd name="connsiteY3" fmla="*/ 245275 h 1649091"/>
                <a:gd name="connsiteX4" fmla="*/ 105802 w 553232"/>
                <a:gd name="connsiteY4" fmla="*/ 245275 h 1649091"/>
                <a:gd name="connsiteX5" fmla="*/ 104770 w 553232"/>
                <a:gd name="connsiteY5" fmla="*/ 157082 h 1649091"/>
                <a:gd name="connsiteX6" fmla="*/ 258209 w 553232"/>
                <a:gd name="connsiteY6" fmla="*/ 10 h 1649091"/>
                <a:gd name="connsiteX7" fmla="*/ 415281 w 553232"/>
                <a:gd name="connsiteY7" fmla="*/ 153449 h 1649091"/>
                <a:gd name="connsiteX8" fmla="*/ 416355 w 553232"/>
                <a:gd name="connsiteY8" fmla="*/ 245275 h 1649091"/>
                <a:gd name="connsiteX9" fmla="*/ 542041 w 553232"/>
                <a:gd name="connsiteY9" fmla="*/ 245275 h 1649091"/>
                <a:gd name="connsiteX0" fmla="*/ 542041 w 553232"/>
                <a:gd name="connsiteY0" fmla="*/ 245275 h 1649091"/>
                <a:gd name="connsiteX1" fmla="*/ 553232 w 553232"/>
                <a:gd name="connsiteY1" fmla="*/ 1644011 h 1649091"/>
                <a:gd name="connsiteX2" fmla="*/ 784 w 553232"/>
                <a:gd name="connsiteY2" fmla="*/ 1649091 h 1649091"/>
                <a:gd name="connsiteX3" fmla="*/ 0 w 553232"/>
                <a:gd name="connsiteY3" fmla="*/ 245275 h 1649091"/>
                <a:gd name="connsiteX4" fmla="*/ 105802 w 553232"/>
                <a:gd name="connsiteY4" fmla="*/ 245275 h 1649091"/>
                <a:gd name="connsiteX5" fmla="*/ 104770 w 553232"/>
                <a:gd name="connsiteY5" fmla="*/ 157082 h 1649091"/>
                <a:gd name="connsiteX6" fmla="*/ 258209 w 553232"/>
                <a:gd name="connsiteY6" fmla="*/ 10 h 1649091"/>
                <a:gd name="connsiteX7" fmla="*/ 415281 w 553232"/>
                <a:gd name="connsiteY7" fmla="*/ 153449 h 1649091"/>
                <a:gd name="connsiteX8" fmla="*/ 416355 w 553232"/>
                <a:gd name="connsiteY8" fmla="*/ 245275 h 1649091"/>
                <a:gd name="connsiteX9" fmla="*/ 542041 w 553232"/>
                <a:gd name="connsiteY9" fmla="*/ 245275 h 1649091"/>
                <a:gd name="connsiteX0" fmla="*/ 542041 w 553232"/>
                <a:gd name="connsiteY0" fmla="*/ 245275 h 1649091"/>
                <a:gd name="connsiteX1" fmla="*/ 553232 w 553232"/>
                <a:gd name="connsiteY1" fmla="*/ 1644011 h 1649091"/>
                <a:gd name="connsiteX2" fmla="*/ 784 w 553232"/>
                <a:gd name="connsiteY2" fmla="*/ 1649091 h 1649091"/>
                <a:gd name="connsiteX3" fmla="*/ 0 w 553232"/>
                <a:gd name="connsiteY3" fmla="*/ 245275 h 1649091"/>
                <a:gd name="connsiteX4" fmla="*/ 105802 w 553232"/>
                <a:gd name="connsiteY4" fmla="*/ 245275 h 1649091"/>
                <a:gd name="connsiteX5" fmla="*/ 104770 w 553232"/>
                <a:gd name="connsiteY5" fmla="*/ 157082 h 1649091"/>
                <a:gd name="connsiteX6" fmla="*/ 258209 w 553232"/>
                <a:gd name="connsiteY6" fmla="*/ 10 h 1649091"/>
                <a:gd name="connsiteX7" fmla="*/ 415281 w 553232"/>
                <a:gd name="connsiteY7" fmla="*/ 153449 h 1649091"/>
                <a:gd name="connsiteX8" fmla="*/ 416355 w 553232"/>
                <a:gd name="connsiteY8" fmla="*/ 245275 h 1649091"/>
                <a:gd name="connsiteX9" fmla="*/ 542041 w 553232"/>
                <a:gd name="connsiteY9" fmla="*/ 245275 h 1649091"/>
                <a:gd name="connsiteX0" fmla="*/ 542041 w 553232"/>
                <a:gd name="connsiteY0" fmla="*/ 245275 h 1649091"/>
                <a:gd name="connsiteX1" fmla="*/ 553232 w 553232"/>
                <a:gd name="connsiteY1" fmla="*/ 1644011 h 1649091"/>
                <a:gd name="connsiteX2" fmla="*/ 784 w 553232"/>
                <a:gd name="connsiteY2" fmla="*/ 1649091 h 1649091"/>
                <a:gd name="connsiteX3" fmla="*/ 0 w 553232"/>
                <a:gd name="connsiteY3" fmla="*/ 245275 h 1649091"/>
                <a:gd name="connsiteX4" fmla="*/ 105802 w 553232"/>
                <a:gd name="connsiteY4" fmla="*/ 245275 h 1649091"/>
                <a:gd name="connsiteX5" fmla="*/ 104770 w 553232"/>
                <a:gd name="connsiteY5" fmla="*/ 157082 h 1649091"/>
                <a:gd name="connsiteX6" fmla="*/ 258209 w 553232"/>
                <a:gd name="connsiteY6" fmla="*/ 10 h 1649091"/>
                <a:gd name="connsiteX7" fmla="*/ 415281 w 553232"/>
                <a:gd name="connsiteY7" fmla="*/ 153449 h 1649091"/>
                <a:gd name="connsiteX8" fmla="*/ 416355 w 553232"/>
                <a:gd name="connsiteY8" fmla="*/ 245275 h 1649091"/>
                <a:gd name="connsiteX9" fmla="*/ 542041 w 553232"/>
                <a:gd name="connsiteY9" fmla="*/ 245275 h 1649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3232" h="1649091">
                  <a:moveTo>
                    <a:pt x="542041" y="245275"/>
                  </a:moveTo>
                  <a:cubicBezTo>
                    <a:pt x="545771" y="711520"/>
                    <a:pt x="549502" y="1177766"/>
                    <a:pt x="553232" y="1644011"/>
                  </a:cubicBezTo>
                  <a:cubicBezTo>
                    <a:pt x="440736" y="1582632"/>
                    <a:pt x="178989" y="1555730"/>
                    <a:pt x="784" y="1649091"/>
                  </a:cubicBezTo>
                  <a:cubicBezTo>
                    <a:pt x="523" y="1181152"/>
                    <a:pt x="261" y="713214"/>
                    <a:pt x="0" y="245275"/>
                  </a:cubicBezTo>
                  <a:lnTo>
                    <a:pt x="105802" y="245275"/>
                  </a:lnTo>
                  <a:lnTo>
                    <a:pt x="104770" y="157082"/>
                  </a:lnTo>
                  <a:cubicBezTo>
                    <a:pt x="103767" y="71337"/>
                    <a:pt x="172464" y="1013"/>
                    <a:pt x="258209" y="10"/>
                  </a:cubicBezTo>
                  <a:cubicBezTo>
                    <a:pt x="343954" y="-993"/>
                    <a:pt x="414277" y="67704"/>
                    <a:pt x="415281" y="153449"/>
                  </a:cubicBezTo>
                  <a:lnTo>
                    <a:pt x="416355" y="245275"/>
                  </a:lnTo>
                  <a:lnTo>
                    <a:pt x="542041" y="245275"/>
                  </a:lnTo>
                  <a:close/>
                </a:path>
              </a:pathLst>
            </a:custGeom>
            <a:solidFill>
              <a:srgbClr val="00A3A1"/>
            </a:solidFill>
            <a:ln w="12700" cap="flat" cmpd="sng" algn="ctr">
              <a:noFill/>
              <a:prstDash val="solid"/>
              <a:miter lim="800000"/>
            </a:ln>
            <a:effectLst/>
          </p:spPr>
          <p:txBody>
            <a:bodyPr rtlCol="0" anchor="ctr"/>
            <a:lstStyle/>
            <a:p>
              <a:pPr algn="ctr">
                <a:defRPr/>
              </a:pPr>
              <a:endParaRPr lang="en-US" sz="1350" kern="0">
                <a:solidFill>
                  <a:prstClr val="white"/>
                </a:solidFill>
                <a:latin typeface="Arial" panose="020B0604020202020204" pitchFamily="34" charset="0"/>
                <a:cs typeface="Arial" panose="020B0604020202020204" pitchFamily="34" charset="0"/>
              </a:endParaRPr>
            </a:p>
          </p:txBody>
        </p:sp>
        <p:sp>
          <p:nvSpPr>
            <p:cNvPr id="96" name="Oval Callout 171"/>
            <p:cNvSpPr/>
            <p:nvPr/>
          </p:nvSpPr>
          <p:spPr>
            <a:xfrm>
              <a:off x="6694650" y="1748541"/>
              <a:ext cx="744578" cy="728228"/>
            </a:xfrm>
            <a:prstGeom prst="wedgeEllipseCallout">
              <a:avLst>
                <a:gd name="adj1" fmla="val 740"/>
                <a:gd name="adj2" fmla="val 93698"/>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97" name="Oval 172"/>
            <p:cNvSpPr/>
            <p:nvPr/>
          </p:nvSpPr>
          <p:spPr>
            <a:xfrm>
              <a:off x="6744879" y="1799099"/>
              <a:ext cx="644120" cy="627109"/>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94" name="Freeform 365"/>
            <p:cNvSpPr/>
            <p:nvPr/>
          </p:nvSpPr>
          <p:spPr>
            <a:xfrm rot="7012">
              <a:off x="6978740" y="1943894"/>
              <a:ext cx="178912" cy="117726"/>
            </a:xfrm>
            <a:custGeom>
              <a:avLst/>
              <a:gdLst>
                <a:gd name="connsiteX0" fmla="*/ 3166529 w 4619103"/>
                <a:gd name="connsiteY0" fmla="*/ 554243 h 2659576"/>
                <a:gd name="connsiteX1" fmla="*/ 1481632 w 4619103"/>
                <a:gd name="connsiteY1" fmla="*/ 542706 h 2659576"/>
                <a:gd name="connsiteX2" fmla="*/ 1474817 w 4619103"/>
                <a:gd name="connsiteY2" fmla="*/ 1178670 h 2659576"/>
                <a:gd name="connsiteX3" fmla="*/ 3168913 w 4619103"/>
                <a:gd name="connsiteY3" fmla="*/ 1189729 h 2659576"/>
                <a:gd name="connsiteX4" fmla="*/ 3616817 w 4619103"/>
                <a:gd name="connsiteY4" fmla="*/ 42433 h 2659576"/>
                <a:gd name="connsiteX5" fmla="*/ 3726360 w 4619103"/>
                <a:gd name="connsiteY5" fmla="*/ 248460 h 2659576"/>
                <a:gd name="connsiteX6" fmla="*/ 3726360 w 4619103"/>
                <a:gd name="connsiteY6" fmla="*/ 1187474 h 2659576"/>
                <a:gd name="connsiteX7" fmla="*/ 3725766 w 4619103"/>
                <a:gd name="connsiteY7" fmla="*/ 1193365 h 2659576"/>
                <a:gd name="connsiteX8" fmla="*/ 4110203 w 4619103"/>
                <a:gd name="connsiteY8" fmla="*/ 1195874 h 2659576"/>
                <a:gd name="connsiteX9" fmla="*/ 4619092 w 4619103"/>
                <a:gd name="connsiteY9" fmla="*/ 1711451 h 2659576"/>
                <a:gd name="connsiteX10" fmla="*/ 4616224 w 4619103"/>
                <a:gd name="connsiteY10" fmla="*/ 2150676 h 2659576"/>
                <a:gd name="connsiteX11" fmla="*/ 4100647 w 4619103"/>
                <a:gd name="connsiteY11" fmla="*/ 2659565 h 2659576"/>
                <a:gd name="connsiteX12" fmla="*/ 508900 w 4619103"/>
                <a:gd name="connsiteY12" fmla="*/ 2636118 h 2659576"/>
                <a:gd name="connsiteX13" fmla="*/ 11 w 4619103"/>
                <a:gd name="connsiteY13" fmla="*/ 2120540 h 2659576"/>
                <a:gd name="connsiteX14" fmla="*/ 2878 w 4619103"/>
                <a:gd name="connsiteY14" fmla="*/ 1681316 h 2659576"/>
                <a:gd name="connsiteX15" fmla="*/ 518455 w 4619103"/>
                <a:gd name="connsiteY15" fmla="*/ 1172427 h 2659576"/>
                <a:gd name="connsiteX16" fmla="*/ 886506 w 4619103"/>
                <a:gd name="connsiteY16" fmla="*/ 1174829 h 2659576"/>
                <a:gd name="connsiteX17" fmla="*/ 886506 w 4619103"/>
                <a:gd name="connsiteY17" fmla="*/ 248460 h 2659576"/>
                <a:gd name="connsiteX18" fmla="*/ 1134966 w 4619103"/>
                <a:gd name="connsiteY18" fmla="*/ 0 h 2659576"/>
                <a:gd name="connsiteX19" fmla="*/ 3477900 w 4619103"/>
                <a:gd name="connsiteY19" fmla="*/ 0 h 2659576"/>
                <a:gd name="connsiteX20" fmla="*/ 3616817 w 4619103"/>
                <a:gd name="connsiteY20" fmla="*/ 42433 h 2659576"/>
                <a:gd name="connsiteX0" fmla="*/ 3166529 w 4619103"/>
                <a:gd name="connsiteY0" fmla="*/ 554243 h 2636117"/>
                <a:gd name="connsiteX1" fmla="*/ 1481632 w 4619103"/>
                <a:gd name="connsiteY1" fmla="*/ 542706 h 2636117"/>
                <a:gd name="connsiteX2" fmla="*/ 1474817 w 4619103"/>
                <a:gd name="connsiteY2" fmla="*/ 1178670 h 2636117"/>
                <a:gd name="connsiteX3" fmla="*/ 3168913 w 4619103"/>
                <a:gd name="connsiteY3" fmla="*/ 1189729 h 2636117"/>
                <a:gd name="connsiteX4" fmla="*/ 3166529 w 4619103"/>
                <a:gd name="connsiteY4" fmla="*/ 554243 h 2636117"/>
                <a:gd name="connsiteX5" fmla="*/ 3616817 w 4619103"/>
                <a:gd name="connsiteY5" fmla="*/ 42433 h 2636117"/>
                <a:gd name="connsiteX6" fmla="*/ 3726360 w 4619103"/>
                <a:gd name="connsiteY6" fmla="*/ 248460 h 2636117"/>
                <a:gd name="connsiteX7" fmla="*/ 3726360 w 4619103"/>
                <a:gd name="connsiteY7" fmla="*/ 1187474 h 2636117"/>
                <a:gd name="connsiteX8" fmla="*/ 3725766 w 4619103"/>
                <a:gd name="connsiteY8" fmla="*/ 1193365 h 2636117"/>
                <a:gd name="connsiteX9" fmla="*/ 4110203 w 4619103"/>
                <a:gd name="connsiteY9" fmla="*/ 1195874 h 2636117"/>
                <a:gd name="connsiteX10" fmla="*/ 4619092 w 4619103"/>
                <a:gd name="connsiteY10" fmla="*/ 1711451 h 2636117"/>
                <a:gd name="connsiteX11" fmla="*/ 4616224 w 4619103"/>
                <a:gd name="connsiteY11" fmla="*/ 2150676 h 2636117"/>
                <a:gd name="connsiteX12" fmla="*/ 4100597 w 4619103"/>
                <a:gd name="connsiteY12" fmla="*/ 2634281 h 2636117"/>
                <a:gd name="connsiteX13" fmla="*/ 508900 w 4619103"/>
                <a:gd name="connsiteY13" fmla="*/ 2636118 h 2636117"/>
                <a:gd name="connsiteX14" fmla="*/ 11 w 4619103"/>
                <a:gd name="connsiteY14" fmla="*/ 2120540 h 2636117"/>
                <a:gd name="connsiteX15" fmla="*/ 2878 w 4619103"/>
                <a:gd name="connsiteY15" fmla="*/ 1681316 h 2636117"/>
                <a:gd name="connsiteX16" fmla="*/ 518455 w 4619103"/>
                <a:gd name="connsiteY16" fmla="*/ 1172427 h 2636117"/>
                <a:gd name="connsiteX17" fmla="*/ 886506 w 4619103"/>
                <a:gd name="connsiteY17" fmla="*/ 1174829 h 2636117"/>
                <a:gd name="connsiteX18" fmla="*/ 886506 w 4619103"/>
                <a:gd name="connsiteY18" fmla="*/ 248460 h 2636117"/>
                <a:gd name="connsiteX19" fmla="*/ 1134966 w 4619103"/>
                <a:gd name="connsiteY19" fmla="*/ 0 h 2636117"/>
                <a:gd name="connsiteX20" fmla="*/ 3477900 w 4619103"/>
                <a:gd name="connsiteY20" fmla="*/ 0 h 2636117"/>
                <a:gd name="connsiteX21" fmla="*/ 3616817 w 4619103"/>
                <a:gd name="connsiteY21" fmla="*/ 42433 h 2636117"/>
                <a:gd name="connsiteX0" fmla="*/ 3166529 w 4619103"/>
                <a:gd name="connsiteY0" fmla="*/ 554243 h 2636117"/>
                <a:gd name="connsiteX1" fmla="*/ 1481632 w 4619103"/>
                <a:gd name="connsiteY1" fmla="*/ 542706 h 2636117"/>
                <a:gd name="connsiteX2" fmla="*/ 1474817 w 4619103"/>
                <a:gd name="connsiteY2" fmla="*/ 1178670 h 2636117"/>
                <a:gd name="connsiteX3" fmla="*/ 3168903 w 4619103"/>
                <a:gd name="connsiteY3" fmla="*/ 1189731 h 2636117"/>
                <a:gd name="connsiteX4" fmla="*/ 3166529 w 4619103"/>
                <a:gd name="connsiteY4" fmla="*/ 554243 h 2636117"/>
                <a:gd name="connsiteX5" fmla="*/ 3616817 w 4619103"/>
                <a:gd name="connsiteY5" fmla="*/ 42433 h 2636117"/>
                <a:gd name="connsiteX6" fmla="*/ 3726360 w 4619103"/>
                <a:gd name="connsiteY6" fmla="*/ 248460 h 2636117"/>
                <a:gd name="connsiteX7" fmla="*/ 3726360 w 4619103"/>
                <a:gd name="connsiteY7" fmla="*/ 1187474 h 2636117"/>
                <a:gd name="connsiteX8" fmla="*/ 3725766 w 4619103"/>
                <a:gd name="connsiteY8" fmla="*/ 1193365 h 2636117"/>
                <a:gd name="connsiteX9" fmla="*/ 4110203 w 4619103"/>
                <a:gd name="connsiteY9" fmla="*/ 1195874 h 2636117"/>
                <a:gd name="connsiteX10" fmla="*/ 4619092 w 4619103"/>
                <a:gd name="connsiteY10" fmla="*/ 1711451 h 2636117"/>
                <a:gd name="connsiteX11" fmla="*/ 4616224 w 4619103"/>
                <a:gd name="connsiteY11" fmla="*/ 2150676 h 2636117"/>
                <a:gd name="connsiteX12" fmla="*/ 4100597 w 4619103"/>
                <a:gd name="connsiteY12" fmla="*/ 2634281 h 2636117"/>
                <a:gd name="connsiteX13" fmla="*/ 508900 w 4619103"/>
                <a:gd name="connsiteY13" fmla="*/ 2636118 h 2636117"/>
                <a:gd name="connsiteX14" fmla="*/ 11 w 4619103"/>
                <a:gd name="connsiteY14" fmla="*/ 2120540 h 2636117"/>
                <a:gd name="connsiteX15" fmla="*/ 2878 w 4619103"/>
                <a:gd name="connsiteY15" fmla="*/ 1681316 h 2636117"/>
                <a:gd name="connsiteX16" fmla="*/ 518455 w 4619103"/>
                <a:gd name="connsiteY16" fmla="*/ 1172427 h 2636117"/>
                <a:gd name="connsiteX17" fmla="*/ 886506 w 4619103"/>
                <a:gd name="connsiteY17" fmla="*/ 1174829 h 2636117"/>
                <a:gd name="connsiteX18" fmla="*/ 886506 w 4619103"/>
                <a:gd name="connsiteY18" fmla="*/ 248460 h 2636117"/>
                <a:gd name="connsiteX19" fmla="*/ 1134966 w 4619103"/>
                <a:gd name="connsiteY19" fmla="*/ 0 h 2636117"/>
                <a:gd name="connsiteX20" fmla="*/ 3477900 w 4619103"/>
                <a:gd name="connsiteY20" fmla="*/ 0 h 2636117"/>
                <a:gd name="connsiteX21" fmla="*/ 3616817 w 4619103"/>
                <a:gd name="connsiteY21" fmla="*/ 42433 h 2636117"/>
                <a:gd name="connsiteX0" fmla="*/ 3166529 w 4619103"/>
                <a:gd name="connsiteY0" fmla="*/ 554243 h 2636117"/>
                <a:gd name="connsiteX1" fmla="*/ 1481632 w 4619103"/>
                <a:gd name="connsiteY1" fmla="*/ 542706 h 2636117"/>
                <a:gd name="connsiteX2" fmla="*/ 1474817 w 4619103"/>
                <a:gd name="connsiteY2" fmla="*/ 1178670 h 2636117"/>
                <a:gd name="connsiteX3" fmla="*/ 3168841 w 4619103"/>
                <a:gd name="connsiteY3" fmla="*/ 1164456 h 2636117"/>
                <a:gd name="connsiteX4" fmla="*/ 3166529 w 4619103"/>
                <a:gd name="connsiteY4" fmla="*/ 554243 h 2636117"/>
                <a:gd name="connsiteX5" fmla="*/ 3616817 w 4619103"/>
                <a:gd name="connsiteY5" fmla="*/ 42433 h 2636117"/>
                <a:gd name="connsiteX6" fmla="*/ 3726360 w 4619103"/>
                <a:gd name="connsiteY6" fmla="*/ 248460 h 2636117"/>
                <a:gd name="connsiteX7" fmla="*/ 3726360 w 4619103"/>
                <a:gd name="connsiteY7" fmla="*/ 1187474 h 2636117"/>
                <a:gd name="connsiteX8" fmla="*/ 3725766 w 4619103"/>
                <a:gd name="connsiteY8" fmla="*/ 1193365 h 2636117"/>
                <a:gd name="connsiteX9" fmla="*/ 4110203 w 4619103"/>
                <a:gd name="connsiteY9" fmla="*/ 1195874 h 2636117"/>
                <a:gd name="connsiteX10" fmla="*/ 4619092 w 4619103"/>
                <a:gd name="connsiteY10" fmla="*/ 1711451 h 2636117"/>
                <a:gd name="connsiteX11" fmla="*/ 4616224 w 4619103"/>
                <a:gd name="connsiteY11" fmla="*/ 2150676 h 2636117"/>
                <a:gd name="connsiteX12" fmla="*/ 4100597 w 4619103"/>
                <a:gd name="connsiteY12" fmla="*/ 2634281 h 2636117"/>
                <a:gd name="connsiteX13" fmla="*/ 508900 w 4619103"/>
                <a:gd name="connsiteY13" fmla="*/ 2636118 h 2636117"/>
                <a:gd name="connsiteX14" fmla="*/ 11 w 4619103"/>
                <a:gd name="connsiteY14" fmla="*/ 2120540 h 2636117"/>
                <a:gd name="connsiteX15" fmla="*/ 2878 w 4619103"/>
                <a:gd name="connsiteY15" fmla="*/ 1681316 h 2636117"/>
                <a:gd name="connsiteX16" fmla="*/ 518455 w 4619103"/>
                <a:gd name="connsiteY16" fmla="*/ 1172427 h 2636117"/>
                <a:gd name="connsiteX17" fmla="*/ 886506 w 4619103"/>
                <a:gd name="connsiteY17" fmla="*/ 1174829 h 2636117"/>
                <a:gd name="connsiteX18" fmla="*/ 886506 w 4619103"/>
                <a:gd name="connsiteY18" fmla="*/ 248460 h 2636117"/>
                <a:gd name="connsiteX19" fmla="*/ 1134966 w 4619103"/>
                <a:gd name="connsiteY19" fmla="*/ 0 h 2636117"/>
                <a:gd name="connsiteX20" fmla="*/ 3477900 w 4619103"/>
                <a:gd name="connsiteY20" fmla="*/ 0 h 2636117"/>
                <a:gd name="connsiteX21" fmla="*/ 3616817 w 4619103"/>
                <a:gd name="connsiteY21" fmla="*/ 42433 h 2636117"/>
                <a:gd name="connsiteX0" fmla="*/ 3166484 w 4619103"/>
                <a:gd name="connsiteY0" fmla="*/ 528975 h 2636117"/>
                <a:gd name="connsiteX1" fmla="*/ 1481632 w 4619103"/>
                <a:gd name="connsiteY1" fmla="*/ 542706 h 2636117"/>
                <a:gd name="connsiteX2" fmla="*/ 1474817 w 4619103"/>
                <a:gd name="connsiteY2" fmla="*/ 1178670 h 2636117"/>
                <a:gd name="connsiteX3" fmla="*/ 3168841 w 4619103"/>
                <a:gd name="connsiteY3" fmla="*/ 1164456 h 2636117"/>
                <a:gd name="connsiteX4" fmla="*/ 3166484 w 4619103"/>
                <a:gd name="connsiteY4" fmla="*/ 528975 h 2636117"/>
                <a:gd name="connsiteX5" fmla="*/ 3616817 w 4619103"/>
                <a:gd name="connsiteY5" fmla="*/ 42433 h 2636117"/>
                <a:gd name="connsiteX6" fmla="*/ 3726360 w 4619103"/>
                <a:gd name="connsiteY6" fmla="*/ 248460 h 2636117"/>
                <a:gd name="connsiteX7" fmla="*/ 3726360 w 4619103"/>
                <a:gd name="connsiteY7" fmla="*/ 1187474 h 2636117"/>
                <a:gd name="connsiteX8" fmla="*/ 3725766 w 4619103"/>
                <a:gd name="connsiteY8" fmla="*/ 1193365 h 2636117"/>
                <a:gd name="connsiteX9" fmla="*/ 4110203 w 4619103"/>
                <a:gd name="connsiteY9" fmla="*/ 1195874 h 2636117"/>
                <a:gd name="connsiteX10" fmla="*/ 4619092 w 4619103"/>
                <a:gd name="connsiteY10" fmla="*/ 1711451 h 2636117"/>
                <a:gd name="connsiteX11" fmla="*/ 4616224 w 4619103"/>
                <a:gd name="connsiteY11" fmla="*/ 2150676 h 2636117"/>
                <a:gd name="connsiteX12" fmla="*/ 4100597 w 4619103"/>
                <a:gd name="connsiteY12" fmla="*/ 2634281 h 2636117"/>
                <a:gd name="connsiteX13" fmla="*/ 508900 w 4619103"/>
                <a:gd name="connsiteY13" fmla="*/ 2636118 h 2636117"/>
                <a:gd name="connsiteX14" fmla="*/ 11 w 4619103"/>
                <a:gd name="connsiteY14" fmla="*/ 2120540 h 2636117"/>
                <a:gd name="connsiteX15" fmla="*/ 2878 w 4619103"/>
                <a:gd name="connsiteY15" fmla="*/ 1681316 h 2636117"/>
                <a:gd name="connsiteX16" fmla="*/ 518455 w 4619103"/>
                <a:gd name="connsiteY16" fmla="*/ 1172427 h 2636117"/>
                <a:gd name="connsiteX17" fmla="*/ 886506 w 4619103"/>
                <a:gd name="connsiteY17" fmla="*/ 1174829 h 2636117"/>
                <a:gd name="connsiteX18" fmla="*/ 886506 w 4619103"/>
                <a:gd name="connsiteY18" fmla="*/ 248460 h 2636117"/>
                <a:gd name="connsiteX19" fmla="*/ 1134966 w 4619103"/>
                <a:gd name="connsiteY19" fmla="*/ 0 h 2636117"/>
                <a:gd name="connsiteX20" fmla="*/ 3477900 w 4619103"/>
                <a:gd name="connsiteY20" fmla="*/ 0 h 2636117"/>
                <a:gd name="connsiteX21" fmla="*/ 3616817 w 4619103"/>
                <a:gd name="connsiteY21" fmla="*/ 42433 h 2636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19103" h="2636117">
                  <a:moveTo>
                    <a:pt x="3166484" y="528975"/>
                  </a:moveTo>
                  <a:lnTo>
                    <a:pt x="1481632" y="542706"/>
                  </a:lnTo>
                  <a:cubicBezTo>
                    <a:pt x="1479360" y="754694"/>
                    <a:pt x="1477089" y="966682"/>
                    <a:pt x="1474817" y="1178670"/>
                  </a:cubicBezTo>
                  <a:lnTo>
                    <a:pt x="3168841" y="1164456"/>
                  </a:lnTo>
                  <a:cubicBezTo>
                    <a:pt x="3168046" y="952627"/>
                    <a:pt x="3167279" y="740804"/>
                    <a:pt x="3166484" y="528975"/>
                  </a:cubicBezTo>
                  <a:close/>
                  <a:moveTo>
                    <a:pt x="3616817" y="42433"/>
                  </a:moveTo>
                  <a:cubicBezTo>
                    <a:pt x="3682907" y="87083"/>
                    <a:pt x="3726360" y="162697"/>
                    <a:pt x="3726360" y="248460"/>
                  </a:cubicBezTo>
                  <a:lnTo>
                    <a:pt x="3726360" y="1187474"/>
                  </a:lnTo>
                  <a:lnTo>
                    <a:pt x="3725766" y="1193365"/>
                  </a:lnTo>
                  <a:lnTo>
                    <a:pt x="4110203" y="1195874"/>
                  </a:lnTo>
                  <a:cubicBezTo>
                    <a:pt x="4393101" y="1197721"/>
                    <a:pt x="4620938" y="1428552"/>
                    <a:pt x="4619092" y="1711451"/>
                  </a:cubicBezTo>
                  <a:lnTo>
                    <a:pt x="4616224" y="2150676"/>
                  </a:lnTo>
                  <a:cubicBezTo>
                    <a:pt x="4614377" y="2433575"/>
                    <a:pt x="4383496" y="2636128"/>
                    <a:pt x="4100597" y="2634281"/>
                  </a:cubicBezTo>
                  <a:lnTo>
                    <a:pt x="508900" y="2636118"/>
                  </a:lnTo>
                  <a:cubicBezTo>
                    <a:pt x="226001" y="2634271"/>
                    <a:pt x="-1836" y="2403440"/>
                    <a:pt x="11" y="2120540"/>
                  </a:cubicBezTo>
                  <a:cubicBezTo>
                    <a:pt x="967" y="1974132"/>
                    <a:pt x="1922" y="1827724"/>
                    <a:pt x="2878" y="1681316"/>
                  </a:cubicBezTo>
                  <a:cubicBezTo>
                    <a:pt x="4725" y="1398417"/>
                    <a:pt x="235556" y="1170580"/>
                    <a:pt x="518455" y="1172427"/>
                  </a:cubicBezTo>
                  <a:lnTo>
                    <a:pt x="886506" y="1174829"/>
                  </a:lnTo>
                  <a:lnTo>
                    <a:pt x="886506" y="248460"/>
                  </a:lnTo>
                  <a:cubicBezTo>
                    <a:pt x="886506" y="111239"/>
                    <a:pt x="997745" y="0"/>
                    <a:pt x="1134966" y="0"/>
                  </a:cubicBezTo>
                  <a:lnTo>
                    <a:pt x="3477900" y="0"/>
                  </a:lnTo>
                  <a:cubicBezTo>
                    <a:pt x="3529358" y="0"/>
                    <a:pt x="3577162" y="15643"/>
                    <a:pt x="3616817" y="42433"/>
                  </a:cubicBezTo>
                  <a:close/>
                </a:path>
              </a:pathLst>
            </a:custGeom>
            <a:solidFill>
              <a:srgbClr val="EAAA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solidFill>
                  <a:schemeClr val="accent1"/>
                </a:solidFill>
                <a:latin typeface="Arial" panose="020B0604020202020204" pitchFamily="34" charset="0"/>
                <a:cs typeface="Arial" panose="020B0604020202020204" pitchFamily="34" charset="0"/>
              </a:endParaRPr>
            </a:p>
          </p:txBody>
        </p:sp>
        <p:sp>
          <p:nvSpPr>
            <p:cNvPr id="95" name="Freeform 366"/>
            <p:cNvSpPr/>
            <p:nvPr/>
          </p:nvSpPr>
          <p:spPr>
            <a:xfrm rot="29454">
              <a:off x="6893599" y="2019772"/>
              <a:ext cx="346680" cy="261646"/>
            </a:xfrm>
            <a:custGeom>
              <a:avLst/>
              <a:gdLst>
                <a:gd name="connsiteX0" fmla="*/ 1850256 w 8925180"/>
                <a:gd name="connsiteY0" fmla="*/ 4432622 h 5858728"/>
                <a:gd name="connsiteX1" fmla="*/ 2354591 w 8925180"/>
                <a:gd name="connsiteY1" fmla="*/ 4887349 h 5858728"/>
                <a:gd name="connsiteX2" fmla="*/ 2235184 w 8925180"/>
                <a:gd name="connsiteY2" fmla="*/ 4987528 h 5858728"/>
                <a:gd name="connsiteX3" fmla="*/ 1798749 w 8925180"/>
                <a:gd name="connsiteY3" fmla="*/ 4589127 h 5858728"/>
                <a:gd name="connsiteX4" fmla="*/ 1947683 w 8925180"/>
                <a:gd name="connsiteY4" fmla="*/ 4178550 h 5858728"/>
                <a:gd name="connsiteX5" fmla="*/ 2549059 w 8925180"/>
                <a:gd name="connsiteY5" fmla="*/ 4709227 h 5858728"/>
                <a:gd name="connsiteX6" fmla="*/ 2435596 w 8925180"/>
                <a:gd name="connsiteY6" fmla="*/ 4809499 h 5858728"/>
                <a:gd name="connsiteX7" fmla="*/ 1897573 w 8925180"/>
                <a:gd name="connsiteY7" fmla="*/ 4327451 h 5858728"/>
                <a:gd name="connsiteX8" fmla="*/ 2046233 w 8925180"/>
                <a:gd name="connsiteY8" fmla="*/ 3925127 h 5858728"/>
                <a:gd name="connsiteX9" fmla="*/ 2457953 w 8925180"/>
                <a:gd name="connsiteY9" fmla="*/ 4293656 h 5858728"/>
                <a:gd name="connsiteX10" fmla="*/ 2568281 w 8925180"/>
                <a:gd name="connsiteY10" fmla="*/ 4587809 h 5858728"/>
                <a:gd name="connsiteX11" fmla="*/ 1989205 w 8925180"/>
                <a:gd name="connsiteY11" fmla="*/ 4073026 h 5858728"/>
                <a:gd name="connsiteX12" fmla="*/ 2259917 w 8925180"/>
                <a:gd name="connsiteY12" fmla="*/ 3773334 h 5858728"/>
                <a:gd name="connsiteX13" fmla="*/ 2260420 w 8925180"/>
                <a:gd name="connsiteY13" fmla="*/ 3773641 h 5858728"/>
                <a:gd name="connsiteX14" fmla="*/ 2259745 w 8925180"/>
                <a:gd name="connsiteY14" fmla="*/ 3773354 h 5858728"/>
                <a:gd name="connsiteX15" fmla="*/ 2315925 w 8925180"/>
                <a:gd name="connsiteY15" fmla="*/ 3709127 h 5858728"/>
                <a:gd name="connsiteX16" fmla="*/ 2248405 w 8925180"/>
                <a:gd name="connsiteY16" fmla="*/ 3768327 h 5858728"/>
                <a:gd name="connsiteX17" fmla="*/ 2256714 w 8925180"/>
                <a:gd name="connsiteY17" fmla="*/ 3772067 h 5858728"/>
                <a:gd name="connsiteX18" fmla="*/ 2259745 w 8925180"/>
                <a:gd name="connsiteY18" fmla="*/ 3773354 h 5858728"/>
                <a:gd name="connsiteX19" fmla="*/ 2258685 w 8925180"/>
                <a:gd name="connsiteY19" fmla="*/ 3773482 h 5858728"/>
                <a:gd name="connsiteX20" fmla="*/ 2268513 w 8925180"/>
                <a:gd name="connsiteY20" fmla="*/ 3780164 h 5858728"/>
                <a:gd name="connsiteX21" fmla="*/ 2379413 w 8925180"/>
                <a:gd name="connsiteY21" fmla="*/ 4075583 h 5858728"/>
                <a:gd name="connsiteX22" fmla="*/ 2090738 w 8925180"/>
                <a:gd name="connsiteY22" fmla="*/ 3813339 h 5858728"/>
                <a:gd name="connsiteX23" fmla="*/ 2054269 w 8925180"/>
                <a:gd name="connsiteY23" fmla="*/ 3707627 h 5858728"/>
                <a:gd name="connsiteX24" fmla="*/ 1693111 w 8925180"/>
                <a:gd name="connsiteY24" fmla="*/ 4661938 h 5858728"/>
                <a:gd name="connsiteX25" fmla="*/ 2184860 w 8925180"/>
                <a:gd name="connsiteY25" fmla="*/ 5091104 h 5858728"/>
                <a:gd name="connsiteX26" fmla="*/ 2667148 w 8925180"/>
                <a:gd name="connsiteY26" fmla="*/ 4660009 h 5858728"/>
                <a:gd name="connsiteX27" fmla="*/ 2482054 w 8925180"/>
                <a:gd name="connsiteY27" fmla="*/ 3279357 h 5858728"/>
                <a:gd name="connsiteX28" fmla="*/ 1878642 w 8925180"/>
                <a:gd name="connsiteY28" fmla="*/ 3279929 h 5858728"/>
                <a:gd name="connsiteX29" fmla="*/ 1841602 w 8925180"/>
                <a:gd name="connsiteY29" fmla="*/ 3439228 h 5858728"/>
                <a:gd name="connsiteX30" fmla="*/ 2120130 w 8925180"/>
                <a:gd name="connsiteY30" fmla="*/ 3726569 h 5858728"/>
                <a:gd name="connsiteX31" fmla="*/ 2232643 w 8925180"/>
                <a:gd name="connsiteY31" fmla="*/ 3741824 h 5858728"/>
                <a:gd name="connsiteX32" fmla="*/ 2537319 w 8925180"/>
                <a:gd name="connsiteY32" fmla="*/ 3433968 h 5858728"/>
                <a:gd name="connsiteX33" fmla="*/ 2482054 w 8925180"/>
                <a:gd name="connsiteY33" fmla="*/ 3279357 h 5858728"/>
                <a:gd name="connsiteX34" fmla="*/ 3410751 w 8925180"/>
                <a:gd name="connsiteY34" fmla="*/ 3027962 h 5858728"/>
                <a:gd name="connsiteX35" fmla="*/ 3333772 w 8925180"/>
                <a:gd name="connsiteY35" fmla="*/ 2996318 h 5858728"/>
                <a:gd name="connsiteX36" fmla="*/ 2979092 w 8925180"/>
                <a:gd name="connsiteY36" fmla="*/ 2978709 h 5858728"/>
                <a:gd name="connsiteX37" fmla="*/ 2563372 w 8925180"/>
                <a:gd name="connsiteY37" fmla="*/ 3254338 h 5858728"/>
                <a:gd name="connsiteX38" fmla="*/ 2382821 w 8925180"/>
                <a:gd name="connsiteY38" fmla="*/ 3689332 h 5858728"/>
                <a:gd name="connsiteX39" fmla="*/ 2746939 w 8925180"/>
                <a:gd name="connsiteY39" fmla="*/ 4674898 h 5858728"/>
                <a:gd name="connsiteX40" fmla="*/ 2184702 w 8925180"/>
                <a:gd name="connsiteY40" fmla="*/ 5175921 h 5858728"/>
                <a:gd name="connsiteX41" fmla="*/ 1614576 w 8925180"/>
                <a:gd name="connsiteY41" fmla="*/ 4673723 h 5858728"/>
                <a:gd name="connsiteX42" fmla="*/ 1993653 w 8925180"/>
                <a:gd name="connsiteY42" fmla="*/ 3692376 h 5858728"/>
                <a:gd name="connsiteX43" fmla="*/ 1805436 w 8925180"/>
                <a:gd name="connsiteY43" fmla="*/ 3261869 h 5858728"/>
                <a:gd name="connsiteX44" fmla="*/ 1395380 w 8925180"/>
                <a:gd name="connsiteY44" fmla="*/ 2972526 h 5858728"/>
                <a:gd name="connsiteX45" fmla="*/ 1032434 w 8925180"/>
                <a:gd name="connsiteY45" fmla="*/ 2996354 h 5858728"/>
                <a:gd name="connsiteX46" fmla="*/ 673640 w 8925180"/>
                <a:gd name="connsiteY46" fmla="*/ 3478975 h 5858728"/>
                <a:gd name="connsiteX47" fmla="*/ 665233 w 8925180"/>
                <a:gd name="connsiteY47" fmla="*/ 5181466 h 5858728"/>
                <a:gd name="connsiteX48" fmla="*/ 1228210 w 8925180"/>
                <a:gd name="connsiteY48" fmla="*/ 5182572 h 5858728"/>
                <a:gd name="connsiteX49" fmla="*/ 1230379 w 8925180"/>
                <a:gd name="connsiteY49" fmla="*/ 3776157 h 5858728"/>
                <a:gd name="connsiteX50" fmla="*/ 1376348 w 8925180"/>
                <a:gd name="connsiteY50" fmla="*/ 3751556 h 5858728"/>
                <a:gd name="connsiteX51" fmla="*/ 1372900 w 8925180"/>
                <a:gd name="connsiteY51" fmla="*/ 5180612 h 5858728"/>
                <a:gd name="connsiteX52" fmla="*/ 2990350 w 8925180"/>
                <a:gd name="connsiteY52" fmla="*/ 5181867 h 5858728"/>
                <a:gd name="connsiteX53" fmla="*/ 2996744 w 8925180"/>
                <a:gd name="connsiteY53" fmla="*/ 3751912 h 5858728"/>
                <a:gd name="connsiteX54" fmla="*/ 3133436 w 8925180"/>
                <a:gd name="connsiteY54" fmla="*/ 3741510 h 5858728"/>
                <a:gd name="connsiteX55" fmla="*/ 3121821 w 8925180"/>
                <a:gd name="connsiteY55" fmla="*/ 5183179 h 5858728"/>
                <a:gd name="connsiteX56" fmla="*/ 3686232 w 8925180"/>
                <a:gd name="connsiteY56" fmla="*/ 5182347 h 5858728"/>
                <a:gd name="connsiteX57" fmla="*/ 3691473 w 8925180"/>
                <a:gd name="connsiteY57" fmla="*/ 3478402 h 5858728"/>
                <a:gd name="connsiteX58" fmla="*/ 3410751 w 8925180"/>
                <a:gd name="connsiteY58" fmla="*/ 3027962 h 5858728"/>
                <a:gd name="connsiteX59" fmla="*/ 3136776 w 8925180"/>
                <a:gd name="connsiteY59" fmla="*/ 1889907 h 5858728"/>
                <a:gd name="connsiteX60" fmla="*/ 2203072 w 8925180"/>
                <a:gd name="connsiteY60" fmla="*/ 1725263 h 5858728"/>
                <a:gd name="connsiteX61" fmla="*/ 2300379 w 8925180"/>
                <a:gd name="connsiteY61" fmla="*/ 1923326 h 5858728"/>
                <a:gd name="connsiteX62" fmla="*/ 1188791 w 8925180"/>
                <a:gd name="connsiteY62" fmla="*/ 2040152 h 5858728"/>
                <a:gd name="connsiteX63" fmla="*/ 2271604 w 8925180"/>
                <a:gd name="connsiteY63" fmla="*/ 3250645 h 5858728"/>
                <a:gd name="connsiteX64" fmla="*/ 3136776 w 8925180"/>
                <a:gd name="connsiteY64" fmla="*/ 1889907 h 5858728"/>
                <a:gd name="connsiteX65" fmla="*/ 2717485 w 8925180"/>
                <a:gd name="connsiteY65" fmla="*/ 1393444 h 5858728"/>
                <a:gd name="connsiteX66" fmla="*/ 1883384 w 8925180"/>
                <a:gd name="connsiteY66" fmla="*/ 1285665 h 5858728"/>
                <a:gd name="connsiteX67" fmla="*/ 1222141 w 8925180"/>
                <a:gd name="connsiteY67" fmla="*/ 1956867 h 5858728"/>
                <a:gd name="connsiteX68" fmla="*/ 2190065 w 8925180"/>
                <a:gd name="connsiteY68" fmla="*/ 1843866 h 5858728"/>
                <a:gd name="connsiteX69" fmla="*/ 2106198 w 8925180"/>
                <a:gd name="connsiteY69" fmla="*/ 1659192 h 5858728"/>
                <a:gd name="connsiteX70" fmla="*/ 3105346 w 8925180"/>
                <a:gd name="connsiteY70" fmla="*/ 1825795 h 5858728"/>
                <a:gd name="connsiteX71" fmla="*/ 2717485 w 8925180"/>
                <a:gd name="connsiteY71" fmla="*/ 1393444 h 5858728"/>
                <a:gd name="connsiteX72" fmla="*/ 8150482 w 8925180"/>
                <a:gd name="connsiteY72" fmla="*/ 4451277 h 5858728"/>
                <a:gd name="connsiteX73" fmla="*/ 8107801 w 8925180"/>
                <a:gd name="connsiteY73" fmla="*/ 4442632 h 5858728"/>
                <a:gd name="connsiteX74" fmla="*/ 4582685 w 8925180"/>
                <a:gd name="connsiteY74" fmla="*/ 4440312 h 5858728"/>
                <a:gd name="connsiteX75" fmla="*/ 4472947 w 8925180"/>
                <a:gd name="connsiteY75" fmla="*/ 4549907 h 5858728"/>
                <a:gd name="connsiteX76" fmla="*/ 4472887 w 8925180"/>
                <a:gd name="connsiteY76" fmla="*/ 4641332 h 5858728"/>
                <a:gd name="connsiteX77" fmla="*/ 4582481 w 8925180"/>
                <a:gd name="connsiteY77" fmla="*/ 4751069 h 5858728"/>
                <a:gd name="connsiteX78" fmla="*/ 8107596 w 8925180"/>
                <a:gd name="connsiteY78" fmla="*/ 4753388 h 5858728"/>
                <a:gd name="connsiteX79" fmla="*/ 8217334 w 8925180"/>
                <a:gd name="connsiteY79" fmla="*/ 4643794 h 5858728"/>
                <a:gd name="connsiteX80" fmla="*/ 8217394 w 8925180"/>
                <a:gd name="connsiteY80" fmla="*/ 4552369 h 5858728"/>
                <a:gd name="connsiteX81" fmla="*/ 8150482 w 8925180"/>
                <a:gd name="connsiteY81" fmla="*/ 4451277 h 5858728"/>
                <a:gd name="connsiteX82" fmla="*/ 8148049 w 8925180"/>
                <a:gd name="connsiteY82" fmla="*/ 3694350 h 5858728"/>
                <a:gd name="connsiteX83" fmla="*/ 8105367 w 8925180"/>
                <a:gd name="connsiteY83" fmla="*/ 3685704 h 5858728"/>
                <a:gd name="connsiteX84" fmla="*/ 4580253 w 8925180"/>
                <a:gd name="connsiteY84" fmla="*/ 3683387 h 5858728"/>
                <a:gd name="connsiteX85" fmla="*/ 4470515 w 8925180"/>
                <a:gd name="connsiteY85" fmla="*/ 3792981 h 5858728"/>
                <a:gd name="connsiteX86" fmla="*/ 4470455 w 8925180"/>
                <a:gd name="connsiteY86" fmla="*/ 3884406 h 5858728"/>
                <a:gd name="connsiteX87" fmla="*/ 4580048 w 8925180"/>
                <a:gd name="connsiteY87" fmla="*/ 3994144 h 5858728"/>
                <a:gd name="connsiteX88" fmla="*/ 8105163 w 8925180"/>
                <a:gd name="connsiteY88" fmla="*/ 3996461 h 5858728"/>
                <a:gd name="connsiteX89" fmla="*/ 8214901 w 8925180"/>
                <a:gd name="connsiteY89" fmla="*/ 3886867 h 5858728"/>
                <a:gd name="connsiteX90" fmla="*/ 8214961 w 8925180"/>
                <a:gd name="connsiteY90" fmla="*/ 3795443 h 5858728"/>
                <a:gd name="connsiteX91" fmla="*/ 8148049 w 8925180"/>
                <a:gd name="connsiteY91" fmla="*/ 3694350 h 5858728"/>
                <a:gd name="connsiteX92" fmla="*/ 8152570 w 8925180"/>
                <a:gd name="connsiteY92" fmla="*/ 2963452 h 5858728"/>
                <a:gd name="connsiteX93" fmla="*/ 8109889 w 8925180"/>
                <a:gd name="connsiteY93" fmla="*/ 2954806 h 5858728"/>
                <a:gd name="connsiteX94" fmla="*/ 4584774 w 8925180"/>
                <a:gd name="connsiteY94" fmla="*/ 2952488 h 5858728"/>
                <a:gd name="connsiteX95" fmla="*/ 4475036 w 8925180"/>
                <a:gd name="connsiteY95" fmla="*/ 3062082 h 5858728"/>
                <a:gd name="connsiteX96" fmla="*/ 4474976 w 8925180"/>
                <a:gd name="connsiteY96" fmla="*/ 3153507 h 5858728"/>
                <a:gd name="connsiteX97" fmla="*/ 4584570 w 8925180"/>
                <a:gd name="connsiteY97" fmla="*/ 3263245 h 5858728"/>
                <a:gd name="connsiteX98" fmla="*/ 8109684 w 8925180"/>
                <a:gd name="connsiteY98" fmla="*/ 3265563 h 5858728"/>
                <a:gd name="connsiteX99" fmla="*/ 8219422 w 8925180"/>
                <a:gd name="connsiteY99" fmla="*/ 3155969 h 5858728"/>
                <a:gd name="connsiteX100" fmla="*/ 8219483 w 8925180"/>
                <a:gd name="connsiteY100" fmla="*/ 3064544 h 5858728"/>
                <a:gd name="connsiteX101" fmla="*/ 8152570 w 8925180"/>
                <a:gd name="connsiteY101" fmla="*/ 2963452 h 5858728"/>
                <a:gd name="connsiteX102" fmla="*/ 8145669 w 8925180"/>
                <a:gd name="connsiteY102" fmla="*/ 2233284 h 5858728"/>
                <a:gd name="connsiteX103" fmla="*/ 8102988 w 8925180"/>
                <a:gd name="connsiteY103" fmla="*/ 2224637 h 5858728"/>
                <a:gd name="connsiteX104" fmla="*/ 4577874 w 8925180"/>
                <a:gd name="connsiteY104" fmla="*/ 2222320 h 5858728"/>
                <a:gd name="connsiteX105" fmla="*/ 4468135 w 8925180"/>
                <a:gd name="connsiteY105" fmla="*/ 2331915 h 5858728"/>
                <a:gd name="connsiteX106" fmla="*/ 4468075 w 8925180"/>
                <a:gd name="connsiteY106" fmla="*/ 2423339 h 5858728"/>
                <a:gd name="connsiteX107" fmla="*/ 4577669 w 8925180"/>
                <a:gd name="connsiteY107" fmla="*/ 2533077 h 5858728"/>
                <a:gd name="connsiteX108" fmla="*/ 8102784 w 8925180"/>
                <a:gd name="connsiteY108" fmla="*/ 2535394 h 5858728"/>
                <a:gd name="connsiteX109" fmla="*/ 8212522 w 8925180"/>
                <a:gd name="connsiteY109" fmla="*/ 2425800 h 5858728"/>
                <a:gd name="connsiteX110" fmla="*/ 8212582 w 8925180"/>
                <a:gd name="connsiteY110" fmla="*/ 2334375 h 5858728"/>
                <a:gd name="connsiteX111" fmla="*/ 8145669 w 8925180"/>
                <a:gd name="connsiteY111" fmla="*/ 2233284 h 5858728"/>
                <a:gd name="connsiteX112" fmla="*/ 8449565 w 8925180"/>
                <a:gd name="connsiteY112" fmla="*/ 109688 h 5858728"/>
                <a:gd name="connsiteX113" fmla="*/ 8925180 w 8925180"/>
                <a:gd name="connsiteY113" fmla="*/ 908806 h 5858728"/>
                <a:gd name="connsiteX114" fmla="*/ 8925180 w 8925180"/>
                <a:gd name="connsiteY114" fmla="*/ 4949923 h 5858728"/>
                <a:gd name="connsiteX115" fmla="*/ 8016374 w 8925180"/>
                <a:gd name="connsiteY115" fmla="*/ 5858728 h 5858728"/>
                <a:gd name="connsiteX116" fmla="*/ 908806 w 8925180"/>
                <a:gd name="connsiteY116" fmla="*/ 5858728 h 5858728"/>
                <a:gd name="connsiteX117" fmla="*/ 0 w 8925180"/>
                <a:gd name="connsiteY117" fmla="*/ 4949922 h 5858728"/>
                <a:gd name="connsiteX118" fmla="*/ 0 w 8925180"/>
                <a:gd name="connsiteY118" fmla="*/ 908806 h 5858728"/>
                <a:gd name="connsiteX119" fmla="*/ 908806 w 8925180"/>
                <a:gd name="connsiteY119" fmla="*/ 0 h 5858728"/>
                <a:gd name="connsiteX120" fmla="*/ 2008600 w 8925180"/>
                <a:gd name="connsiteY120" fmla="*/ 0 h 5858728"/>
                <a:gd name="connsiteX121" fmla="*/ 2008600 w 8925180"/>
                <a:gd name="connsiteY121" fmla="*/ 498540 h 5858728"/>
                <a:gd name="connsiteX122" fmla="*/ 2620520 w 8925180"/>
                <a:gd name="connsiteY122" fmla="*/ 1110460 h 5858728"/>
                <a:gd name="connsiteX123" fmla="*/ 6296989 w 8925180"/>
                <a:gd name="connsiteY123" fmla="*/ 1110460 h 5858728"/>
                <a:gd name="connsiteX124" fmla="*/ 6908909 w 8925180"/>
                <a:gd name="connsiteY124" fmla="*/ 498540 h 5858728"/>
                <a:gd name="connsiteX125" fmla="*/ 6908909 w 8925180"/>
                <a:gd name="connsiteY125" fmla="*/ 0 h 5858728"/>
                <a:gd name="connsiteX126" fmla="*/ 8016374 w 8925180"/>
                <a:gd name="connsiteY126" fmla="*/ 0 h 5858728"/>
                <a:gd name="connsiteX127" fmla="*/ 8449565 w 8925180"/>
                <a:gd name="connsiteY127" fmla="*/ 109688 h 5858728"/>
                <a:gd name="connsiteX0" fmla="*/ 1850256 w 8925180"/>
                <a:gd name="connsiteY0" fmla="*/ 4432622 h 5858728"/>
                <a:gd name="connsiteX1" fmla="*/ 2354591 w 8925180"/>
                <a:gd name="connsiteY1" fmla="*/ 4887349 h 5858728"/>
                <a:gd name="connsiteX2" fmla="*/ 2235184 w 8925180"/>
                <a:gd name="connsiteY2" fmla="*/ 4987528 h 5858728"/>
                <a:gd name="connsiteX3" fmla="*/ 1798749 w 8925180"/>
                <a:gd name="connsiteY3" fmla="*/ 4589127 h 5858728"/>
                <a:gd name="connsiteX4" fmla="*/ 1850256 w 8925180"/>
                <a:gd name="connsiteY4" fmla="*/ 4432622 h 5858728"/>
                <a:gd name="connsiteX5" fmla="*/ 1947683 w 8925180"/>
                <a:gd name="connsiteY5" fmla="*/ 4178550 h 5858728"/>
                <a:gd name="connsiteX6" fmla="*/ 2549059 w 8925180"/>
                <a:gd name="connsiteY6" fmla="*/ 4709227 h 5858728"/>
                <a:gd name="connsiteX7" fmla="*/ 2435596 w 8925180"/>
                <a:gd name="connsiteY7" fmla="*/ 4809499 h 5858728"/>
                <a:gd name="connsiteX8" fmla="*/ 1897573 w 8925180"/>
                <a:gd name="connsiteY8" fmla="*/ 4327451 h 5858728"/>
                <a:gd name="connsiteX9" fmla="*/ 1947683 w 8925180"/>
                <a:gd name="connsiteY9" fmla="*/ 4178550 h 5858728"/>
                <a:gd name="connsiteX10" fmla="*/ 2046233 w 8925180"/>
                <a:gd name="connsiteY10" fmla="*/ 3925127 h 5858728"/>
                <a:gd name="connsiteX11" fmla="*/ 2457953 w 8925180"/>
                <a:gd name="connsiteY11" fmla="*/ 4293656 h 5858728"/>
                <a:gd name="connsiteX12" fmla="*/ 2568281 w 8925180"/>
                <a:gd name="connsiteY12" fmla="*/ 4587809 h 5858728"/>
                <a:gd name="connsiteX13" fmla="*/ 1989205 w 8925180"/>
                <a:gd name="connsiteY13" fmla="*/ 4073026 h 5858728"/>
                <a:gd name="connsiteX14" fmla="*/ 2046233 w 8925180"/>
                <a:gd name="connsiteY14" fmla="*/ 3925127 h 5858728"/>
                <a:gd name="connsiteX15" fmla="*/ 2259917 w 8925180"/>
                <a:gd name="connsiteY15" fmla="*/ 3773334 h 5858728"/>
                <a:gd name="connsiteX16" fmla="*/ 2260420 w 8925180"/>
                <a:gd name="connsiteY16" fmla="*/ 3773641 h 5858728"/>
                <a:gd name="connsiteX17" fmla="*/ 2259745 w 8925180"/>
                <a:gd name="connsiteY17" fmla="*/ 3773354 h 5858728"/>
                <a:gd name="connsiteX18" fmla="*/ 2259917 w 8925180"/>
                <a:gd name="connsiteY18" fmla="*/ 3773334 h 5858728"/>
                <a:gd name="connsiteX19" fmla="*/ 2315925 w 8925180"/>
                <a:gd name="connsiteY19" fmla="*/ 3709127 h 5858728"/>
                <a:gd name="connsiteX20" fmla="*/ 2248405 w 8925180"/>
                <a:gd name="connsiteY20" fmla="*/ 3768327 h 5858728"/>
                <a:gd name="connsiteX21" fmla="*/ 2256714 w 8925180"/>
                <a:gd name="connsiteY21" fmla="*/ 3772067 h 5858728"/>
                <a:gd name="connsiteX22" fmla="*/ 2259745 w 8925180"/>
                <a:gd name="connsiteY22" fmla="*/ 3773354 h 5858728"/>
                <a:gd name="connsiteX23" fmla="*/ 2258685 w 8925180"/>
                <a:gd name="connsiteY23" fmla="*/ 3773482 h 5858728"/>
                <a:gd name="connsiteX24" fmla="*/ 2268513 w 8925180"/>
                <a:gd name="connsiteY24" fmla="*/ 3780164 h 5858728"/>
                <a:gd name="connsiteX25" fmla="*/ 2379413 w 8925180"/>
                <a:gd name="connsiteY25" fmla="*/ 4075583 h 5858728"/>
                <a:gd name="connsiteX26" fmla="*/ 2090738 w 8925180"/>
                <a:gd name="connsiteY26" fmla="*/ 3813339 h 5858728"/>
                <a:gd name="connsiteX27" fmla="*/ 2054269 w 8925180"/>
                <a:gd name="connsiteY27" fmla="*/ 3707627 h 5858728"/>
                <a:gd name="connsiteX28" fmla="*/ 1693111 w 8925180"/>
                <a:gd name="connsiteY28" fmla="*/ 4661938 h 5858728"/>
                <a:gd name="connsiteX29" fmla="*/ 2184860 w 8925180"/>
                <a:gd name="connsiteY29" fmla="*/ 5091104 h 5858728"/>
                <a:gd name="connsiteX30" fmla="*/ 2667148 w 8925180"/>
                <a:gd name="connsiteY30" fmla="*/ 4660009 h 5858728"/>
                <a:gd name="connsiteX31" fmla="*/ 2315925 w 8925180"/>
                <a:gd name="connsiteY31" fmla="*/ 3709127 h 5858728"/>
                <a:gd name="connsiteX32" fmla="*/ 2482054 w 8925180"/>
                <a:gd name="connsiteY32" fmla="*/ 3279357 h 5858728"/>
                <a:gd name="connsiteX33" fmla="*/ 1878642 w 8925180"/>
                <a:gd name="connsiteY33" fmla="*/ 3279929 h 5858728"/>
                <a:gd name="connsiteX34" fmla="*/ 1841602 w 8925180"/>
                <a:gd name="connsiteY34" fmla="*/ 3439228 h 5858728"/>
                <a:gd name="connsiteX35" fmla="*/ 2120130 w 8925180"/>
                <a:gd name="connsiteY35" fmla="*/ 3726569 h 5858728"/>
                <a:gd name="connsiteX36" fmla="*/ 2232643 w 8925180"/>
                <a:gd name="connsiteY36" fmla="*/ 3741824 h 5858728"/>
                <a:gd name="connsiteX37" fmla="*/ 2537319 w 8925180"/>
                <a:gd name="connsiteY37" fmla="*/ 3433968 h 5858728"/>
                <a:gd name="connsiteX38" fmla="*/ 2482054 w 8925180"/>
                <a:gd name="connsiteY38" fmla="*/ 3279357 h 5858728"/>
                <a:gd name="connsiteX39" fmla="*/ 3410751 w 8925180"/>
                <a:gd name="connsiteY39" fmla="*/ 3027962 h 5858728"/>
                <a:gd name="connsiteX40" fmla="*/ 3333772 w 8925180"/>
                <a:gd name="connsiteY40" fmla="*/ 2996318 h 5858728"/>
                <a:gd name="connsiteX41" fmla="*/ 2979092 w 8925180"/>
                <a:gd name="connsiteY41" fmla="*/ 2978709 h 5858728"/>
                <a:gd name="connsiteX42" fmla="*/ 2563372 w 8925180"/>
                <a:gd name="connsiteY42" fmla="*/ 3254338 h 5858728"/>
                <a:gd name="connsiteX43" fmla="*/ 2382821 w 8925180"/>
                <a:gd name="connsiteY43" fmla="*/ 3689332 h 5858728"/>
                <a:gd name="connsiteX44" fmla="*/ 2746939 w 8925180"/>
                <a:gd name="connsiteY44" fmla="*/ 4674898 h 5858728"/>
                <a:gd name="connsiteX45" fmla="*/ 2184702 w 8925180"/>
                <a:gd name="connsiteY45" fmla="*/ 5175921 h 5858728"/>
                <a:gd name="connsiteX46" fmla="*/ 1614576 w 8925180"/>
                <a:gd name="connsiteY46" fmla="*/ 4673723 h 5858728"/>
                <a:gd name="connsiteX47" fmla="*/ 1993653 w 8925180"/>
                <a:gd name="connsiteY47" fmla="*/ 3692376 h 5858728"/>
                <a:gd name="connsiteX48" fmla="*/ 1805436 w 8925180"/>
                <a:gd name="connsiteY48" fmla="*/ 3261869 h 5858728"/>
                <a:gd name="connsiteX49" fmla="*/ 1395380 w 8925180"/>
                <a:gd name="connsiteY49" fmla="*/ 2972526 h 5858728"/>
                <a:gd name="connsiteX50" fmla="*/ 1032434 w 8925180"/>
                <a:gd name="connsiteY50" fmla="*/ 2996354 h 5858728"/>
                <a:gd name="connsiteX51" fmla="*/ 673640 w 8925180"/>
                <a:gd name="connsiteY51" fmla="*/ 3478975 h 5858728"/>
                <a:gd name="connsiteX52" fmla="*/ 665233 w 8925180"/>
                <a:gd name="connsiteY52" fmla="*/ 5181466 h 5858728"/>
                <a:gd name="connsiteX53" fmla="*/ 1228210 w 8925180"/>
                <a:gd name="connsiteY53" fmla="*/ 5182572 h 5858728"/>
                <a:gd name="connsiteX54" fmla="*/ 1230379 w 8925180"/>
                <a:gd name="connsiteY54" fmla="*/ 3776157 h 5858728"/>
                <a:gd name="connsiteX55" fmla="*/ 1376348 w 8925180"/>
                <a:gd name="connsiteY55" fmla="*/ 3751556 h 5858728"/>
                <a:gd name="connsiteX56" fmla="*/ 1372900 w 8925180"/>
                <a:gd name="connsiteY56" fmla="*/ 5180612 h 5858728"/>
                <a:gd name="connsiteX57" fmla="*/ 2990350 w 8925180"/>
                <a:gd name="connsiteY57" fmla="*/ 5181867 h 5858728"/>
                <a:gd name="connsiteX58" fmla="*/ 2996744 w 8925180"/>
                <a:gd name="connsiteY58" fmla="*/ 3751912 h 5858728"/>
                <a:gd name="connsiteX59" fmla="*/ 3133436 w 8925180"/>
                <a:gd name="connsiteY59" fmla="*/ 3741510 h 5858728"/>
                <a:gd name="connsiteX60" fmla="*/ 3121821 w 8925180"/>
                <a:gd name="connsiteY60" fmla="*/ 5183179 h 5858728"/>
                <a:gd name="connsiteX61" fmla="*/ 3686232 w 8925180"/>
                <a:gd name="connsiteY61" fmla="*/ 5182347 h 5858728"/>
                <a:gd name="connsiteX62" fmla="*/ 3691473 w 8925180"/>
                <a:gd name="connsiteY62" fmla="*/ 3478402 h 5858728"/>
                <a:gd name="connsiteX63" fmla="*/ 3410751 w 8925180"/>
                <a:gd name="connsiteY63" fmla="*/ 3027962 h 5858728"/>
                <a:gd name="connsiteX64" fmla="*/ 3136776 w 8925180"/>
                <a:gd name="connsiteY64" fmla="*/ 1889907 h 5858728"/>
                <a:gd name="connsiteX65" fmla="*/ 2203072 w 8925180"/>
                <a:gd name="connsiteY65" fmla="*/ 1725263 h 5858728"/>
                <a:gd name="connsiteX66" fmla="*/ 2300379 w 8925180"/>
                <a:gd name="connsiteY66" fmla="*/ 1923326 h 5858728"/>
                <a:gd name="connsiteX67" fmla="*/ 1188791 w 8925180"/>
                <a:gd name="connsiteY67" fmla="*/ 2040152 h 5858728"/>
                <a:gd name="connsiteX68" fmla="*/ 2271604 w 8925180"/>
                <a:gd name="connsiteY68" fmla="*/ 3250645 h 5858728"/>
                <a:gd name="connsiteX69" fmla="*/ 3136776 w 8925180"/>
                <a:gd name="connsiteY69" fmla="*/ 1889907 h 5858728"/>
                <a:gd name="connsiteX70" fmla="*/ 2717485 w 8925180"/>
                <a:gd name="connsiteY70" fmla="*/ 1393444 h 5858728"/>
                <a:gd name="connsiteX71" fmla="*/ 1883384 w 8925180"/>
                <a:gd name="connsiteY71" fmla="*/ 1285665 h 5858728"/>
                <a:gd name="connsiteX72" fmla="*/ 1222141 w 8925180"/>
                <a:gd name="connsiteY72" fmla="*/ 1956867 h 5858728"/>
                <a:gd name="connsiteX73" fmla="*/ 2190065 w 8925180"/>
                <a:gd name="connsiteY73" fmla="*/ 1843866 h 5858728"/>
                <a:gd name="connsiteX74" fmla="*/ 2106198 w 8925180"/>
                <a:gd name="connsiteY74" fmla="*/ 1659192 h 5858728"/>
                <a:gd name="connsiteX75" fmla="*/ 3105346 w 8925180"/>
                <a:gd name="connsiteY75" fmla="*/ 1825795 h 5858728"/>
                <a:gd name="connsiteX76" fmla="*/ 2717485 w 8925180"/>
                <a:gd name="connsiteY76" fmla="*/ 1393444 h 5858728"/>
                <a:gd name="connsiteX77" fmla="*/ 8150482 w 8925180"/>
                <a:gd name="connsiteY77" fmla="*/ 4451277 h 5858728"/>
                <a:gd name="connsiteX78" fmla="*/ 8107801 w 8925180"/>
                <a:gd name="connsiteY78" fmla="*/ 4442632 h 5858728"/>
                <a:gd name="connsiteX79" fmla="*/ 4582685 w 8925180"/>
                <a:gd name="connsiteY79" fmla="*/ 4440312 h 5858728"/>
                <a:gd name="connsiteX80" fmla="*/ 4472947 w 8925180"/>
                <a:gd name="connsiteY80" fmla="*/ 4549907 h 5858728"/>
                <a:gd name="connsiteX81" fmla="*/ 4472887 w 8925180"/>
                <a:gd name="connsiteY81" fmla="*/ 4641332 h 5858728"/>
                <a:gd name="connsiteX82" fmla="*/ 4582481 w 8925180"/>
                <a:gd name="connsiteY82" fmla="*/ 4751069 h 5858728"/>
                <a:gd name="connsiteX83" fmla="*/ 8107596 w 8925180"/>
                <a:gd name="connsiteY83" fmla="*/ 4753388 h 5858728"/>
                <a:gd name="connsiteX84" fmla="*/ 8217334 w 8925180"/>
                <a:gd name="connsiteY84" fmla="*/ 4643794 h 5858728"/>
                <a:gd name="connsiteX85" fmla="*/ 8217394 w 8925180"/>
                <a:gd name="connsiteY85" fmla="*/ 4552369 h 5858728"/>
                <a:gd name="connsiteX86" fmla="*/ 8150482 w 8925180"/>
                <a:gd name="connsiteY86" fmla="*/ 4451277 h 5858728"/>
                <a:gd name="connsiteX87" fmla="*/ 8148049 w 8925180"/>
                <a:gd name="connsiteY87" fmla="*/ 3694350 h 5858728"/>
                <a:gd name="connsiteX88" fmla="*/ 8105367 w 8925180"/>
                <a:gd name="connsiteY88" fmla="*/ 3685704 h 5858728"/>
                <a:gd name="connsiteX89" fmla="*/ 4580253 w 8925180"/>
                <a:gd name="connsiteY89" fmla="*/ 3683387 h 5858728"/>
                <a:gd name="connsiteX90" fmla="*/ 4470515 w 8925180"/>
                <a:gd name="connsiteY90" fmla="*/ 3792981 h 5858728"/>
                <a:gd name="connsiteX91" fmla="*/ 4470455 w 8925180"/>
                <a:gd name="connsiteY91" fmla="*/ 3884406 h 5858728"/>
                <a:gd name="connsiteX92" fmla="*/ 4580048 w 8925180"/>
                <a:gd name="connsiteY92" fmla="*/ 3994144 h 5858728"/>
                <a:gd name="connsiteX93" fmla="*/ 8105163 w 8925180"/>
                <a:gd name="connsiteY93" fmla="*/ 3996461 h 5858728"/>
                <a:gd name="connsiteX94" fmla="*/ 8214901 w 8925180"/>
                <a:gd name="connsiteY94" fmla="*/ 3886867 h 5858728"/>
                <a:gd name="connsiteX95" fmla="*/ 8214961 w 8925180"/>
                <a:gd name="connsiteY95" fmla="*/ 3795443 h 5858728"/>
                <a:gd name="connsiteX96" fmla="*/ 8148049 w 8925180"/>
                <a:gd name="connsiteY96" fmla="*/ 3694350 h 5858728"/>
                <a:gd name="connsiteX97" fmla="*/ 8152570 w 8925180"/>
                <a:gd name="connsiteY97" fmla="*/ 2963452 h 5858728"/>
                <a:gd name="connsiteX98" fmla="*/ 8109889 w 8925180"/>
                <a:gd name="connsiteY98" fmla="*/ 2954806 h 5858728"/>
                <a:gd name="connsiteX99" fmla="*/ 4584774 w 8925180"/>
                <a:gd name="connsiteY99" fmla="*/ 2952488 h 5858728"/>
                <a:gd name="connsiteX100" fmla="*/ 4475036 w 8925180"/>
                <a:gd name="connsiteY100" fmla="*/ 3062082 h 5858728"/>
                <a:gd name="connsiteX101" fmla="*/ 4474976 w 8925180"/>
                <a:gd name="connsiteY101" fmla="*/ 3153507 h 5858728"/>
                <a:gd name="connsiteX102" fmla="*/ 4584570 w 8925180"/>
                <a:gd name="connsiteY102" fmla="*/ 3263245 h 5858728"/>
                <a:gd name="connsiteX103" fmla="*/ 8109684 w 8925180"/>
                <a:gd name="connsiteY103" fmla="*/ 3265563 h 5858728"/>
                <a:gd name="connsiteX104" fmla="*/ 8219422 w 8925180"/>
                <a:gd name="connsiteY104" fmla="*/ 3155969 h 5858728"/>
                <a:gd name="connsiteX105" fmla="*/ 8219483 w 8925180"/>
                <a:gd name="connsiteY105" fmla="*/ 3064544 h 5858728"/>
                <a:gd name="connsiteX106" fmla="*/ 8152570 w 8925180"/>
                <a:gd name="connsiteY106" fmla="*/ 2963452 h 5858728"/>
                <a:gd name="connsiteX107" fmla="*/ 8145669 w 8925180"/>
                <a:gd name="connsiteY107" fmla="*/ 2233284 h 5858728"/>
                <a:gd name="connsiteX108" fmla="*/ 8102988 w 8925180"/>
                <a:gd name="connsiteY108" fmla="*/ 2224637 h 5858728"/>
                <a:gd name="connsiteX109" fmla="*/ 4577874 w 8925180"/>
                <a:gd name="connsiteY109" fmla="*/ 2222320 h 5858728"/>
                <a:gd name="connsiteX110" fmla="*/ 4468135 w 8925180"/>
                <a:gd name="connsiteY110" fmla="*/ 2331915 h 5858728"/>
                <a:gd name="connsiteX111" fmla="*/ 4468075 w 8925180"/>
                <a:gd name="connsiteY111" fmla="*/ 2423339 h 5858728"/>
                <a:gd name="connsiteX112" fmla="*/ 4577669 w 8925180"/>
                <a:gd name="connsiteY112" fmla="*/ 2533077 h 5858728"/>
                <a:gd name="connsiteX113" fmla="*/ 8102784 w 8925180"/>
                <a:gd name="connsiteY113" fmla="*/ 2535394 h 5858728"/>
                <a:gd name="connsiteX114" fmla="*/ 8212522 w 8925180"/>
                <a:gd name="connsiteY114" fmla="*/ 2425800 h 5858728"/>
                <a:gd name="connsiteX115" fmla="*/ 8212582 w 8925180"/>
                <a:gd name="connsiteY115" fmla="*/ 2334375 h 5858728"/>
                <a:gd name="connsiteX116" fmla="*/ 8145669 w 8925180"/>
                <a:gd name="connsiteY116" fmla="*/ 2233284 h 5858728"/>
                <a:gd name="connsiteX117" fmla="*/ 8449565 w 8925180"/>
                <a:gd name="connsiteY117" fmla="*/ 109688 h 5858728"/>
                <a:gd name="connsiteX118" fmla="*/ 8925180 w 8925180"/>
                <a:gd name="connsiteY118" fmla="*/ 908806 h 5858728"/>
                <a:gd name="connsiteX119" fmla="*/ 8925180 w 8925180"/>
                <a:gd name="connsiteY119" fmla="*/ 4949923 h 5858728"/>
                <a:gd name="connsiteX120" fmla="*/ 8016374 w 8925180"/>
                <a:gd name="connsiteY120" fmla="*/ 5858728 h 5858728"/>
                <a:gd name="connsiteX121" fmla="*/ 908806 w 8925180"/>
                <a:gd name="connsiteY121" fmla="*/ 5858728 h 5858728"/>
                <a:gd name="connsiteX122" fmla="*/ 0 w 8925180"/>
                <a:gd name="connsiteY122" fmla="*/ 4949922 h 5858728"/>
                <a:gd name="connsiteX123" fmla="*/ 0 w 8925180"/>
                <a:gd name="connsiteY123" fmla="*/ 908806 h 5858728"/>
                <a:gd name="connsiteX124" fmla="*/ 908806 w 8925180"/>
                <a:gd name="connsiteY124" fmla="*/ 0 h 5858728"/>
                <a:gd name="connsiteX125" fmla="*/ 2008600 w 8925180"/>
                <a:gd name="connsiteY125" fmla="*/ 0 h 5858728"/>
                <a:gd name="connsiteX126" fmla="*/ 2008600 w 8925180"/>
                <a:gd name="connsiteY126" fmla="*/ 498540 h 5858728"/>
                <a:gd name="connsiteX127" fmla="*/ 2620520 w 8925180"/>
                <a:gd name="connsiteY127" fmla="*/ 1110460 h 5858728"/>
                <a:gd name="connsiteX128" fmla="*/ 6296339 w 8925180"/>
                <a:gd name="connsiteY128" fmla="*/ 1034638 h 5858728"/>
                <a:gd name="connsiteX129" fmla="*/ 6908909 w 8925180"/>
                <a:gd name="connsiteY129" fmla="*/ 498540 h 5858728"/>
                <a:gd name="connsiteX130" fmla="*/ 6908909 w 8925180"/>
                <a:gd name="connsiteY130" fmla="*/ 0 h 5858728"/>
                <a:gd name="connsiteX131" fmla="*/ 8016374 w 8925180"/>
                <a:gd name="connsiteY131" fmla="*/ 0 h 5858728"/>
                <a:gd name="connsiteX132" fmla="*/ 8449565 w 8925180"/>
                <a:gd name="connsiteY132" fmla="*/ 109688 h 5858728"/>
                <a:gd name="connsiteX0" fmla="*/ 1850256 w 8925180"/>
                <a:gd name="connsiteY0" fmla="*/ 4432622 h 5858728"/>
                <a:gd name="connsiteX1" fmla="*/ 2354591 w 8925180"/>
                <a:gd name="connsiteY1" fmla="*/ 4887349 h 5858728"/>
                <a:gd name="connsiteX2" fmla="*/ 2235184 w 8925180"/>
                <a:gd name="connsiteY2" fmla="*/ 4987528 h 5858728"/>
                <a:gd name="connsiteX3" fmla="*/ 1798749 w 8925180"/>
                <a:gd name="connsiteY3" fmla="*/ 4589127 h 5858728"/>
                <a:gd name="connsiteX4" fmla="*/ 1850256 w 8925180"/>
                <a:gd name="connsiteY4" fmla="*/ 4432622 h 5858728"/>
                <a:gd name="connsiteX5" fmla="*/ 1947683 w 8925180"/>
                <a:gd name="connsiteY5" fmla="*/ 4178550 h 5858728"/>
                <a:gd name="connsiteX6" fmla="*/ 2549059 w 8925180"/>
                <a:gd name="connsiteY6" fmla="*/ 4709227 h 5858728"/>
                <a:gd name="connsiteX7" fmla="*/ 2435596 w 8925180"/>
                <a:gd name="connsiteY7" fmla="*/ 4809499 h 5858728"/>
                <a:gd name="connsiteX8" fmla="*/ 1897573 w 8925180"/>
                <a:gd name="connsiteY8" fmla="*/ 4327451 h 5858728"/>
                <a:gd name="connsiteX9" fmla="*/ 1947683 w 8925180"/>
                <a:gd name="connsiteY9" fmla="*/ 4178550 h 5858728"/>
                <a:gd name="connsiteX10" fmla="*/ 2046233 w 8925180"/>
                <a:gd name="connsiteY10" fmla="*/ 3925127 h 5858728"/>
                <a:gd name="connsiteX11" fmla="*/ 2457953 w 8925180"/>
                <a:gd name="connsiteY11" fmla="*/ 4293656 h 5858728"/>
                <a:gd name="connsiteX12" fmla="*/ 2568281 w 8925180"/>
                <a:gd name="connsiteY12" fmla="*/ 4587809 h 5858728"/>
                <a:gd name="connsiteX13" fmla="*/ 1989205 w 8925180"/>
                <a:gd name="connsiteY13" fmla="*/ 4073026 h 5858728"/>
                <a:gd name="connsiteX14" fmla="*/ 2046233 w 8925180"/>
                <a:gd name="connsiteY14" fmla="*/ 3925127 h 5858728"/>
                <a:gd name="connsiteX15" fmla="*/ 2259917 w 8925180"/>
                <a:gd name="connsiteY15" fmla="*/ 3773334 h 5858728"/>
                <a:gd name="connsiteX16" fmla="*/ 2260420 w 8925180"/>
                <a:gd name="connsiteY16" fmla="*/ 3773641 h 5858728"/>
                <a:gd name="connsiteX17" fmla="*/ 2259745 w 8925180"/>
                <a:gd name="connsiteY17" fmla="*/ 3773354 h 5858728"/>
                <a:gd name="connsiteX18" fmla="*/ 2259917 w 8925180"/>
                <a:gd name="connsiteY18" fmla="*/ 3773334 h 5858728"/>
                <a:gd name="connsiteX19" fmla="*/ 2315925 w 8925180"/>
                <a:gd name="connsiteY19" fmla="*/ 3709127 h 5858728"/>
                <a:gd name="connsiteX20" fmla="*/ 2248405 w 8925180"/>
                <a:gd name="connsiteY20" fmla="*/ 3768327 h 5858728"/>
                <a:gd name="connsiteX21" fmla="*/ 2256714 w 8925180"/>
                <a:gd name="connsiteY21" fmla="*/ 3772067 h 5858728"/>
                <a:gd name="connsiteX22" fmla="*/ 2259745 w 8925180"/>
                <a:gd name="connsiteY22" fmla="*/ 3773354 h 5858728"/>
                <a:gd name="connsiteX23" fmla="*/ 2258685 w 8925180"/>
                <a:gd name="connsiteY23" fmla="*/ 3773482 h 5858728"/>
                <a:gd name="connsiteX24" fmla="*/ 2268513 w 8925180"/>
                <a:gd name="connsiteY24" fmla="*/ 3780164 h 5858728"/>
                <a:gd name="connsiteX25" fmla="*/ 2379413 w 8925180"/>
                <a:gd name="connsiteY25" fmla="*/ 4075583 h 5858728"/>
                <a:gd name="connsiteX26" fmla="*/ 2090738 w 8925180"/>
                <a:gd name="connsiteY26" fmla="*/ 3813339 h 5858728"/>
                <a:gd name="connsiteX27" fmla="*/ 2054269 w 8925180"/>
                <a:gd name="connsiteY27" fmla="*/ 3707627 h 5858728"/>
                <a:gd name="connsiteX28" fmla="*/ 1693111 w 8925180"/>
                <a:gd name="connsiteY28" fmla="*/ 4661938 h 5858728"/>
                <a:gd name="connsiteX29" fmla="*/ 2184860 w 8925180"/>
                <a:gd name="connsiteY29" fmla="*/ 5091104 h 5858728"/>
                <a:gd name="connsiteX30" fmla="*/ 2667148 w 8925180"/>
                <a:gd name="connsiteY30" fmla="*/ 4660009 h 5858728"/>
                <a:gd name="connsiteX31" fmla="*/ 2315925 w 8925180"/>
                <a:gd name="connsiteY31" fmla="*/ 3709127 h 5858728"/>
                <a:gd name="connsiteX32" fmla="*/ 2482054 w 8925180"/>
                <a:gd name="connsiteY32" fmla="*/ 3279357 h 5858728"/>
                <a:gd name="connsiteX33" fmla="*/ 1878642 w 8925180"/>
                <a:gd name="connsiteY33" fmla="*/ 3279929 h 5858728"/>
                <a:gd name="connsiteX34" fmla="*/ 1841602 w 8925180"/>
                <a:gd name="connsiteY34" fmla="*/ 3439228 h 5858728"/>
                <a:gd name="connsiteX35" fmla="*/ 2120130 w 8925180"/>
                <a:gd name="connsiteY35" fmla="*/ 3726569 h 5858728"/>
                <a:gd name="connsiteX36" fmla="*/ 2232643 w 8925180"/>
                <a:gd name="connsiteY36" fmla="*/ 3741824 h 5858728"/>
                <a:gd name="connsiteX37" fmla="*/ 2537319 w 8925180"/>
                <a:gd name="connsiteY37" fmla="*/ 3433968 h 5858728"/>
                <a:gd name="connsiteX38" fmla="*/ 2482054 w 8925180"/>
                <a:gd name="connsiteY38" fmla="*/ 3279357 h 5858728"/>
                <a:gd name="connsiteX39" fmla="*/ 3410751 w 8925180"/>
                <a:gd name="connsiteY39" fmla="*/ 3027962 h 5858728"/>
                <a:gd name="connsiteX40" fmla="*/ 3333772 w 8925180"/>
                <a:gd name="connsiteY40" fmla="*/ 2996318 h 5858728"/>
                <a:gd name="connsiteX41" fmla="*/ 2979092 w 8925180"/>
                <a:gd name="connsiteY41" fmla="*/ 2978709 h 5858728"/>
                <a:gd name="connsiteX42" fmla="*/ 2563372 w 8925180"/>
                <a:gd name="connsiteY42" fmla="*/ 3254338 h 5858728"/>
                <a:gd name="connsiteX43" fmla="*/ 2382821 w 8925180"/>
                <a:gd name="connsiteY43" fmla="*/ 3689332 h 5858728"/>
                <a:gd name="connsiteX44" fmla="*/ 2746939 w 8925180"/>
                <a:gd name="connsiteY44" fmla="*/ 4674898 h 5858728"/>
                <a:gd name="connsiteX45" fmla="*/ 2184702 w 8925180"/>
                <a:gd name="connsiteY45" fmla="*/ 5175921 h 5858728"/>
                <a:gd name="connsiteX46" fmla="*/ 1614576 w 8925180"/>
                <a:gd name="connsiteY46" fmla="*/ 4673723 h 5858728"/>
                <a:gd name="connsiteX47" fmla="*/ 1993653 w 8925180"/>
                <a:gd name="connsiteY47" fmla="*/ 3692376 h 5858728"/>
                <a:gd name="connsiteX48" fmla="*/ 1805436 w 8925180"/>
                <a:gd name="connsiteY48" fmla="*/ 3261869 h 5858728"/>
                <a:gd name="connsiteX49" fmla="*/ 1395380 w 8925180"/>
                <a:gd name="connsiteY49" fmla="*/ 2972526 h 5858728"/>
                <a:gd name="connsiteX50" fmla="*/ 1032434 w 8925180"/>
                <a:gd name="connsiteY50" fmla="*/ 2996354 h 5858728"/>
                <a:gd name="connsiteX51" fmla="*/ 673640 w 8925180"/>
                <a:gd name="connsiteY51" fmla="*/ 3478975 h 5858728"/>
                <a:gd name="connsiteX52" fmla="*/ 665233 w 8925180"/>
                <a:gd name="connsiteY52" fmla="*/ 5181466 h 5858728"/>
                <a:gd name="connsiteX53" fmla="*/ 1228210 w 8925180"/>
                <a:gd name="connsiteY53" fmla="*/ 5182572 h 5858728"/>
                <a:gd name="connsiteX54" fmla="*/ 1230379 w 8925180"/>
                <a:gd name="connsiteY54" fmla="*/ 3776157 h 5858728"/>
                <a:gd name="connsiteX55" fmla="*/ 1376348 w 8925180"/>
                <a:gd name="connsiteY55" fmla="*/ 3751556 h 5858728"/>
                <a:gd name="connsiteX56" fmla="*/ 1372900 w 8925180"/>
                <a:gd name="connsiteY56" fmla="*/ 5180612 h 5858728"/>
                <a:gd name="connsiteX57" fmla="*/ 2990350 w 8925180"/>
                <a:gd name="connsiteY57" fmla="*/ 5181867 h 5858728"/>
                <a:gd name="connsiteX58" fmla="*/ 2996744 w 8925180"/>
                <a:gd name="connsiteY58" fmla="*/ 3751912 h 5858728"/>
                <a:gd name="connsiteX59" fmla="*/ 3133436 w 8925180"/>
                <a:gd name="connsiteY59" fmla="*/ 3741510 h 5858728"/>
                <a:gd name="connsiteX60" fmla="*/ 3121821 w 8925180"/>
                <a:gd name="connsiteY60" fmla="*/ 5183179 h 5858728"/>
                <a:gd name="connsiteX61" fmla="*/ 3686232 w 8925180"/>
                <a:gd name="connsiteY61" fmla="*/ 5182347 h 5858728"/>
                <a:gd name="connsiteX62" fmla="*/ 3691473 w 8925180"/>
                <a:gd name="connsiteY62" fmla="*/ 3478402 h 5858728"/>
                <a:gd name="connsiteX63" fmla="*/ 3410751 w 8925180"/>
                <a:gd name="connsiteY63" fmla="*/ 3027962 h 5858728"/>
                <a:gd name="connsiteX64" fmla="*/ 3136776 w 8925180"/>
                <a:gd name="connsiteY64" fmla="*/ 1889907 h 5858728"/>
                <a:gd name="connsiteX65" fmla="*/ 2203072 w 8925180"/>
                <a:gd name="connsiteY65" fmla="*/ 1725263 h 5858728"/>
                <a:gd name="connsiteX66" fmla="*/ 2300379 w 8925180"/>
                <a:gd name="connsiteY66" fmla="*/ 1923326 h 5858728"/>
                <a:gd name="connsiteX67" fmla="*/ 1188791 w 8925180"/>
                <a:gd name="connsiteY67" fmla="*/ 2040152 h 5858728"/>
                <a:gd name="connsiteX68" fmla="*/ 2271604 w 8925180"/>
                <a:gd name="connsiteY68" fmla="*/ 3250645 h 5858728"/>
                <a:gd name="connsiteX69" fmla="*/ 3136776 w 8925180"/>
                <a:gd name="connsiteY69" fmla="*/ 1889907 h 5858728"/>
                <a:gd name="connsiteX70" fmla="*/ 2717485 w 8925180"/>
                <a:gd name="connsiteY70" fmla="*/ 1393444 h 5858728"/>
                <a:gd name="connsiteX71" fmla="*/ 1883384 w 8925180"/>
                <a:gd name="connsiteY71" fmla="*/ 1285665 h 5858728"/>
                <a:gd name="connsiteX72" fmla="*/ 1222141 w 8925180"/>
                <a:gd name="connsiteY72" fmla="*/ 1956867 h 5858728"/>
                <a:gd name="connsiteX73" fmla="*/ 2190065 w 8925180"/>
                <a:gd name="connsiteY73" fmla="*/ 1843866 h 5858728"/>
                <a:gd name="connsiteX74" fmla="*/ 2106198 w 8925180"/>
                <a:gd name="connsiteY74" fmla="*/ 1659192 h 5858728"/>
                <a:gd name="connsiteX75" fmla="*/ 3105346 w 8925180"/>
                <a:gd name="connsiteY75" fmla="*/ 1825795 h 5858728"/>
                <a:gd name="connsiteX76" fmla="*/ 2717485 w 8925180"/>
                <a:gd name="connsiteY76" fmla="*/ 1393444 h 5858728"/>
                <a:gd name="connsiteX77" fmla="*/ 8150482 w 8925180"/>
                <a:gd name="connsiteY77" fmla="*/ 4451277 h 5858728"/>
                <a:gd name="connsiteX78" fmla="*/ 8107801 w 8925180"/>
                <a:gd name="connsiteY78" fmla="*/ 4442632 h 5858728"/>
                <a:gd name="connsiteX79" fmla="*/ 4582685 w 8925180"/>
                <a:gd name="connsiteY79" fmla="*/ 4440312 h 5858728"/>
                <a:gd name="connsiteX80" fmla="*/ 4472947 w 8925180"/>
                <a:gd name="connsiteY80" fmla="*/ 4549907 h 5858728"/>
                <a:gd name="connsiteX81" fmla="*/ 4472887 w 8925180"/>
                <a:gd name="connsiteY81" fmla="*/ 4641332 h 5858728"/>
                <a:gd name="connsiteX82" fmla="*/ 4582481 w 8925180"/>
                <a:gd name="connsiteY82" fmla="*/ 4751069 h 5858728"/>
                <a:gd name="connsiteX83" fmla="*/ 8107596 w 8925180"/>
                <a:gd name="connsiteY83" fmla="*/ 4753388 h 5858728"/>
                <a:gd name="connsiteX84" fmla="*/ 8217334 w 8925180"/>
                <a:gd name="connsiteY84" fmla="*/ 4643794 h 5858728"/>
                <a:gd name="connsiteX85" fmla="*/ 8217394 w 8925180"/>
                <a:gd name="connsiteY85" fmla="*/ 4552369 h 5858728"/>
                <a:gd name="connsiteX86" fmla="*/ 8150482 w 8925180"/>
                <a:gd name="connsiteY86" fmla="*/ 4451277 h 5858728"/>
                <a:gd name="connsiteX87" fmla="*/ 8148049 w 8925180"/>
                <a:gd name="connsiteY87" fmla="*/ 3694350 h 5858728"/>
                <a:gd name="connsiteX88" fmla="*/ 8105367 w 8925180"/>
                <a:gd name="connsiteY88" fmla="*/ 3685704 h 5858728"/>
                <a:gd name="connsiteX89" fmla="*/ 4580253 w 8925180"/>
                <a:gd name="connsiteY89" fmla="*/ 3683387 h 5858728"/>
                <a:gd name="connsiteX90" fmla="*/ 4470515 w 8925180"/>
                <a:gd name="connsiteY90" fmla="*/ 3792981 h 5858728"/>
                <a:gd name="connsiteX91" fmla="*/ 4470455 w 8925180"/>
                <a:gd name="connsiteY91" fmla="*/ 3884406 h 5858728"/>
                <a:gd name="connsiteX92" fmla="*/ 4580048 w 8925180"/>
                <a:gd name="connsiteY92" fmla="*/ 3994144 h 5858728"/>
                <a:gd name="connsiteX93" fmla="*/ 8105163 w 8925180"/>
                <a:gd name="connsiteY93" fmla="*/ 3996461 h 5858728"/>
                <a:gd name="connsiteX94" fmla="*/ 8214901 w 8925180"/>
                <a:gd name="connsiteY94" fmla="*/ 3886867 h 5858728"/>
                <a:gd name="connsiteX95" fmla="*/ 8214961 w 8925180"/>
                <a:gd name="connsiteY95" fmla="*/ 3795443 h 5858728"/>
                <a:gd name="connsiteX96" fmla="*/ 8148049 w 8925180"/>
                <a:gd name="connsiteY96" fmla="*/ 3694350 h 5858728"/>
                <a:gd name="connsiteX97" fmla="*/ 8152570 w 8925180"/>
                <a:gd name="connsiteY97" fmla="*/ 2963452 h 5858728"/>
                <a:gd name="connsiteX98" fmla="*/ 8109889 w 8925180"/>
                <a:gd name="connsiteY98" fmla="*/ 2954806 h 5858728"/>
                <a:gd name="connsiteX99" fmla="*/ 4584774 w 8925180"/>
                <a:gd name="connsiteY99" fmla="*/ 2952488 h 5858728"/>
                <a:gd name="connsiteX100" fmla="*/ 4475036 w 8925180"/>
                <a:gd name="connsiteY100" fmla="*/ 3062082 h 5858728"/>
                <a:gd name="connsiteX101" fmla="*/ 4474976 w 8925180"/>
                <a:gd name="connsiteY101" fmla="*/ 3153507 h 5858728"/>
                <a:gd name="connsiteX102" fmla="*/ 4584570 w 8925180"/>
                <a:gd name="connsiteY102" fmla="*/ 3263245 h 5858728"/>
                <a:gd name="connsiteX103" fmla="*/ 8109684 w 8925180"/>
                <a:gd name="connsiteY103" fmla="*/ 3265563 h 5858728"/>
                <a:gd name="connsiteX104" fmla="*/ 8219422 w 8925180"/>
                <a:gd name="connsiteY104" fmla="*/ 3155969 h 5858728"/>
                <a:gd name="connsiteX105" fmla="*/ 8219483 w 8925180"/>
                <a:gd name="connsiteY105" fmla="*/ 3064544 h 5858728"/>
                <a:gd name="connsiteX106" fmla="*/ 8152570 w 8925180"/>
                <a:gd name="connsiteY106" fmla="*/ 2963452 h 5858728"/>
                <a:gd name="connsiteX107" fmla="*/ 8145669 w 8925180"/>
                <a:gd name="connsiteY107" fmla="*/ 2233284 h 5858728"/>
                <a:gd name="connsiteX108" fmla="*/ 8102988 w 8925180"/>
                <a:gd name="connsiteY108" fmla="*/ 2224637 h 5858728"/>
                <a:gd name="connsiteX109" fmla="*/ 4577874 w 8925180"/>
                <a:gd name="connsiteY109" fmla="*/ 2222320 h 5858728"/>
                <a:gd name="connsiteX110" fmla="*/ 4468135 w 8925180"/>
                <a:gd name="connsiteY110" fmla="*/ 2331915 h 5858728"/>
                <a:gd name="connsiteX111" fmla="*/ 4468075 w 8925180"/>
                <a:gd name="connsiteY111" fmla="*/ 2423339 h 5858728"/>
                <a:gd name="connsiteX112" fmla="*/ 4577669 w 8925180"/>
                <a:gd name="connsiteY112" fmla="*/ 2533077 h 5858728"/>
                <a:gd name="connsiteX113" fmla="*/ 8102784 w 8925180"/>
                <a:gd name="connsiteY113" fmla="*/ 2535394 h 5858728"/>
                <a:gd name="connsiteX114" fmla="*/ 8212522 w 8925180"/>
                <a:gd name="connsiteY114" fmla="*/ 2425800 h 5858728"/>
                <a:gd name="connsiteX115" fmla="*/ 8212582 w 8925180"/>
                <a:gd name="connsiteY115" fmla="*/ 2334375 h 5858728"/>
                <a:gd name="connsiteX116" fmla="*/ 8145669 w 8925180"/>
                <a:gd name="connsiteY116" fmla="*/ 2233284 h 5858728"/>
                <a:gd name="connsiteX117" fmla="*/ 8449565 w 8925180"/>
                <a:gd name="connsiteY117" fmla="*/ 109688 h 5858728"/>
                <a:gd name="connsiteX118" fmla="*/ 8925180 w 8925180"/>
                <a:gd name="connsiteY118" fmla="*/ 908806 h 5858728"/>
                <a:gd name="connsiteX119" fmla="*/ 8925180 w 8925180"/>
                <a:gd name="connsiteY119" fmla="*/ 4949923 h 5858728"/>
                <a:gd name="connsiteX120" fmla="*/ 8016374 w 8925180"/>
                <a:gd name="connsiteY120" fmla="*/ 5858728 h 5858728"/>
                <a:gd name="connsiteX121" fmla="*/ 908806 w 8925180"/>
                <a:gd name="connsiteY121" fmla="*/ 5858728 h 5858728"/>
                <a:gd name="connsiteX122" fmla="*/ 0 w 8925180"/>
                <a:gd name="connsiteY122" fmla="*/ 4949922 h 5858728"/>
                <a:gd name="connsiteX123" fmla="*/ 0 w 8925180"/>
                <a:gd name="connsiteY123" fmla="*/ 908806 h 5858728"/>
                <a:gd name="connsiteX124" fmla="*/ 908806 w 8925180"/>
                <a:gd name="connsiteY124" fmla="*/ 0 h 5858728"/>
                <a:gd name="connsiteX125" fmla="*/ 2008600 w 8925180"/>
                <a:gd name="connsiteY125" fmla="*/ 0 h 5858728"/>
                <a:gd name="connsiteX126" fmla="*/ 2008600 w 8925180"/>
                <a:gd name="connsiteY126" fmla="*/ 498540 h 5858728"/>
                <a:gd name="connsiteX127" fmla="*/ 2620520 w 8925180"/>
                <a:gd name="connsiteY127" fmla="*/ 1110460 h 5858728"/>
                <a:gd name="connsiteX128" fmla="*/ 6296556 w 8925180"/>
                <a:gd name="connsiteY128" fmla="*/ 1059923 h 5858728"/>
                <a:gd name="connsiteX129" fmla="*/ 6908909 w 8925180"/>
                <a:gd name="connsiteY129" fmla="*/ 498540 h 5858728"/>
                <a:gd name="connsiteX130" fmla="*/ 6908909 w 8925180"/>
                <a:gd name="connsiteY130" fmla="*/ 0 h 5858728"/>
                <a:gd name="connsiteX131" fmla="*/ 8016374 w 8925180"/>
                <a:gd name="connsiteY131" fmla="*/ 0 h 5858728"/>
                <a:gd name="connsiteX132" fmla="*/ 8449565 w 8925180"/>
                <a:gd name="connsiteY132" fmla="*/ 109688 h 5858728"/>
                <a:gd name="connsiteX0" fmla="*/ 1850256 w 8925180"/>
                <a:gd name="connsiteY0" fmla="*/ 4432622 h 5858728"/>
                <a:gd name="connsiteX1" fmla="*/ 2354591 w 8925180"/>
                <a:gd name="connsiteY1" fmla="*/ 4887349 h 5858728"/>
                <a:gd name="connsiteX2" fmla="*/ 2235184 w 8925180"/>
                <a:gd name="connsiteY2" fmla="*/ 4987528 h 5858728"/>
                <a:gd name="connsiteX3" fmla="*/ 1798749 w 8925180"/>
                <a:gd name="connsiteY3" fmla="*/ 4589127 h 5858728"/>
                <a:gd name="connsiteX4" fmla="*/ 1850256 w 8925180"/>
                <a:gd name="connsiteY4" fmla="*/ 4432622 h 5858728"/>
                <a:gd name="connsiteX5" fmla="*/ 1947683 w 8925180"/>
                <a:gd name="connsiteY5" fmla="*/ 4178550 h 5858728"/>
                <a:gd name="connsiteX6" fmla="*/ 2549059 w 8925180"/>
                <a:gd name="connsiteY6" fmla="*/ 4709227 h 5858728"/>
                <a:gd name="connsiteX7" fmla="*/ 2435596 w 8925180"/>
                <a:gd name="connsiteY7" fmla="*/ 4809499 h 5858728"/>
                <a:gd name="connsiteX8" fmla="*/ 1897573 w 8925180"/>
                <a:gd name="connsiteY8" fmla="*/ 4327451 h 5858728"/>
                <a:gd name="connsiteX9" fmla="*/ 1947683 w 8925180"/>
                <a:gd name="connsiteY9" fmla="*/ 4178550 h 5858728"/>
                <a:gd name="connsiteX10" fmla="*/ 2046233 w 8925180"/>
                <a:gd name="connsiteY10" fmla="*/ 3925127 h 5858728"/>
                <a:gd name="connsiteX11" fmla="*/ 2457953 w 8925180"/>
                <a:gd name="connsiteY11" fmla="*/ 4293656 h 5858728"/>
                <a:gd name="connsiteX12" fmla="*/ 2568281 w 8925180"/>
                <a:gd name="connsiteY12" fmla="*/ 4587809 h 5858728"/>
                <a:gd name="connsiteX13" fmla="*/ 1989205 w 8925180"/>
                <a:gd name="connsiteY13" fmla="*/ 4073026 h 5858728"/>
                <a:gd name="connsiteX14" fmla="*/ 2046233 w 8925180"/>
                <a:gd name="connsiteY14" fmla="*/ 3925127 h 5858728"/>
                <a:gd name="connsiteX15" fmla="*/ 2259917 w 8925180"/>
                <a:gd name="connsiteY15" fmla="*/ 3773334 h 5858728"/>
                <a:gd name="connsiteX16" fmla="*/ 2260420 w 8925180"/>
                <a:gd name="connsiteY16" fmla="*/ 3773641 h 5858728"/>
                <a:gd name="connsiteX17" fmla="*/ 2259745 w 8925180"/>
                <a:gd name="connsiteY17" fmla="*/ 3773354 h 5858728"/>
                <a:gd name="connsiteX18" fmla="*/ 2259917 w 8925180"/>
                <a:gd name="connsiteY18" fmla="*/ 3773334 h 5858728"/>
                <a:gd name="connsiteX19" fmla="*/ 2315925 w 8925180"/>
                <a:gd name="connsiteY19" fmla="*/ 3709127 h 5858728"/>
                <a:gd name="connsiteX20" fmla="*/ 2248405 w 8925180"/>
                <a:gd name="connsiteY20" fmla="*/ 3768327 h 5858728"/>
                <a:gd name="connsiteX21" fmla="*/ 2256714 w 8925180"/>
                <a:gd name="connsiteY21" fmla="*/ 3772067 h 5858728"/>
                <a:gd name="connsiteX22" fmla="*/ 2259745 w 8925180"/>
                <a:gd name="connsiteY22" fmla="*/ 3773354 h 5858728"/>
                <a:gd name="connsiteX23" fmla="*/ 2258685 w 8925180"/>
                <a:gd name="connsiteY23" fmla="*/ 3773482 h 5858728"/>
                <a:gd name="connsiteX24" fmla="*/ 2268513 w 8925180"/>
                <a:gd name="connsiteY24" fmla="*/ 3780164 h 5858728"/>
                <a:gd name="connsiteX25" fmla="*/ 2379413 w 8925180"/>
                <a:gd name="connsiteY25" fmla="*/ 4075583 h 5858728"/>
                <a:gd name="connsiteX26" fmla="*/ 2090738 w 8925180"/>
                <a:gd name="connsiteY26" fmla="*/ 3813339 h 5858728"/>
                <a:gd name="connsiteX27" fmla="*/ 2054269 w 8925180"/>
                <a:gd name="connsiteY27" fmla="*/ 3707627 h 5858728"/>
                <a:gd name="connsiteX28" fmla="*/ 1693111 w 8925180"/>
                <a:gd name="connsiteY28" fmla="*/ 4661938 h 5858728"/>
                <a:gd name="connsiteX29" fmla="*/ 2184860 w 8925180"/>
                <a:gd name="connsiteY29" fmla="*/ 5091104 h 5858728"/>
                <a:gd name="connsiteX30" fmla="*/ 2667148 w 8925180"/>
                <a:gd name="connsiteY30" fmla="*/ 4660009 h 5858728"/>
                <a:gd name="connsiteX31" fmla="*/ 2315925 w 8925180"/>
                <a:gd name="connsiteY31" fmla="*/ 3709127 h 5858728"/>
                <a:gd name="connsiteX32" fmla="*/ 2482054 w 8925180"/>
                <a:gd name="connsiteY32" fmla="*/ 3279357 h 5858728"/>
                <a:gd name="connsiteX33" fmla="*/ 1878642 w 8925180"/>
                <a:gd name="connsiteY33" fmla="*/ 3279929 h 5858728"/>
                <a:gd name="connsiteX34" fmla="*/ 1841602 w 8925180"/>
                <a:gd name="connsiteY34" fmla="*/ 3439228 h 5858728"/>
                <a:gd name="connsiteX35" fmla="*/ 2120130 w 8925180"/>
                <a:gd name="connsiteY35" fmla="*/ 3726569 h 5858728"/>
                <a:gd name="connsiteX36" fmla="*/ 2232643 w 8925180"/>
                <a:gd name="connsiteY36" fmla="*/ 3741824 h 5858728"/>
                <a:gd name="connsiteX37" fmla="*/ 2537319 w 8925180"/>
                <a:gd name="connsiteY37" fmla="*/ 3433968 h 5858728"/>
                <a:gd name="connsiteX38" fmla="*/ 2482054 w 8925180"/>
                <a:gd name="connsiteY38" fmla="*/ 3279357 h 5858728"/>
                <a:gd name="connsiteX39" fmla="*/ 3410751 w 8925180"/>
                <a:gd name="connsiteY39" fmla="*/ 3027962 h 5858728"/>
                <a:gd name="connsiteX40" fmla="*/ 3333772 w 8925180"/>
                <a:gd name="connsiteY40" fmla="*/ 2996318 h 5858728"/>
                <a:gd name="connsiteX41" fmla="*/ 2979092 w 8925180"/>
                <a:gd name="connsiteY41" fmla="*/ 2978709 h 5858728"/>
                <a:gd name="connsiteX42" fmla="*/ 2563372 w 8925180"/>
                <a:gd name="connsiteY42" fmla="*/ 3254338 h 5858728"/>
                <a:gd name="connsiteX43" fmla="*/ 2382821 w 8925180"/>
                <a:gd name="connsiteY43" fmla="*/ 3689332 h 5858728"/>
                <a:gd name="connsiteX44" fmla="*/ 2746939 w 8925180"/>
                <a:gd name="connsiteY44" fmla="*/ 4674898 h 5858728"/>
                <a:gd name="connsiteX45" fmla="*/ 2184702 w 8925180"/>
                <a:gd name="connsiteY45" fmla="*/ 5175921 h 5858728"/>
                <a:gd name="connsiteX46" fmla="*/ 1614576 w 8925180"/>
                <a:gd name="connsiteY46" fmla="*/ 4673723 h 5858728"/>
                <a:gd name="connsiteX47" fmla="*/ 1993653 w 8925180"/>
                <a:gd name="connsiteY47" fmla="*/ 3692376 h 5858728"/>
                <a:gd name="connsiteX48" fmla="*/ 1805436 w 8925180"/>
                <a:gd name="connsiteY48" fmla="*/ 3261869 h 5858728"/>
                <a:gd name="connsiteX49" fmla="*/ 1395380 w 8925180"/>
                <a:gd name="connsiteY49" fmla="*/ 2972526 h 5858728"/>
                <a:gd name="connsiteX50" fmla="*/ 1032434 w 8925180"/>
                <a:gd name="connsiteY50" fmla="*/ 2996354 h 5858728"/>
                <a:gd name="connsiteX51" fmla="*/ 673640 w 8925180"/>
                <a:gd name="connsiteY51" fmla="*/ 3478975 h 5858728"/>
                <a:gd name="connsiteX52" fmla="*/ 665233 w 8925180"/>
                <a:gd name="connsiteY52" fmla="*/ 5181466 h 5858728"/>
                <a:gd name="connsiteX53" fmla="*/ 1228210 w 8925180"/>
                <a:gd name="connsiteY53" fmla="*/ 5182572 h 5858728"/>
                <a:gd name="connsiteX54" fmla="*/ 1230379 w 8925180"/>
                <a:gd name="connsiteY54" fmla="*/ 3776157 h 5858728"/>
                <a:gd name="connsiteX55" fmla="*/ 1376348 w 8925180"/>
                <a:gd name="connsiteY55" fmla="*/ 3751556 h 5858728"/>
                <a:gd name="connsiteX56" fmla="*/ 1372900 w 8925180"/>
                <a:gd name="connsiteY56" fmla="*/ 5180612 h 5858728"/>
                <a:gd name="connsiteX57" fmla="*/ 2990350 w 8925180"/>
                <a:gd name="connsiteY57" fmla="*/ 5181867 h 5858728"/>
                <a:gd name="connsiteX58" fmla="*/ 2996744 w 8925180"/>
                <a:gd name="connsiteY58" fmla="*/ 3751912 h 5858728"/>
                <a:gd name="connsiteX59" fmla="*/ 3133436 w 8925180"/>
                <a:gd name="connsiteY59" fmla="*/ 3741510 h 5858728"/>
                <a:gd name="connsiteX60" fmla="*/ 3121821 w 8925180"/>
                <a:gd name="connsiteY60" fmla="*/ 5183179 h 5858728"/>
                <a:gd name="connsiteX61" fmla="*/ 3686232 w 8925180"/>
                <a:gd name="connsiteY61" fmla="*/ 5182347 h 5858728"/>
                <a:gd name="connsiteX62" fmla="*/ 3691473 w 8925180"/>
                <a:gd name="connsiteY62" fmla="*/ 3478402 h 5858728"/>
                <a:gd name="connsiteX63" fmla="*/ 3410751 w 8925180"/>
                <a:gd name="connsiteY63" fmla="*/ 3027962 h 5858728"/>
                <a:gd name="connsiteX64" fmla="*/ 3136776 w 8925180"/>
                <a:gd name="connsiteY64" fmla="*/ 1889907 h 5858728"/>
                <a:gd name="connsiteX65" fmla="*/ 2203072 w 8925180"/>
                <a:gd name="connsiteY65" fmla="*/ 1725263 h 5858728"/>
                <a:gd name="connsiteX66" fmla="*/ 2300379 w 8925180"/>
                <a:gd name="connsiteY66" fmla="*/ 1923326 h 5858728"/>
                <a:gd name="connsiteX67" fmla="*/ 1188791 w 8925180"/>
                <a:gd name="connsiteY67" fmla="*/ 2040152 h 5858728"/>
                <a:gd name="connsiteX68" fmla="*/ 2271604 w 8925180"/>
                <a:gd name="connsiteY68" fmla="*/ 3250645 h 5858728"/>
                <a:gd name="connsiteX69" fmla="*/ 3136776 w 8925180"/>
                <a:gd name="connsiteY69" fmla="*/ 1889907 h 5858728"/>
                <a:gd name="connsiteX70" fmla="*/ 2717485 w 8925180"/>
                <a:gd name="connsiteY70" fmla="*/ 1393444 h 5858728"/>
                <a:gd name="connsiteX71" fmla="*/ 1883384 w 8925180"/>
                <a:gd name="connsiteY71" fmla="*/ 1285665 h 5858728"/>
                <a:gd name="connsiteX72" fmla="*/ 1222141 w 8925180"/>
                <a:gd name="connsiteY72" fmla="*/ 1956867 h 5858728"/>
                <a:gd name="connsiteX73" fmla="*/ 2190065 w 8925180"/>
                <a:gd name="connsiteY73" fmla="*/ 1843866 h 5858728"/>
                <a:gd name="connsiteX74" fmla="*/ 2106198 w 8925180"/>
                <a:gd name="connsiteY74" fmla="*/ 1659192 h 5858728"/>
                <a:gd name="connsiteX75" fmla="*/ 3105346 w 8925180"/>
                <a:gd name="connsiteY75" fmla="*/ 1825795 h 5858728"/>
                <a:gd name="connsiteX76" fmla="*/ 2717485 w 8925180"/>
                <a:gd name="connsiteY76" fmla="*/ 1393444 h 5858728"/>
                <a:gd name="connsiteX77" fmla="*/ 8150482 w 8925180"/>
                <a:gd name="connsiteY77" fmla="*/ 4451277 h 5858728"/>
                <a:gd name="connsiteX78" fmla="*/ 8107801 w 8925180"/>
                <a:gd name="connsiteY78" fmla="*/ 4442632 h 5858728"/>
                <a:gd name="connsiteX79" fmla="*/ 4582685 w 8925180"/>
                <a:gd name="connsiteY79" fmla="*/ 4440312 h 5858728"/>
                <a:gd name="connsiteX80" fmla="*/ 4472947 w 8925180"/>
                <a:gd name="connsiteY80" fmla="*/ 4549907 h 5858728"/>
                <a:gd name="connsiteX81" fmla="*/ 4472887 w 8925180"/>
                <a:gd name="connsiteY81" fmla="*/ 4641332 h 5858728"/>
                <a:gd name="connsiteX82" fmla="*/ 4582481 w 8925180"/>
                <a:gd name="connsiteY82" fmla="*/ 4751069 h 5858728"/>
                <a:gd name="connsiteX83" fmla="*/ 8107596 w 8925180"/>
                <a:gd name="connsiteY83" fmla="*/ 4753388 h 5858728"/>
                <a:gd name="connsiteX84" fmla="*/ 8217334 w 8925180"/>
                <a:gd name="connsiteY84" fmla="*/ 4643794 h 5858728"/>
                <a:gd name="connsiteX85" fmla="*/ 8217394 w 8925180"/>
                <a:gd name="connsiteY85" fmla="*/ 4552369 h 5858728"/>
                <a:gd name="connsiteX86" fmla="*/ 8150482 w 8925180"/>
                <a:gd name="connsiteY86" fmla="*/ 4451277 h 5858728"/>
                <a:gd name="connsiteX87" fmla="*/ 8148049 w 8925180"/>
                <a:gd name="connsiteY87" fmla="*/ 3694350 h 5858728"/>
                <a:gd name="connsiteX88" fmla="*/ 8105367 w 8925180"/>
                <a:gd name="connsiteY88" fmla="*/ 3685704 h 5858728"/>
                <a:gd name="connsiteX89" fmla="*/ 4580253 w 8925180"/>
                <a:gd name="connsiteY89" fmla="*/ 3683387 h 5858728"/>
                <a:gd name="connsiteX90" fmla="*/ 4470515 w 8925180"/>
                <a:gd name="connsiteY90" fmla="*/ 3792981 h 5858728"/>
                <a:gd name="connsiteX91" fmla="*/ 4470455 w 8925180"/>
                <a:gd name="connsiteY91" fmla="*/ 3884406 h 5858728"/>
                <a:gd name="connsiteX92" fmla="*/ 4580048 w 8925180"/>
                <a:gd name="connsiteY92" fmla="*/ 3994144 h 5858728"/>
                <a:gd name="connsiteX93" fmla="*/ 8105163 w 8925180"/>
                <a:gd name="connsiteY93" fmla="*/ 3996461 h 5858728"/>
                <a:gd name="connsiteX94" fmla="*/ 8214901 w 8925180"/>
                <a:gd name="connsiteY94" fmla="*/ 3886867 h 5858728"/>
                <a:gd name="connsiteX95" fmla="*/ 8214961 w 8925180"/>
                <a:gd name="connsiteY95" fmla="*/ 3795443 h 5858728"/>
                <a:gd name="connsiteX96" fmla="*/ 8148049 w 8925180"/>
                <a:gd name="connsiteY96" fmla="*/ 3694350 h 5858728"/>
                <a:gd name="connsiteX97" fmla="*/ 8152570 w 8925180"/>
                <a:gd name="connsiteY97" fmla="*/ 2963452 h 5858728"/>
                <a:gd name="connsiteX98" fmla="*/ 8109889 w 8925180"/>
                <a:gd name="connsiteY98" fmla="*/ 2954806 h 5858728"/>
                <a:gd name="connsiteX99" fmla="*/ 4584774 w 8925180"/>
                <a:gd name="connsiteY99" fmla="*/ 2952488 h 5858728"/>
                <a:gd name="connsiteX100" fmla="*/ 4475036 w 8925180"/>
                <a:gd name="connsiteY100" fmla="*/ 3062082 h 5858728"/>
                <a:gd name="connsiteX101" fmla="*/ 4474976 w 8925180"/>
                <a:gd name="connsiteY101" fmla="*/ 3153507 h 5858728"/>
                <a:gd name="connsiteX102" fmla="*/ 4584570 w 8925180"/>
                <a:gd name="connsiteY102" fmla="*/ 3263245 h 5858728"/>
                <a:gd name="connsiteX103" fmla="*/ 8109684 w 8925180"/>
                <a:gd name="connsiteY103" fmla="*/ 3265563 h 5858728"/>
                <a:gd name="connsiteX104" fmla="*/ 8219422 w 8925180"/>
                <a:gd name="connsiteY104" fmla="*/ 3155969 h 5858728"/>
                <a:gd name="connsiteX105" fmla="*/ 8219483 w 8925180"/>
                <a:gd name="connsiteY105" fmla="*/ 3064544 h 5858728"/>
                <a:gd name="connsiteX106" fmla="*/ 8152570 w 8925180"/>
                <a:gd name="connsiteY106" fmla="*/ 2963452 h 5858728"/>
                <a:gd name="connsiteX107" fmla="*/ 8145669 w 8925180"/>
                <a:gd name="connsiteY107" fmla="*/ 2233284 h 5858728"/>
                <a:gd name="connsiteX108" fmla="*/ 8102988 w 8925180"/>
                <a:gd name="connsiteY108" fmla="*/ 2224637 h 5858728"/>
                <a:gd name="connsiteX109" fmla="*/ 4577874 w 8925180"/>
                <a:gd name="connsiteY109" fmla="*/ 2222320 h 5858728"/>
                <a:gd name="connsiteX110" fmla="*/ 4468135 w 8925180"/>
                <a:gd name="connsiteY110" fmla="*/ 2331915 h 5858728"/>
                <a:gd name="connsiteX111" fmla="*/ 4468075 w 8925180"/>
                <a:gd name="connsiteY111" fmla="*/ 2423339 h 5858728"/>
                <a:gd name="connsiteX112" fmla="*/ 4577669 w 8925180"/>
                <a:gd name="connsiteY112" fmla="*/ 2533077 h 5858728"/>
                <a:gd name="connsiteX113" fmla="*/ 8102784 w 8925180"/>
                <a:gd name="connsiteY113" fmla="*/ 2535394 h 5858728"/>
                <a:gd name="connsiteX114" fmla="*/ 8212522 w 8925180"/>
                <a:gd name="connsiteY114" fmla="*/ 2425800 h 5858728"/>
                <a:gd name="connsiteX115" fmla="*/ 8212582 w 8925180"/>
                <a:gd name="connsiteY115" fmla="*/ 2334375 h 5858728"/>
                <a:gd name="connsiteX116" fmla="*/ 8145669 w 8925180"/>
                <a:gd name="connsiteY116" fmla="*/ 2233284 h 5858728"/>
                <a:gd name="connsiteX117" fmla="*/ 8449565 w 8925180"/>
                <a:gd name="connsiteY117" fmla="*/ 109688 h 5858728"/>
                <a:gd name="connsiteX118" fmla="*/ 8925180 w 8925180"/>
                <a:gd name="connsiteY118" fmla="*/ 908806 h 5858728"/>
                <a:gd name="connsiteX119" fmla="*/ 8925180 w 8925180"/>
                <a:gd name="connsiteY119" fmla="*/ 4949923 h 5858728"/>
                <a:gd name="connsiteX120" fmla="*/ 8016374 w 8925180"/>
                <a:gd name="connsiteY120" fmla="*/ 5858728 h 5858728"/>
                <a:gd name="connsiteX121" fmla="*/ 908806 w 8925180"/>
                <a:gd name="connsiteY121" fmla="*/ 5858728 h 5858728"/>
                <a:gd name="connsiteX122" fmla="*/ 0 w 8925180"/>
                <a:gd name="connsiteY122" fmla="*/ 4949922 h 5858728"/>
                <a:gd name="connsiteX123" fmla="*/ 0 w 8925180"/>
                <a:gd name="connsiteY123" fmla="*/ 908806 h 5858728"/>
                <a:gd name="connsiteX124" fmla="*/ 908806 w 8925180"/>
                <a:gd name="connsiteY124" fmla="*/ 0 h 5858728"/>
                <a:gd name="connsiteX125" fmla="*/ 2008600 w 8925180"/>
                <a:gd name="connsiteY125" fmla="*/ 0 h 5858728"/>
                <a:gd name="connsiteX126" fmla="*/ 2008600 w 8925180"/>
                <a:gd name="connsiteY126" fmla="*/ 498540 h 5858728"/>
                <a:gd name="connsiteX127" fmla="*/ 2620520 w 8925180"/>
                <a:gd name="connsiteY127" fmla="*/ 1110460 h 5858728"/>
                <a:gd name="connsiteX128" fmla="*/ 6296783 w 8925180"/>
                <a:gd name="connsiteY128" fmla="*/ 1085186 h 5858728"/>
                <a:gd name="connsiteX129" fmla="*/ 6908909 w 8925180"/>
                <a:gd name="connsiteY129" fmla="*/ 498540 h 5858728"/>
                <a:gd name="connsiteX130" fmla="*/ 6908909 w 8925180"/>
                <a:gd name="connsiteY130" fmla="*/ 0 h 5858728"/>
                <a:gd name="connsiteX131" fmla="*/ 8016374 w 8925180"/>
                <a:gd name="connsiteY131" fmla="*/ 0 h 5858728"/>
                <a:gd name="connsiteX132" fmla="*/ 8449565 w 8925180"/>
                <a:gd name="connsiteY132" fmla="*/ 109688 h 5858728"/>
                <a:gd name="connsiteX0" fmla="*/ 1850256 w 8925180"/>
                <a:gd name="connsiteY0" fmla="*/ 4432622 h 5858728"/>
                <a:gd name="connsiteX1" fmla="*/ 2354591 w 8925180"/>
                <a:gd name="connsiteY1" fmla="*/ 4887349 h 5858728"/>
                <a:gd name="connsiteX2" fmla="*/ 2235184 w 8925180"/>
                <a:gd name="connsiteY2" fmla="*/ 4987528 h 5858728"/>
                <a:gd name="connsiteX3" fmla="*/ 1798749 w 8925180"/>
                <a:gd name="connsiteY3" fmla="*/ 4589127 h 5858728"/>
                <a:gd name="connsiteX4" fmla="*/ 1850256 w 8925180"/>
                <a:gd name="connsiteY4" fmla="*/ 4432622 h 5858728"/>
                <a:gd name="connsiteX5" fmla="*/ 1947683 w 8925180"/>
                <a:gd name="connsiteY5" fmla="*/ 4178550 h 5858728"/>
                <a:gd name="connsiteX6" fmla="*/ 2549059 w 8925180"/>
                <a:gd name="connsiteY6" fmla="*/ 4709227 h 5858728"/>
                <a:gd name="connsiteX7" fmla="*/ 2435596 w 8925180"/>
                <a:gd name="connsiteY7" fmla="*/ 4809499 h 5858728"/>
                <a:gd name="connsiteX8" fmla="*/ 1897573 w 8925180"/>
                <a:gd name="connsiteY8" fmla="*/ 4327451 h 5858728"/>
                <a:gd name="connsiteX9" fmla="*/ 1947683 w 8925180"/>
                <a:gd name="connsiteY9" fmla="*/ 4178550 h 5858728"/>
                <a:gd name="connsiteX10" fmla="*/ 2046233 w 8925180"/>
                <a:gd name="connsiteY10" fmla="*/ 3925127 h 5858728"/>
                <a:gd name="connsiteX11" fmla="*/ 2457953 w 8925180"/>
                <a:gd name="connsiteY11" fmla="*/ 4293656 h 5858728"/>
                <a:gd name="connsiteX12" fmla="*/ 2568281 w 8925180"/>
                <a:gd name="connsiteY12" fmla="*/ 4587809 h 5858728"/>
                <a:gd name="connsiteX13" fmla="*/ 1989205 w 8925180"/>
                <a:gd name="connsiteY13" fmla="*/ 4073026 h 5858728"/>
                <a:gd name="connsiteX14" fmla="*/ 2046233 w 8925180"/>
                <a:gd name="connsiteY14" fmla="*/ 3925127 h 5858728"/>
                <a:gd name="connsiteX15" fmla="*/ 2259917 w 8925180"/>
                <a:gd name="connsiteY15" fmla="*/ 3773334 h 5858728"/>
                <a:gd name="connsiteX16" fmla="*/ 2260420 w 8925180"/>
                <a:gd name="connsiteY16" fmla="*/ 3773641 h 5858728"/>
                <a:gd name="connsiteX17" fmla="*/ 2259745 w 8925180"/>
                <a:gd name="connsiteY17" fmla="*/ 3773354 h 5858728"/>
                <a:gd name="connsiteX18" fmla="*/ 2259917 w 8925180"/>
                <a:gd name="connsiteY18" fmla="*/ 3773334 h 5858728"/>
                <a:gd name="connsiteX19" fmla="*/ 2315925 w 8925180"/>
                <a:gd name="connsiteY19" fmla="*/ 3709127 h 5858728"/>
                <a:gd name="connsiteX20" fmla="*/ 2248405 w 8925180"/>
                <a:gd name="connsiteY20" fmla="*/ 3768327 h 5858728"/>
                <a:gd name="connsiteX21" fmla="*/ 2256714 w 8925180"/>
                <a:gd name="connsiteY21" fmla="*/ 3772067 h 5858728"/>
                <a:gd name="connsiteX22" fmla="*/ 2259745 w 8925180"/>
                <a:gd name="connsiteY22" fmla="*/ 3773354 h 5858728"/>
                <a:gd name="connsiteX23" fmla="*/ 2258685 w 8925180"/>
                <a:gd name="connsiteY23" fmla="*/ 3773482 h 5858728"/>
                <a:gd name="connsiteX24" fmla="*/ 2268513 w 8925180"/>
                <a:gd name="connsiteY24" fmla="*/ 3780164 h 5858728"/>
                <a:gd name="connsiteX25" fmla="*/ 2379413 w 8925180"/>
                <a:gd name="connsiteY25" fmla="*/ 4075583 h 5858728"/>
                <a:gd name="connsiteX26" fmla="*/ 2090738 w 8925180"/>
                <a:gd name="connsiteY26" fmla="*/ 3813339 h 5858728"/>
                <a:gd name="connsiteX27" fmla="*/ 2054269 w 8925180"/>
                <a:gd name="connsiteY27" fmla="*/ 3707627 h 5858728"/>
                <a:gd name="connsiteX28" fmla="*/ 1693111 w 8925180"/>
                <a:gd name="connsiteY28" fmla="*/ 4661938 h 5858728"/>
                <a:gd name="connsiteX29" fmla="*/ 2184860 w 8925180"/>
                <a:gd name="connsiteY29" fmla="*/ 5091104 h 5858728"/>
                <a:gd name="connsiteX30" fmla="*/ 2667148 w 8925180"/>
                <a:gd name="connsiteY30" fmla="*/ 4660009 h 5858728"/>
                <a:gd name="connsiteX31" fmla="*/ 2315925 w 8925180"/>
                <a:gd name="connsiteY31" fmla="*/ 3709127 h 5858728"/>
                <a:gd name="connsiteX32" fmla="*/ 2482054 w 8925180"/>
                <a:gd name="connsiteY32" fmla="*/ 3279357 h 5858728"/>
                <a:gd name="connsiteX33" fmla="*/ 1878642 w 8925180"/>
                <a:gd name="connsiteY33" fmla="*/ 3279929 h 5858728"/>
                <a:gd name="connsiteX34" fmla="*/ 1841602 w 8925180"/>
                <a:gd name="connsiteY34" fmla="*/ 3439228 h 5858728"/>
                <a:gd name="connsiteX35" fmla="*/ 2120130 w 8925180"/>
                <a:gd name="connsiteY35" fmla="*/ 3726569 h 5858728"/>
                <a:gd name="connsiteX36" fmla="*/ 2232643 w 8925180"/>
                <a:gd name="connsiteY36" fmla="*/ 3741824 h 5858728"/>
                <a:gd name="connsiteX37" fmla="*/ 2537319 w 8925180"/>
                <a:gd name="connsiteY37" fmla="*/ 3433968 h 5858728"/>
                <a:gd name="connsiteX38" fmla="*/ 2482054 w 8925180"/>
                <a:gd name="connsiteY38" fmla="*/ 3279357 h 5858728"/>
                <a:gd name="connsiteX39" fmla="*/ 3410751 w 8925180"/>
                <a:gd name="connsiteY39" fmla="*/ 3027962 h 5858728"/>
                <a:gd name="connsiteX40" fmla="*/ 3333772 w 8925180"/>
                <a:gd name="connsiteY40" fmla="*/ 2996318 h 5858728"/>
                <a:gd name="connsiteX41" fmla="*/ 2979092 w 8925180"/>
                <a:gd name="connsiteY41" fmla="*/ 2978709 h 5858728"/>
                <a:gd name="connsiteX42" fmla="*/ 2563372 w 8925180"/>
                <a:gd name="connsiteY42" fmla="*/ 3254338 h 5858728"/>
                <a:gd name="connsiteX43" fmla="*/ 2382821 w 8925180"/>
                <a:gd name="connsiteY43" fmla="*/ 3689332 h 5858728"/>
                <a:gd name="connsiteX44" fmla="*/ 2746939 w 8925180"/>
                <a:gd name="connsiteY44" fmla="*/ 4674898 h 5858728"/>
                <a:gd name="connsiteX45" fmla="*/ 2184702 w 8925180"/>
                <a:gd name="connsiteY45" fmla="*/ 5175921 h 5858728"/>
                <a:gd name="connsiteX46" fmla="*/ 1614576 w 8925180"/>
                <a:gd name="connsiteY46" fmla="*/ 4673723 h 5858728"/>
                <a:gd name="connsiteX47" fmla="*/ 1993653 w 8925180"/>
                <a:gd name="connsiteY47" fmla="*/ 3692376 h 5858728"/>
                <a:gd name="connsiteX48" fmla="*/ 1805436 w 8925180"/>
                <a:gd name="connsiteY48" fmla="*/ 3261869 h 5858728"/>
                <a:gd name="connsiteX49" fmla="*/ 1395380 w 8925180"/>
                <a:gd name="connsiteY49" fmla="*/ 2972526 h 5858728"/>
                <a:gd name="connsiteX50" fmla="*/ 1032434 w 8925180"/>
                <a:gd name="connsiteY50" fmla="*/ 2996354 h 5858728"/>
                <a:gd name="connsiteX51" fmla="*/ 673640 w 8925180"/>
                <a:gd name="connsiteY51" fmla="*/ 3478975 h 5858728"/>
                <a:gd name="connsiteX52" fmla="*/ 665233 w 8925180"/>
                <a:gd name="connsiteY52" fmla="*/ 5181466 h 5858728"/>
                <a:gd name="connsiteX53" fmla="*/ 1228210 w 8925180"/>
                <a:gd name="connsiteY53" fmla="*/ 5182572 h 5858728"/>
                <a:gd name="connsiteX54" fmla="*/ 1230379 w 8925180"/>
                <a:gd name="connsiteY54" fmla="*/ 3776157 h 5858728"/>
                <a:gd name="connsiteX55" fmla="*/ 1376348 w 8925180"/>
                <a:gd name="connsiteY55" fmla="*/ 3751556 h 5858728"/>
                <a:gd name="connsiteX56" fmla="*/ 1372900 w 8925180"/>
                <a:gd name="connsiteY56" fmla="*/ 5180612 h 5858728"/>
                <a:gd name="connsiteX57" fmla="*/ 2990350 w 8925180"/>
                <a:gd name="connsiteY57" fmla="*/ 5181867 h 5858728"/>
                <a:gd name="connsiteX58" fmla="*/ 2996744 w 8925180"/>
                <a:gd name="connsiteY58" fmla="*/ 3751912 h 5858728"/>
                <a:gd name="connsiteX59" fmla="*/ 3133436 w 8925180"/>
                <a:gd name="connsiteY59" fmla="*/ 3741510 h 5858728"/>
                <a:gd name="connsiteX60" fmla="*/ 3121821 w 8925180"/>
                <a:gd name="connsiteY60" fmla="*/ 5183179 h 5858728"/>
                <a:gd name="connsiteX61" fmla="*/ 3686232 w 8925180"/>
                <a:gd name="connsiteY61" fmla="*/ 5182347 h 5858728"/>
                <a:gd name="connsiteX62" fmla="*/ 3691473 w 8925180"/>
                <a:gd name="connsiteY62" fmla="*/ 3478402 h 5858728"/>
                <a:gd name="connsiteX63" fmla="*/ 3410751 w 8925180"/>
                <a:gd name="connsiteY63" fmla="*/ 3027962 h 5858728"/>
                <a:gd name="connsiteX64" fmla="*/ 3136776 w 8925180"/>
                <a:gd name="connsiteY64" fmla="*/ 1889907 h 5858728"/>
                <a:gd name="connsiteX65" fmla="*/ 2203072 w 8925180"/>
                <a:gd name="connsiteY65" fmla="*/ 1725263 h 5858728"/>
                <a:gd name="connsiteX66" fmla="*/ 2300379 w 8925180"/>
                <a:gd name="connsiteY66" fmla="*/ 1923326 h 5858728"/>
                <a:gd name="connsiteX67" fmla="*/ 1188791 w 8925180"/>
                <a:gd name="connsiteY67" fmla="*/ 2040152 h 5858728"/>
                <a:gd name="connsiteX68" fmla="*/ 2271604 w 8925180"/>
                <a:gd name="connsiteY68" fmla="*/ 3250645 h 5858728"/>
                <a:gd name="connsiteX69" fmla="*/ 3136776 w 8925180"/>
                <a:gd name="connsiteY69" fmla="*/ 1889907 h 5858728"/>
                <a:gd name="connsiteX70" fmla="*/ 2717485 w 8925180"/>
                <a:gd name="connsiteY70" fmla="*/ 1393444 h 5858728"/>
                <a:gd name="connsiteX71" fmla="*/ 1883384 w 8925180"/>
                <a:gd name="connsiteY71" fmla="*/ 1285665 h 5858728"/>
                <a:gd name="connsiteX72" fmla="*/ 1222141 w 8925180"/>
                <a:gd name="connsiteY72" fmla="*/ 1956867 h 5858728"/>
                <a:gd name="connsiteX73" fmla="*/ 2190065 w 8925180"/>
                <a:gd name="connsiteY73" fmla="*/ 1843866 h 5858728"/>
                <a:gd name="connsiteX74" fmla="*/ 2106198 w 8925180"/>
                <a:gd name="connsiteY74" fmla="*/ 1659192 h 5858728"/>
                <a:gd name="connsiteX75" fmla="*/ 3105346 w 8925180"/>
                <a:gd name="connsiteY75" fmla="*/ 1825795 h 5858728"/>
                <a:gd name="connsiteX76" fmla="*/ 2717485 w 8925180"/>
                <a:gd name="connsiteY76" fmla="*/ 1393444 h 5858728"/>
                <a:gd name="connsiteX77" fmla="*/ 8150482 w 8925180"/>
                <a:gd name="connsiteY77" fmla="*/ 4451277 h 5858728"/>
                <a:gd name="connsiteX78" fmla="*/ 8107801 w 8925180"/>
                <a:gd name="connsiteY78" fmla="*/ 4442632 h 5858728"/>
                <a:gd name="connsiteX79" fmla="*/ 4582685 w 8925180"/>
                <a:gd name="connsiteY79" fmla="*/ 4440312 h 5858728"/>
                <a:gd name="connsiteX80" fmla="*/ 4472947 w 8925180"/>
                <a:gd name="connsiteY80" fmla="*/ 4549907 h 5858728"/>
                <a:gd name="connsiteX81" fmla="*/ 4472887 w 8925180"/>
                <a:gd name="connsiteY81" fmla="*/ 4641332 h 5858728"/>
                <a:gd name="connsiteX82" fmla="*/ 4582481 w 8925180"/>
                <a:gd name="connsiteY82" fmla="*/ 4751069 h 5858728"/>
                <a:gd name="connsiteX83" fmla="*/ 8107596 w 8925180"/>
                <a:gd name="connsiteY83" fmla="*/ 4753388 h 5858728"/>
                <a:gd name="connsiteX84" fmla="*/ 8217334 w 8925180"/>
                <a:gd name="connsiteY84" fmla="*/ 4643794 h 5858728"/>
                <a:gd name="connsiteX85" fmla="*/ 8217394 w 8925180"/>
                <a:gd name="connsiteY85" fmla="*/ 4552369 h 5858728"/>
                <a:gd name="connsiteX86" fmla="*/ 8150482 w 8925180"/>
                <a:gd name="connsiteY86" fmla="*/ 4451277 h 5858728"/>
                <a:gd name="connsiteX87" fmla="*/ 8148049 w 8925180"/>
                <a:gd name="connsiteY87" fmla="*/ 3694350 h 5858728"/>
                <a:gd name="connsiteX88" fmla="*/ 8105367 w 8925180"/>
                <a:gd name="connsiteY88" fmla="*/ 3685704 h 5858728"/>
                <a:gd name="connsiteX89" fmla="*/ 4580253 w 8925180"/>
                <a:gd name="connsiteY89" fmla="*/ 3683387 h 5858728"/>
                <a:gd name="connsiteX90" fmla="*/ 4470515 w 8925180"/>
                <a:gd name="connsiteY90" fmla="*/ 3792981 h 5858728"/>
                <a:gd name="connsiteX91" fmla="*/ 4470455 w 8925180"/>
                <a:gd name="connsiteY91" fmla="*/ 3884406 h 5858728"/>
                <a:gd name="connsiteX92" fmla="*/ 4580048 w 8925180"/>
                <a:gd name="connsiteY92" fmla="*/ 3994144 h 5858728"/>
                <a:gd name="connsiteX93" fmla="*/ 8105163 w 8925180"/>
                <a:gd name="connsiteY93" fmla="*/ 3996461 h 5858728"/>
                <a:gd name="connsiteX94" fmla="*/ 8214901 w 8925180"/>
                <a:gd name="connsiteY94" fmla="*/ 3886867 h 5858728"/>
                <a:gd name="connsiteX95" fmla="*/ 8214961 w 8925180"/>
                <a:gd name="connsiteY95" fmla="*/ 3795443 h 5858728"/>
                <a:gd name="connsiteX96" fmla="*/ 8148049 w 8925180"/>
                <a:gd name="connsiteY96" fmla="*/ 3694350 h 5858728"/>
                <a:gd name="connsiteX97" fmla="*/ 8152570 w 8925180"/>
                <a:gd name="connsiteY97" fmla="*/ 2963452 h 5858728"/>
                <a:gd name="connsiteX98" fmla="*/ 8109889 w 8925180"/>
                <a:gd name="connsiteY98" fmla="*/ 2954806 h 5858728"/>
                <a:gd name="connsiteX99" fmla="*/ 4584774 w 8925180"/>
                <a:gd name="connsiteY99" fmla="*/ 2952488 h 5858728"/>
                <a:gd name="connsiteX100" fmla="*/ 4475036 w 8925180"/>
                <a:gd name="connsiteY100" fmla="*/ 3062082 h 5858728"/>
                <a:gd name="connsiteX101" fmla="*/ 4474976 w 8925180"/>
                <a:gd name="connsiteY101" fmla="*/ 3153507 h 5858728"/>
                <a:gd name="connsiteX102" fmla="*/ 4584570 w 8925180"/>
                <a:gd name="connsiteY102" fmla="*/ 3263245 h 5858728"/>
                <a:gd name="connsiteX103" fmla="*/ 8109684 w 8925180"/>
                <a:gd name="connsiteY103" fmla="*/ 3265563 h 5858728"/>
                <a:gd name="connsiteX104" fmla="*/ 8219422 w 8925180"/>
                <a:gd name="connsiteY104" fmla="*/ 3155969 h 5858728"/>
                <a:gd name="connsiteX105" fmla="*/ 8219483 w 8925180"/>
                <a:gd name="connsiteY105" fmla="*/ 3064544 h 5858728"/>
                <a:gd name="connsiteX106" fmla="*/ 8152570 w 8925180"/>
                <a:gd name="connsiteY106" fmla="*/ 2963452 h 5858728"/>
                <a:gd name="connsiteX107" fmla="*/ 8145669 w 8925180"/>
                <a:gd name="connsiteY107" fmla="*/ 2233284 h 5858728"/>
                <a:gd name="connsiteX108" fmla="*/ 8102988 w 8925180"/>
                <a:gd name="connsiteY108" fmla="*/ 2224637 h 5858728"/>
                <a:gd name="connsiteX109" fmla="*/ 4577874 w 8925180"/>
                <a:gd name="connsiteY109" fmla="*/ 2222320 h 5858728"/>
                <a:gd name="connsiteX110" fmla="*/ 4468135 w 8925180"/>
                <a:gd name="connsiteY110" fmla="*/ 2331915 h 5858728"/>
                <a:gd name="connsiteX111" fmla="*/ 4468075 w 8925180"/>
                <a:gd name="connsiteY111" fmla="*/ 2423339 h 5858728"/>
                <a:gd name="connsiteX112" fmla="*/ 4577669 w 8925180"/>
                <a:gd name="connsiteY112" fmla="*/ 2533077 h 5858728"/>
                <a:gd name="connsiteX113" fmla="*/ 8102784 w 8925180"/>
                <a:gd name="connsiteY113" fmla="*/ 2535394 h 5858728"/>
                <a:gd name="connsiteX114" fmla="*/ 8212522 w 8925180"/>
                <a:gd name="connsiteY114" fmla="*/ 2425800 h 5858728"/>
                <a:gd name="connsiteX115" fmla="*/ 8212582 w 8925180"/>
                <a:gd name="connsiteY115" fmla="*/ 2334375 h 5858728"/>
                <a:gd name="connsiteX116" fmla="*/ 8145669 w 8925180"/>
                <a:gd name="connsiteY116" fmla="*/ 2233284 h 5858728"/>
                <a:gd name="connsiteX117" fmla="*/ 8449565 w 8925180"/>
                <a:gd name="connsiteY117" fmla="*/ 109688 h 5858728"/>
                <a:gd name="connsiteX118" fmla="*/ 8925180 w 8925180"/>
                <a:gd name="connsiteY118" fmla="*/ 908806 h 5858728"/>
                <a:gd name="connsiteX119" fmla="*/ 8925180 w 8925180"/>
                <a:gd name="connsiteY119" fmla="*/ 4949923 h 5858728"/>
                <a:gd name="connsiteX120" fmla="*/ 8016374 w 8925180"/>
                <a:gd name="connsiteY120" fmla="*/ 5858728 h 5858728"/>
                <a:gd name="connsiteX121" fmla="*/ 908806 w 8925180"/>
                <a:gd name="connsiteY121" fmla="*/ 5858728 h 5858728"/>
                <a:gd name="connsiteX122" fmla="*/ 0 w 8925180"/>
                <a:gd name="connsiteY122" fmla="*/ 4949922 h 5858728"/>
                <a:gd name="connsiteX123" fmla="*/ 0 w 8925180"/>
                <a:gd name="connsiteY123" fmla="*/ 908806 h 5858728"/>
                <a:gd name="connsiteX124" fmla="*/ 908806 w 8925180"/>
                <a:gd name="connsiteY124" fmla="*/ 0 h 5858728"/>
                <a:gd name="connsiteX125" fmla="*/ 2008600 w 8925180"/>
                <a:gd name="connsiteY125" fmla="*/ 0 h 5858728"/>
                <a:gd name="connsiteX126" fmla="*/ 2008600 w 8925180"/>
                <a:gd name="connsiteY126" fmla="*/ 498540 h 5858728"/>
                <a:gd name="connsiteX127" fmla="*/ 2620520 w 8925180"/>
                <a:gd name="connsiteY127" fmla="*/ 1110460 h 5858728"/>
                <a:gd name="connsiteX128" fmla="*/ 6296783 w 8925180"/>
                <a:gd name="connsiteY128" fmla="*/ 1085186 h 5858728"/>
                <a:gd name="connsiteX129" fmla="*/ 6908909 w 8925180"/>
                <a:gd name="connsiteY129" fmla="*/ 498540 h 5858728"/>
                <a:gd name="connsiteX130" fmla="*/ 6908909 w 8925180"/>
                <a:gd name="connsiteY130" fmla="*/ 0 h 5858728"/>
                <a:gd name="connsiteX131" fmla="*/ 8016374 w 8925180"/>
                <a:gd name="connsiteY131" fmla="*/ 0 h 5858728"/>
                <a:gd name="connsiteX132" fmla="*/ 8449565 w 8925180"/>
                <a:gd name="connsiteY132" fmla="*/ 109688 h 5858728"/>
                <a:gd name="connsiteX0" fmla="*/ 1850256 w 8925180"/>
                <a:gd name="connsiteY0" fmla="*/ 4432622 h 5858728"/>
                <a:gd name="connsiteX1" fmla="*/ 2354591 w 8925180"/>
                <a:gd name="connsiteY1" fmla="*/ 4887349 h 5858728"/>
                <a:gd name="connsiteX2" fmla="*/ 2235184 w 8925180"/>
                <a:gd name="connsiteY2" fmla="*/ 4987528 h 5858728"/>
                <a:gd name="connsiteX3" fmla="*/ 1798749 w 8925180"/>
                <a:gd name="connsiteY3" fmla="*/ 4589127 h 5858728"/>
                <a:gd name="connsiteX4" fmla="*/ 1850256 w 8925180"/>
                <a:gd name="connsiteY4" fmla="*/ 4432622 h 5858728"/>
                <a:gd name="connsiteX5" fmla="*/ 1947683 w 8925180"/>
                <a:gd name="connsiteY5" fmla="*/ 4178550 h 5858728"/>
                <a:gd name="connsiteX6" fmla="*/ 2549059 w 8925180"/>
                <a:gd name="connsiteY6" fmla="*/ 4709227 h 5858728"/>
                <a:gd name="connsiteX7" fmla="*/ 2435596 w 8925180"/>
                <a:gd name="connsiteY7" fmla="*/ 4809499 h 5858728"/>
                <a:gd name="connsiteX8" fmla="*/ 1897573 w 8925180"/>
                <a:gd name="connsiteY8" fmla="*/ 4327451 h 5858728"/>
                <a:gd name="connsiteX9" fmla="*/ 1947683 w 8925180"/>
                <a:gd name="connsiteY9" fmla="*/ 4178550 h 5858728"/>
                <a:gd name="connsiteX10" fmla="*/ 2046233 w 8925180"/>
                <a:gd name="connsiteY10" fmla="*/ 3925127 h 5858728"/>
                <a:gd name="connsiteX11" fmla="*/ 2457953 w 8925180"/>
                <a:gd name="connsiteY11" fmla="*/ 4293656 h 5858728"/>
                <a:gd name="connsiteX12" fmla="*/ 2568281 w 8925180"/>
                <a:gd name="connsiteY12" fmla="*/ 4587809 h 5858728"/>
                <a:gd name="connsiteX13" fmla="*/ 1989205 w 8925180"/>
                <a:gd name="connsiteY13" fmla="*/ 4073026 h 5858728"/>
                <a:gd name="connsiteX14" fmla="*/ 2046233 w 8925180"/>
                <a:gd name="connsiteY14" fmla="*/ 3925127 h 5858728"/>
                <a:gd name="connsiteX15" fmla="*/ 2259917 w 8925180"/>
                <a:gd name="connsiteY15" fmla="*/ 3773334 h 5858728"/>
                <a:gd name="connsiteX16" fmla="*/ 2260420 w 8925180"/>
                <a:gd name="connsiteY16" fmla="*/ 3773641 h 5858728"/>
                <a:gd name="connsiteX17" fmla="*/ 2259745 w 8925180"/>
                <a:gd name="connsiteY17" fmla="*/ 3773354 h 5858728"/>
                <a:gd name="connsiteX18" fmla="*/ 2259917 w 8925180"/>
                <a:gd name="connsiteY18" fmla="*/ 3773334 h 5858728"/>
                <a:gd name="connsiteX19" fmla="*/ 2315925 w 8925180"/>
                <a:gd name="connsiteY19" fmla="*/ 3709127 h 5858728"/>
                <a:gd name="connsiteX20" fmla="*/ 2248405 w 8925180"/>
                <a:gd name="connsiteY20" fmla="*/ 3768327 h 5858728"/>
                <a:gd name="connsiteX21" fmla="*/ 2256714 w 8925180"/>
                <a:gd name="connsiteY21" fmla="*/ 3772067 h 5858728"/>
                <a:gd name="connsiteX22" fmla="*/ 2259745 w 8925180"/>
                <a:gd name="connsiteY22" fmla="*/ 3773354 h 5858728"/>
                <a:gd name="connsiteX23" fmla="*/ 2258685 w 8925180"/>
                <a:gd name="connsiteY23" fmla="*/ 3773482 h 5858728"/>
                <a:gd name="connsiteX24" fmla="*/ 2268513 w 8925180"/>
                <a:gd name="connsiteY24" fmla="*/ 3780164 h 5858728"/>
                <a:gd name="connsiteX25" fmla="*/ 2379413 w 8925180"/>
                <a:gd name="connsiteY25" fmla="*/ 4075583 h 5858728"/>
                <a:gd name="connsiteX26" fmla="*/ 2090738 w 8925180"/>
                <a:gd name="connsiteY26" fmla="*/ 3813339 h 5858728"/>
                <a:gd name="connsiteX27" fmla="*/ 2054269 w 8925180"/>
                <a:gd name="connsiteY27" fmla="*/ 3707627 h 5858728"/>
                <a:gd name="connsiteX28" fmla="*/ 1693111 w 8925180"/>
                <a:gd name="connsiteY28" fmla="*/ 4661938 h 5858728"/>
                <a:gd name="connsiteX29" fmla="*/ 2184860 w 8925180"/>
                <a:gd name="connsiteY29" fmla="*/ 5091104 h 5858728"/>
                <a:gd name="connsiteX30" fmla="*/ 2667148 w 8925180"/>
                <a:gd name="connsiteY30" fmla="*/ 4660009 h 5858728"/>
                <a:gd name="connsiteX31" fmla="*/ 2315925 w 8925180"/>
                <a:gd name="connsiteY31" fmla="*/ 3709127 h 5858728"/>
                <a:gd name="connsiteX32" fmla="*/ 2482054 w 8925180"/>
                <a:gd name="connsiteY32" fmla="*/ 3279357 h 5858728"/>
                <a:gd name="connsiteX33" fmla="*/ 1878642 w 8925180"/>
                <a:gd name="connsiteY33" fmla="*/ 3279929 h 5858728"/>
                <a:gd name="connsiteX34" fmla="*/ 1841602 w 8925180"/>
                <a:gd name="connsiteY34" fmla="*/ 3439228 h 5858728"/>
                <a:gd name="connsiteX35" fmla="*/ 2120130 w 8925180"/>
                <a:gd name="connsiteY35" fmla="*/ 3726569 h 5858728"/>
                <a:gd name="connsiteX36" fmla="*/ 2232643 w 8925180"/>
                <a:gd name="connsiteY36" fmla="*/ 3741824 h 5858728"/>
                <a:gd name="connsiteX37" fmla="*/ 2537319 w 8925180"/>
                <a:gd name="connsiteY37" fmla="*/ 3433968 h 5858728"/>
                <a:gd name="connsiteX38" fmla="*/ 2482054 w 8925180"/>
                <a:gd name="connsiteY38" fmla="*/ 3279357 h 5858728"/>
                <a:gd name="connsiteX39" fmla="*/ 3410751 w 8925180"/>
                <a:gd name="connsiteY39" fmla="*/ 3027962 h 5858728"/>
                <a:gd name="connsiteX40" fmla="*/ 3333772 w 8925180"/>
                <a:gd name="connsiteY40" fmla="*/ 2996318 h 5858728"/>
                <a:gd name="connsiteX41" fmla="*/ 2979092 w 8925180"/>
                <a:gd name="connsiteY41" fmla="*/ 2978709 h 5858728"/>
                <a:gd name="connsiteX42" fmla="*/ 2563372 w 8925180"/>
                <a:gd name="connsiteY42" fmla="*/ 3254338 h 5858728"/>
                <a:gd name="connsiteX43" fmla="*/ 2382821 w 8925180"/>
                <a:gd name="connsiteY43" fmla="*/ 3689332 h 5858728"/>
                <a:gd name="connsiteX44" fmla="*/ 2746939 w 8925180"/>
                <a:gd name="connsiteY44" fmla="*/ 4674898 h 5858728"/>
                <a:gd name="connsiteX45" fmla="*/ 2184702 w 8925180"/>
                <a:gd name="connsiteY45" fmla="*/ 5175921 h 5858728"/>
                <a:gd name="connsiteX46" fmla="*/ 1614576 w 8925180"/>
                <a:gd name="connsiteY46" fmla="*/ 4673723 h 5858728"/>
                <a:gd name="connsiteX47" fmla="*/ 1993653 w 8925180"/>
                <a:gd name="connsiteY47" fmla="*/ 3692376 h 5858728"/>
                <a:gd name="connsiteX48" fmla="*/ 1805436 w 8925180"/>
                <a:gd name="connsiteY48" fmla="*/ 3261869 h 5858728"/>
                <a:gd name="connsiteX49" fmla="*/ 1395380 w 8925180"/>
                <a:gd name="connsiteY49" fmla="*/ 2972526 h 5858728"/>
                <a:gd name="connsiteX50" fmla="*/ 1032434 w 8925180"/>
                <a:gd name="connsiteY50" fmla="*/ 2996354 h 5858728"/>
                <a:gd name="connsiteX51" fmla="*/ 673640 w 8925180"/>
                <a:gd name="connsiteY51" fmla="*/ 3478975 h 5858728"/>
                <a:gd name="connsiteX52" fmla="*/ 665233 w 8925180"/>
                <a:gd name="connsiteY52" fmla="*/ 5181466 h 5858728"/>
                <a:gd name="connsiteX53" fmla="*/ 1228210 w 8925180"/>
                <a:gd name="connsiteY53" fmla="*/ 5182572 h 5858728"/>
                <a:gd name="connsiteX54" fmla="*/ 1230379 w 8925180"/>
                <a:gd name="connsiteY54" fmla="*/ 3776157 h 5858728"/>
                <a:gd name="connsiteX55" fmla="*/ 1376348 w 8925180"/>
                <a:gd name="connsiteY55" fmla="*/ 3751556 h 5858728"/>
                <a:gd name="connsiteX56" fmla="*/ 1372900 w 8925180"/>
                <a:gd name="connsiteY56" fmla="*/ 5180612 h 5858728"/>
                <a:gd name="connsiteX57" fmla="*/ 2990350 w 8925180"/>
                <a:gd name="connsiteY57" fmla="*/ 5181867 h 5858728"/>
                <a:gd name="connsiteX58" fmla="*/ 2996744 w 8925180"/>
                <a:gd name="connsiteY58" fmla="*/ 3751912 h 5858728"/>
                <a:gd name="connsiteX59" fmla="*/ 3133436 w 8925180"/>
                <a:gd name="connsiteY59" fmla="*/ 3741510 h 5858728"/>
                <a:gd name="connsiteX60" fmla="*/ 3121821 w 8925180"/>
                <a:gd name="connsiteY60" fmla="*/ 5183179 h 5858728"/>
                <a:gd name="connsiteX61" fmla="*/ 3686232 w 8925180"/>
                <a:gd name="connsiteY61" fmla="*/ 5182347 h 5858728"/>
                <a:gd name="connsiteX62" fmla="*/ 3691473 w 8925180"/>
                <a:gd name="connsiteY62" fmla="*/ 3478402 h 5858728"/>
                <a:gd name="connsiteX63" fmla="*/ 3410751 w 8925180"/>
                <a:gd name="connsiteY63" fmla="*/ 3027962 h 5858728"/>
                <a:gd name="connsiteX64" fmla="*/ 3136776 w 8925180"/>
                <a:gd name="connsiteY64" fmla="*/ 1889907 h 5858728"/>
                <a:gd name="connsiteX65" fmla="*/ 2203072 w 8925180"/>
                <a:gd name="connsiteY65" fmla="*/ 1725263 h 5858728"/>
                <a:gd name="connsiteX66" fmla="*/ 2300379 w 8925180"/>
                <a:gd name="connsiteY66" fmla="*/ 1923326 h 5858728"/>
                <a:gd name="connsiteX67" fmla="*/ 1188791 w 8925180"/>
                <a:gd name="connsiteY67" fmla="*/ 2040152 h 5858728"/>
                <a:gd name="connsiteX68" fmla="*/ 2271604 w 8925180"/>
                <a:gd name="connsiteY68" fmla="*/ 3250645 h 5858728"/>
                <a:gd name="connsiteX69" fmla="*/ 3136776 w 8925180"/>
                <a:gd name="connsiteY69" fmla="*/ 1889907 h 5858728"/>
                <a:gd name="connsiteX70" fmla="*/ 2717485 w 8925180"/>
                <a:gd name="connsiteY70" fmla="*/ 1393444 h 5858728"/>
                <a:gd name="connsiteX71" fmla="*/ 1883384 w 8925180"/>
                <a:gd name="connsiteY71" fmla="*/ 1285665 h 5858728"/>
                <a:gd name="connsiteX72" fmla="*/ 1222141 w 8925180"/>
                <a:gd name="connsiteY72" fmla="*/ 1956867 h 5858728"/>
                <a:gd name="connsiteX73" fmla="*/ 2190065 w 8925180"/>
                <a:gd name="connsiteY73" fmla="*/ 1843866 h 5858728"/>
                <a:gd name="connsiteX74" fmla="*/ 2106198 w 8925180"/>
                <a:gd name="connsiteY74" fmla="*/ 1659192 h 5858728"/>
                <a:gd name="connsiteX75" fmla="*/ 3105346 w 8925180"/>
                <a:gd name="connsiteY75" fmla="*/ 1825795 h 5858728"/>
                <a:gd name="connsiteX76" fmla="*/ 2717485 w 8925180"/>
                <a:gd name="connsiteY76" fmla="*/ 1393444 h 5858728"/>
                <a:gd name="connsiteX77" fmla="*/ 8150482 w 8925180"/>
                <a:gd name="connsiteY77" fmla="*/ 4451277 h 5858728"/>
                <a:gd name="connsiteX78" fmla="*/ 8107801 w 8925180"/>
                <a:gd name="connsiteY78" fmla="*/ 4442632 h 5858728"/>
                <a:gd name="connsiteX79" fmla="*/ 4582685 w 8925180"/>
                <a:gd name="connsiteY79" fmla="*/ 4440312 h 5858728"/>
                <a:gd name="connsiteX80" fmla="*/ 4472947 w 8925180"/>
                <a:gd name="connsiteY80" fmla="*/ 4549907 h 5858728"/>
                <a:gd name="connsiteX81" fmla="*/ 4472887 w 8925180"/>
                <a:gd name="connsiteY81" fmla="*/ 4641332 h 5858728"/>
                <a:gd name="connsiteX82" fmla="*/ 4582481 w 8925180"/>
                <a:gd name="connsiteY82" fmla="*/ 4751069 h 5858728"/>
                <a:gd name="connsiteX83" fmla="*/ 8107596 w 8925180"/>
                <a:gd name="connsiteY83" fmla="*/ 4753388 h 5858728"/>
                <a:gd name="connsiteX84" fmla="*/ 8217334 w 8925180"/>
                <a:gd name="connsiteY84" fmla="*/ 4643794 h 5858728"/>
                <a:gd name="connsiteX85" fmla="*/ 8217394 w 8925180"/>
                <a:gd name="connsiteY85" fmla="*/ 4552369 h 5858728"/>
                <a:gd name="connsiteX86" fmla="*/ 8150482 w 8925180"/>
                <a:gd name="connsiteY86" fmla="*/ 4451277 h 5858728"/>
                <a:gd name="connsiteX87" fmla="*/ 8148049 w 8925180"/>
                <a:gd name="connsiteY87" fmla="*/ 3694350 h 5858728"/>
                <a:gd name="connsiteX88" fmla="*/ 8105367 w 8925180"/>
                <a:gd name="connsiteY88" fmla="*/ 3685704 h 5858728"/>
                <a:gd name="connsiteX89" fmla="*/ 4580253 w 8925180"/>
                <a:gd name="connsiteY89" fmla="*/ 3683387 h 5858728"/>
                <a:gd name="connsiteX90" fmla="*/ 4470515 w 8925180"/>
                <a:gd name="connsiteY90" fmla="*/ 3792981 h 5858728"/>
                <a:gd name="connsiteX91" fmla="*/ 4470455 w 8925180"/>
                <a:gd name="connsiteY91" fmla="*/ 3884406 h 5858728"/>
                <a:gd name="connsiteX92" fmla="*/ 4580048 w 8925180"/>
                <a:gd name="connsiteY92" fmla="*/ 3994144 h 5858728"/>
                <a:gd name="connsiteX93" fmla="*/ 8105163 w 8925180"/>
                <a:gd name="connsiteY93" fmla="*/ 3996461 h 5858728"/>
                <a:gd name="connsiteX94" fmla="*/ 8214901 w 8925180"/>
                <a:gd name="connsiteY94" fmla="*/ 3886867 h 5858728"/>
                <a:gd name="connsiteX95" fmla="*/ 8214961 w 8925180"/>
                <a:gd name="connsiteY95" fmla="*/ 3795443 h 5858728"/>
                <a:gd name="connsiteX96" fmla="*/ 8148049 w 8925180"/>
                <a:gd name="connsiteY96" fmla="*/ 3694350 h 5858728"/>
                <a:gd name="connsiteX97" fmla="*/ 8152570 w 8925180"/>
                <a:gd name="connsiteY97" fmla="*/ 2963452 h 5858728"/>
                <a:gd name="connsiteX98" fmla="*/ 8109889 w 8925180"/>
                <a:gd name="connsiteY98" fmla="*/ 2954806 h 5858728"/>
                <a:gd name="connsiteX99" fmla="*/ 4584774 w 8925180"/>
                <a:gd name="connsiteY99" fmla="*/ 2952488 h 5858728"/>
                <a:gd name="connsiteX100" fmla="*/ 4475036 w 8925180"/>
                <a:gd name="connsiteY100" fmla="*/ 3062082 h 5858728"/>
                <a:gd name="connsiteX101" fmla="*/ 4474976 w 8925180"/>
                <a:gd name="connsiteY101" fmla="*/ 3153507 h 5858728"/>
                <a:gd name="connsiteX102" fmla="*/ 4584570 w 8925180"/>
                <a:gd name="connsiteY102" fmla="*/ 3263245 h 5858728"/>
                <a:gd name="connsiteX103" fmla="*/ 8109684 w 8925180"/>
                <a:gd name="connsiteY103" fmla="*/ 3265563 h 5858728"/>
                <a:gd name="connsiteX104" fmla="*/ 8219422 w 8925180"/>
                <a:gd name="connsiteY104" fmla="*/ 3155969 h 5858728"/>
                <a:gd name="connsiteX105" fmla="*/ 8219483 w 8925180"/>
                <a:gd name="connsiteY105" fmla="*/ 3064544 h 5858728"/>
                <a:gd name="connsiteX106" fmla="*/ 8152570 w 8925180"/>
                <a:gd name="connsiteY106" fmla="*/ 2963452 h 5858728"/>
                <a:gd name="connsiteX107" fmla="*/ 8145669 w 8925180"/>
                <a:gd name="connsiteY107" fmla="*/ 2233284 h 5858728"/>
                <a:gd name="connsiteX108" fmla="*/ 8102988 w 8925180"/>
                <a:gd name="connsiteY108" fmla="*/ 2224637 h 5858728"/>
                <a:gd name="connsiteX109" fmla="*/ 4577874 w 8925180"/>
                <a:gd name="connsiteY109" fmla="*/ 2222320 h 5858728"/>
                <a:gd name="connsiteX110" fmla="*/ 4468135 w 8925180"/>
                <a:gd name="connsiteY110" fmla="*/ 2331915 h 5858728"/>
                <a:gd name="connsiteX111" fmla="*/ 4468075 w 8925180"/>
                <a:gd name="connsiteY111" fmla="*/ 2423339 h 5858728"/>
                <a:gd name="connsiteX112" fmla="*/ 4577669 w 8925180"/>
                <a:gd name="connsiteY112" fmla="*/ 2533077 h 5858728"/>
                <a:gd name="connsiteX113" fmla="*/ 8102784 w 8925180"/>
                <a:gd name="connsiteY113" fmla="*/ 2535394 h 5858728"/>
                <a:gd name="connsiteX114" fmla="*/ 8212522 w 8925180"/>
                <a:gd name="connsiteY114" fmla="*/ 2425800 h 5858728"/>
                <a:gd name="connsiteX115" fmla="*/ 8212582 w 8925180"/>
                <a:gd name="connsiteY115" fmla="*/ 2334375 h 5858728"/>
                <a:gd name="connsiteX116" fmla="*/ 8145669 w 8925180"/>
                <a:gd name="connsiteY116" fmla="*/ 2233284 h 5858728"/>
                <a:gd name="connsiteX117" fmla="*/ 8449565 w 8925180"/>
                <a:gd name="connsiteY117" fmla="*/ 109688 h 5858728"/>
                <a:gd name="connsiteX118" fmla="*/ 8925180 w 8925180"/>
                <a:gd name="connsiteY118" fmla="*/ 908806 h 5858728"/>
                <a:gd name="connsiteX119" fmla="*/ 8925180 w 8925180"/>
                <a:gd name="connsiteY119" fmla="*/ 4949923 h 5858728"/>
                <a:gd name="connsiteX120" fmla="*/ 8016374 w 8925180"/>
                <a:gd name="connsiteY120" fmla="*/ 5858728 h 5858728"/>
                <a:gd name="connsiteX121" fmla="*/ 908806 w 8925180"/>
                <a:gd name="connsiteY121" fmla="*/ 5858728 h 5858728"/>
                <a:gd name="connsiteX122" fmla="*/ 25278 w 8925180"/>
                <a:gd name="connsiteY122" fmla="*/ 4949707 h 5858728"/>
                <a:gd name="connsiteX123" fmla="*/ 0 w 8925180"/>
                <a:gd name="connsiteY123" fmla="*/ 908806 h 5858728"/>
                <a:gd name="connsiteX124" fmla="*/ 908806 w 8925180"/>
                <a:gd name="connsiteY124" fmla="*/ 0 h 5858728"/>
                <a:gd name="connsiteX125" fmla="*/ 2008600 w 8925180"/>
                <a:gd name="connsiteY125" fmla="*/ 0 h 5858728"/>
                <a:gd name="connsiteX126" fmla="*/ 2008600 w 8925180"/>
                <a:gd name="connsiteY126" fmla="*/ 498540 h 5858728"/>
                <a:gd name="connsiteX127" fmla="*/ 2620520 w 8925180"/>
                <a:gd name="connsiteY127" fmla="*/ 1110460 h 5858728"/>
                <a:gd name="connsiteX128" fmla="*/ 6296783 w 8925180"/>
                <a:gd name="connsiteY128" fmla="*/ 1085186 h 5858728"/>
                <a:gd name="connsiteX129" fmla="*/ 6908909 w 8925180"/>
                <a:gd name="connsiteY129" fmla="*/ 498540 h 5858728"/>
                <a:gd name="connsiteX130" fmla="*/ 6908909 w 8925180"/>
                <a:gd name="connsiteY130" fmla="*/ 0 h 5858728"/>
                <a:gd name="connsiteX131" fmla="*/ 8016374 w 8925180"/>
                <a:gd name="connsiteY131" fmla="*/ 0 h 5858728"/>
                <a:gd name="connsiteX132" fmla="*/ 8449565 w 8925180"/>
                <a:gd name="connsiteY132" fmla="*/ 109688 h 5858728"/>
                <a:gd name="connsiteX0" fmla="*/ 1850256 w 8925180"/>
                <a:gd name="connsiteY0" fmla="*/ 4432622 h 5858728"/>
                <a:gd name="connsiteX1" fmla="*/ 2354591 w 8925180"/>
                <a:gd name="connsiteY1" fmla="*/ 4887349 h 5858728"/>
                <a:gd name="connsiteX2" fmla="*/ 2235184 w 8925180"/>
                <a:gd name="connsiteY2" fmla="*/ 4987528 h 5858728"/>
                <a:gd name="connsiteX3" fmla="*/ 1798749 w 8925180"/>
                <a:gd name="connsiteY3" fmla="*/ 4589127 h 5858728"/>
                <a:gd name="connsiteX4" fmla="*/ 1850256 w 8925180"/>
                <a:gd name="connsiteY4" fmla="*/ 4432622 h 5858728"/>
                <a:gd name="connsiteX5" fmla="*/ 1947683 w 8925180"/>
                <a:gd name="connsiteY5" fmla="*/ 4178550 h 5858728"/>
                <a:gd name="connsiteX6" fmla="*/ 2549059 w 8925180"/>
                <a:gd name="connsiteY6" fmla="*/ 4709227 h 5858728"/>
                <a:gd name="connsiteX7" fmla="*/ 2435596 w 8925180"/>
                <a:gd name="connsiteY7" fmla="*/ 4809499 h 5858728"/>
                <a:gd name="connsiteX8" fmla="*/ 1897573 w 8925180"/>
                <a:gd name="connsiteY8" fmla="*/ 4327451 h 5858728"/>
                <a:gd name="connsiteX9" fmla="*/ 1947683 w 8925180"/>
                <a:gd name="connsiteY9" fmla="*/ 4178550 h 5858728"/>
                <a:gd name="connsiteX10" fmla="*/ 2046233 w 8925180"/>
                <a:gd name="connsiteY10" fmla="*/ 3925127 h 5858728"/>
                <a:gd name="connsiteX11" fmla="*/ 2457953 w 8925180"/>
                <a:gd name="connsiteY11" fmla="*/ 4293656 h 5858728"/>
                <a:gd name="connsiteX12" fmla="*/ 2568281 w 8925180"/>
                <a:gd name="connsiteY12" fmla="*/ 4587809 h 5858728"/>
                <a:gd name="connsiteX13" fmla="*/ 1989205 w 8925180"/>
                <a:gd name="connsiteY13" fmla="*/ 4073026 h 5858728"/>
                <a:gd name="connsiteX14" fmla="*/ 2046233 w 8925180"/>
                <a:gd name="connsiteY14" fmla="*/ 3925127 h 5858728"/>
                <a:gd name="connsiteX15" fmla="*/ 2259917 w 8925180"/>
                <a:gd name="connsiteY15" fmla="*/ 3773334 h 5858728"/>
                <a:gd name="connsiteX16" fmla="*/ 2260420 w 8925180"/>
                <a:gd name="connsiteY16" fmla="*/ 3773641 h 5858728"/>
                <a:gd name="connsiteX17" fmla="*/ 2259745 w 8925180"/>
                <a:gd name="connsiteY17" fmla="*/ 3773354 h 5858728"/>
                <a:gd name="connsiteX18" fmla="*/ 2259917 w 8925180"/>
                <a:gd name="connsiteY18" fmla="*/ 3773334 h 5858728"/>
                <a:gd name="connsiteX19" fmla="*/ 2315925 w 8925180"/>
                <a:gd name="connsiteY19" fmla="*/ 3709127 h 5858728"/>
                <a:gd name="connsiteX20" fmla="*/ 2248405 w 8925180"/>
                <a:gd name="connsiteY20" fmla="*/ 3768327 h 5858728"/>
                <a:gd name="connsiteX21" fmla="*/ 2256714 w 8925180"/>
                <a:gd name="connsiteY21" fmla="*/ 3772067 h 5858728"/>
                <a:gd name="connsiteX22" fmla="*/ 2259745 w 8925180"/>
                <a:gd name="connsiteY22" fmla="*/ 3773354 h 5858728"/>
                <a:gd name="connsiteX23" fmla="*/ 2258685 w 8925180"/>
                <a:gd name="connsiteY23" fmla="*/ 3773482 h 5858728"/>
                <a:gd name="connsiteX24" fmla="*/ 2268513 w 8925180"/>
                <a:gd name="connsiteY24" fmla="*/ 3780164 h 5858728"/>
                <a:gd name="connsiteX25" fmla="*/ 2379413 w 8925180"/>
                <a:gd name="connsiteY25" fmla="*/ 4075583 h 5858728"/>
                <a:gd name="connsiteX26" fmla="*/ 2090738 w 8925180"/>
                <a:gd name="connsiteY26" fmla="*/ 3813339 h 5858728"/>
                <a:gd name="connsiteX27" fmla="*/ 2054269 w 8925180"/>
                <a:gd name="connsiteY27" fmla="*/ 3707627 h 5858728"/>
                <a:gd name="connsiteX28" fmla="*/ 1693111 w 8925180"/>
                <a:gd name="connsiteY28" fmla="*/ 4661938 h 5858728"/>
                <a:gd name="connsiteX29" fmla="*/ 2184860 w 8925180"/>
                <a:gd name="connsiteY29" fmla="*/ 5091104 h 5858728"/>
                <a:gd name="connsiteX30" fmla="*/ 2667148 w 8925180"/>
                <a:gd name="connsiteY30" fmla="*/ 4660009 h 5858728"/>
                <a:gd name="connsiteX31" fmla="*/ 2315925 w 8925180"/>
                <a:gd name="connsiteY31" fmla="*/ 3709127 h 5858728"/>
                <a:gd name="connsiteX32" fmla="*/ 2482054 w 8925180"/>
                <a:gd name="connsiteY32" fmla="*/ 3279357 h 5858728"/>
                <a:gd name="connsiteX33" fmla="*/ 1878642 w 8925180"/>
                <a:gd name="connsiteY33" fmla="*/ 3279929 h 5858728"/>
                <a:gd name="connsiteX34" fmla="*/ 1841602 w 8925180"/>
                <a:gd name="connsiteY34" fmla="*/ 3439228 h 5858728"/>
                <a:gd name="connsiteX35" fmla="*/ 2120130 w 8925180"/>
                <a:gd name="connsiteY35" fmla="*/ 3726569 h 5858728"/>
                <a:gd name="connsiteX36" fmla="*/ 2232643 w 8925180"/>
                <a:gd name="connsiteY36" fmla="*/ 3741824 h 5858728"/>
                <a:gd name="connsiteX37" fmla="*/ 2537319 w 8925180"/>
                <a:gd name="connsiteY37" fmla="*/ 3433968 h 5858728"/>
                <a:gd name="connsiteX38" fmla="*/ 2482054 w 8925180"/>
                <a:gd name="connsiteY38" fmla="*/ 3279357 h 5858728"/>
                <a:gd name="connsiteX39" fmla="*/ 3410751 w 8925180"/>
                <a:gd name="connsiteY39" fmla="*/ 3027962 h 5858728"/>
                <a:gd name="connsiteX40" fmla="*/ 3333772 w 8925180"/>
                <a:gd name="connsiteY40" fmla="*/ 2996318 h 5858728"/>
                <a:gd name="connsiteX41" fmla="*/ 2979092 w 8925180"/>
                <a:gd name="connsiteY41" fmla="*/ 2978709 h 5858728"/>
                <a:gd name="connsiteX42" fmla="*/ 2563372 w 8925180"/>
                <a:gd name="connsiteY42" fmla="*/ 3254338 h 5858728"/>
                <a:gd name="connsiteX43" fmla="*/ 2382821 w 8925180"/>
                <a:gd name="connsiteY43" fmla="*/ 3689332 h 5858728"/>
                <a:gd name="connsiteX44" fmla="*/ 2746939 w 8925180"/>
                <a:gd name="connsiteY44" fmla="*/ 4674898 h 5858728"/>
                <a:gd name="connsiteX45" fmla="*/ 2184702 w 8925180"/>
                <a:gd name="connsiteY45" fmla="*/ 5175921 h 5858728"/>
                <a:gd name="connsiteX46" fmla="*/ 1614576 w 8925180"/>
                <a:gd name="connsiteY46" fmla="*/ 4673723 h 5858728"/>
                <a:gd name="connsiteX47" fmla="*/ 1993653 w 8925180"/>
                <a:gd name="connsiteY47" fmla="*/ 3692376 h 5858728"/>
                <a:gd name="connsiteX48" fmla="*/ 1805436 w 8925180"/>
                <a:gd name="connsiteY48" fmla="*/ 3261869 h 5858728"/>
                <a:gd name="connsiteX49" fmla="*/ 1395380 w 8925180"/>
                <a:gd name="connsiteY49" fmla="*/ 2972526 h 5858728"/>
                <a:gd name="connsiteX50" fmla="*/ 1032434 w 8925180"/>
                <a:gd name="connsiteY50" fmla="*/ 2996354 h 5858728"/>
                <a:gd name="connsiteX51" fmla="*/ 673640 w 8925180"/>
                <a:gd name="connsiteY51" fmla="*/ 3478975 h 5858728"/>
                <a:gd name="connsiteX52" fmla="*/ 665233 w 8925180"/>
                <a:gd name="connsiteY52" fmla="*/ 5181466 h 5858728"/>
                <a:gd name="connsiteX53" fmla="*/ 1228210 w 8925180"/>
                <a:gd name="connsiteY53" fmla="*/ 5182572 h 5858728"/>
                <a:gd name="connsiteX54" fmla="*/ 1230379 w 8925180"/>
                <a:gd name="connsiteY54" fmla="*/ 3776157 h 5858728"/>
                <a:gd name="connsiteX55" fmla="*/ 1376348 w 8925180"/>
                <a:gd name="connsiteY55" fmla="*/ 3751556 h 5858728"/>
                <a:gd name="connsiteX56" fmla="*/ 1372900 w 8925180"/>
                <a:gd name="connsiteY56" fmla="*/ 5180612 h 5858728"/>
                <a:gd name="connsiteX57" fmla="*/ 2990350 w 8925180"/>
                <a:gd name="connsiteY57" fmla="*/ 5181867 h 5858728"/>
                <a:gd name="connsiteX58" fmla="*/ 2996744 w 8925180"/>
                <a:gd name="connsiteY58" fmla="*/ 3751912 h 5858728"/>
                <a:gd name="connsiteX59" fmla="*/ 3133436 w 8925180"/>
                <a:gd name="connsiteY59" fmla="*/ 3741510 h 5858728"/>
                <a:gd name="connsiteX60" fmla="*/ 3121821 w 8925180"/>
                <a:gd name="connsiteY60" fmla="*/ 5183179 h 5858728"/>
                <a:gd name="connsiteX61" fmla="*/ 3686232 w 8925180"/>
                <a:gd name="connsiteY61" fmla="*/ 5182347 h 5858728"/>
                <a:gd name="connsiteX62" fmla="*/ 3691473 w 8925180"/>
                <a:gd name="connsiteY62" fmla="*/ 3478402 h 5858728"/>
                <a:gd name="connsiteX63" fmla="*/ 3410751 w 8925180"/>
                <a:gd name="connsiteY63" fmla="*/ 3027962 h 5858728"/>
                <a:gd name="connsiteX64" fmla="*/ 3136776 w 8925180"/>
                <a:gd name="connsiteY64" fmla="*/ 1889907 h 5858728"/>
                <a:gd name="connsiteX65" fmla="*/ 2203072 w 8925180"/>
                <a:gd name="connsiteY65" fmla="*/ 1725263 h 5858728"/>
                <a:gd name="connsiteX66" fmla="*/ 2300379 w 8925180"/>
                <a:gd name="connsiteY66" fmla="*/ 1923326 h 5858728"/>
                <a:gd name="connsiteX67" fmla="*/ 1188791 w 8925180"/>
                <a:gd name="connsiteY67" fmla="*/ 2040152 h 5858728"/>
                <a:gd name="connsiteX68" fmla="*/ 2271604 w 8925180"/>
                <a:gd name="connsiteY68" fmla="*/ 3250645 h 5858728"/>
                <a:gd name="connsiteX69" fmla="*/ 3136776 w 8925180"/>
                <a:gd name="connsiteY69" fmla="*/ 1889907 h 5858728"/>
                <a:gd name="connsiteX70" fmla="*/ 2717485 w 8925180"/>
                <a:gd name="connsiteY70" fmla="*/ 1393444 h 5858728"/>
                <a:gd name="connsiteX71" fmla="*/ 1883384 w 8925180"/>
                <a:gd name="connsiteY71" fmla="*/ 1285665 h 5858728"/>
                <a:gd name="connsiteX72" fmla="*/ 1222141 w 8925180"/>
                <a:gd name="connsiteY72" fmla="*/ 1956867 h 5858728"/>
                <a:gd name="connsiteX73" fmla="*/ 2190065 w 8925180"/>
                <a:gd name="connsiteY73" fmla="*/ 1843866 h 5858728"/>
                <a:gd name="connsiteX74" fmla="*/ 2106198 w 8925180"/>
                <a:gd name="connsiteY74" fmla="*/ 1659192 h 5858728"/>
                <a:gd name="connsiteX75" fmla="*/ 3105346 w 8925180"/>
                <a:gd name="connsiteY75" fmla="*/ 1825795 h 5858728"/>
                <a:gd name="connsiteX76" fmla="*/ 2717485 w 8925180"/>
                <a:gd name="connsiteY76" fmla="*/ 1393444 h 5858728"/>
                <a:gd name="connsiteX77" fmla="*/ 8150482 w 8925180"/>
                <a:gd name="connsiteY77" fmla="*/ 4451277 h 5858728"/>
                <a:gd name="connsiteX78" fmla="*/ 8107801 w 8925180"/>
                <a:gd name="connsiteY78" fmla="*/ 4442632 h 5858728"/>
                <a:gd name="connsiteX79" fmla="*/ 4582685 w 8925180"/>
                <a:gd name="connsiteY79" fmla="*/ 4440312 h 5858728"/>
                <a:gd name="connsiteX80" fmla="*/ 4472947 w 8925180"/>
                <a:gd name="connsiteY80" fmla="*/ 4549907 h 5858728"/>
                <a:gd name="connsiteX81" fmla="*/ 4472887 w 8925180"/>
                <a:gd name="connsiteY81" fmla="*/ 4641332 h 5858728"/>
                <a:gd name="connsiteX82" fmla="*/ 4582481 w 8925180"/>
                <a:gd name="connsiteY82" fmla="*/ 4751069 h 5858728"/>
                <a:gd name="connsiteX83" fmla="*/ 8107596 w 8925180"/>
                <a:gd name="connsiteY83" fmla="*/ 4753388 h 5858728"/>
                <a:gd name="connsiteX84" fmla="*/ 8217334 w 8925180"/>
                <a:gd name="connsiteY84" fmla="*/ 4643794 h 5858728"/>
                <a:gd name="connsiteX85" fmla="*/ 8217394 w 8925180"/>
                <a:gd name="connsiteY85" fmla="*/ 4552369 h 5858728"/>
                <a:gd name="connsiteX86" fmla="*/ 8150482 w 8925180"/>
                <a:gd name="connsiteY86" fmla="*/ 4451277 h 5858728"/>
                <a:gd name="connsiteX87" fmla="*/ 8148049 w 8925180"/>
                <a:gd name="connsiteY87" fmla="*/ 3694350 h 5858728"/>
                <a:gd name="connsiteX88" fmla="*/ 8105367 w 8925180"/>
                <a:gd name="connsiteY88" fmla="*/ 3685704 h 5858728"/>
                <a:gd name="connsiteX89" fmla="*/ 4580253 w 8925180"/>
                <a:gd name="connsiteY89" fmla="*/ 3683387 h 5858728"/>
                <a:gd name="connsiteX90" fmla="*/ 4470515 w 8925180"/>
                <a:gd name="connsiteY90" fmla="*/ 3792981 h 5858728"/>
                <a:gd name="connsiteX91" fmla="*/ 4470455 w 8925180"/>
                <a:gd name="connsiteY91" fmla="*/ 3884406 h 5858728"/>
                <a:gd name="connsiteX92" fmla="*/ 4580048 w 8925180"/>
                <a:gd name="connsiteY92" fmla="*/ 3994144 h 5858728"/>
                <a:gd name="connsiteX93" fmla="*/ 8105163 w 8925180"/>
                <a:gd name="connsiteY93" fmla="*/ 3996461 h 5858728"/>
                <a:gd name="connsiteX94" fmla="*/ 8214901 w 8925180"/>
                <a:gd name="connsiteY94" fmla="*/ 3886867 h 5858728"/>
                <a:gd name="connsiteX95" fmla="*/ 8214961 w 8925180"/>
                <a:gd name="connsiteY95" fmla="*/ 3795443 h 5858728"/>
                <a:gd name="connsiteX96" fmla="*/ 8148049 w 8925180"/>
                <a:gd name="connsiteY96" fmla="*/ 3694350 h 5858728"/>
                <a:gd name="connsiteX97" fmla="*/ 8152570 w 8925180"/>
                <a:gd name="connsiteY97" fmla="*/ 2963452 h 5858728"/>
                <a:gd name="connsiteX98" fmla="*/ 8109889 w 8925180"/>
                <a:gd name="connsiteY98" fmla="*/ 2954806 h 5858728"/>
                <a:gd name="connsiteX99" fmla="*/ 4584774 w 8925180"/>
                <a:gd name="connsiteY99" fmla="*/ 2952488 h 5858728"/>
                <a:gd name="connsiteX100" fmla="*/ 4475036 w 8925180"/>
                <a:gd name="connsiteY100" fmla="*/ 3062082 h 5858728"/>
                <a:gd name="connsiteX101" fmla="*/ 4474976 w 8925180"/>
                <a:gd name="connsiteY101" fmla="*/ 3153507 h 5858728"/>
                <a:gd name="connsiteX102" fmla="*/ 4584570 w 8925180"/>
                <a:gd name="connsiteY102" fmla="*/ 3263245 h 5858728"/>
                <a:gd name="connsiteX103" fmla="*/ 8109684 w 8925180"/>
                <a:gd name="connsiteY103" fmla="*/ 3265563 h 5858728"/>
                <a:gd name="connsiteX104" fmla="*/ 8219422 w 8925180"/>
                <a:gd name="connsiteY104" fmla="*/ 3155969 h 5858728"/>
                <a:gd name="connsiteX105" fmla="*/ 8219483 w 8925180"/>
                <a:gd name="connsiteY105" fmla="*/ 3064544 h 5858728"/>
                <a:gd name="connsiteX106" fmla="*/ 8152570 w 8925180"/>
                <a:gd name="connsiteY106" fmla="*/ 2963452 h 5858728"/>
                <a:gd name="connsiteX107" fmla="*/ 8145669 w 8925180"/>
                <a:gd name="connsiteY107" fmla="*/ 2233284 h 5858728"/>
                <a:gd name="connsiteX108" fmla="*/ 8102988 w 8925180"/>
                <a:gd name="connsiteY108" fmla="*/ 2224637 h 5858728"/>
                <a:gd name="connsiteX109" fmla="*/ 4577874 w 8925180"/>
                <a:gd name="connsiteY109" fmla="*/ 2222320 h 5858728"/>
                <a:gd name="connsiteX110" fmla="*/ 4468135 w 8925180"/>
                <a:gd name="connsiteY110" fmla="*/ 2331915 h 5858728"/>
                <a:gd name="connsiteX111" fmla="*/ 4468075 w 8925180"/>
                <a:gd name="connsiteY111" fmla="*/ 2423339 h 5858728"/>
                <a:gd name="connsiteX112" fmla="*/ 4577669 w 8925180"/>
                <a:gd name="connsiteY112" fmla="*/ 2533077 h 5858728"/>
                <a:gd name="connsiteX113" fmla="*/ 8102784 w 8925180"/>
                <a:gd name="connsiteY113" fmla="*/ 2535394 h 5858728"/>
                <a:gd name="connsiteX114" fmla="*/ 8212522 w 8925180"/>
                <a:gd name="connsiteY114" fmla="*/ 2425800 h 5858728"/>
                <a:gd name="connsiteX115" fmla="*/ 8212582 w 8925180"/>
                <a:gd name="connsiteY115" fmla="*/ 2334375 h 5858728"/>
                <a:gd name="connsiteX116" fmla="*/ 8145669 w 8925180"/>
                <a:gd name="connsiteY116" fmla="*/ 2233284 h 5858728"/>
                <a:gd name="connsiteX117" fmla="*/ 8449565 w 8925180"/>
                <a:gd name="connsiteY117" fmla="*/ 109688 h 5858728"/>
                <a:gd name="connsiteX118" fmla="*/ 8925180 w 8925180"/>
                <a:gd name="connsiteY118" fmla="*/ 908806 h 5858728"/>
                <a:gd name="connsiteX119" fmla="*/ 8925180 w 8925180"/>
                <a:gd name="connsiteY119" fmla="*/ 4949923 h 5858728"/>
                <a:gd name="connsiteX120" fmla="*/ 8016374 w 8925180"/>
                <a:gd name="connsiteY120" fmla="*/ 5858728 h 5858728"/>
                <a:gd name="connsiteX121" fmla="*/ 908806 w 8925180"/>
                <a:gd name="connsiteY121" fmla="*/ 5858728 h 5858728"/>
                <a:gd name="connsiteX122" fmla="*/ 25278 w 8925180"/>
                <a:gd name="connsiteY122" fmla="*/ 4949707 h 5858728"/>
                <a:gd name="connsiteX123" fmla="*/ 0 w 8925180"/>
                <a:gd name="connsiteY123" fmla="*/ 908806 h 5858728"/>
                <a:gd name="connsiteX124" fmla="*/ 908806 w 8925180"/>
                <a:gd name="connsiteY124" fmla="*/ 0 h 5858728"/>
                <a:gd name="connsiteX125" fmla="*/ 2008600 w 8925180"/>
                <a:gd name="connsiteY125" fmla="*/ 0 h 5858728"/>
                <a:gd name="connsiteX126" fmla="*/ 2008600 w 8925180"/>
                <a:gd name="connsiteY126" fmla="*/ 498540 h 5858728"/>
                <a:gd name="connsiteX127" fmla="*/ 2620520 w 8925180"/>
                <a:gd name="connsiteY127" fmla="*/ 1110460 h 5858728"/>
                <a:gd name="connsiteX128" fmla="*/ 6296783 w 8925180"/>
                <a:gd name="connsiteY128" fmla="*/ 1085186 h 5858728"/>
                <a:gd name="connsiteX129" fmla="*/ 6908909 w 8925180"/>
                <a:gd name="connsiteY129" fmla="*/ 498540 h 5858728"/>
                <a:gd name="connsiteX130" fmla="*/ 6908909 w 8925180"/>
                <a:gd name="connsiteY130" fmla="*/ 0 h 5858728"/>
                <a:gd name="connsiteX131" fmla="*/ 8016374 w 8925180"/>
                <a:gd name="connsiteY131" fmla="*/ 0 h 5858728"/>
                <a:gd name="connsiteX132" fmla="*/ 8449565 w 8925180"/>
                <a:gd name="connsiteY132" fmla="*/ 109688 h 5858728"/>
                <a:gd name="connsiteX0" fmla="*/ 1875541 w 8950465"/>
                <a:gd name="connsiteY0" fmla="*/ 4432622 h 5858728"/>
                <a:gd name="connsiteX1" fmla="*/ 2379876 w 8950465"/>
                <a:gd name="connsiteY1" fmla="*/ 4887349 h 5858728"/>
                <a:gd name="connsiteX2" fmla="*/ 2260469 w 8950465"/>
                <a:gd name="connsiteY2" fmla="*/ 4987528 h 5858728"/>
                <a:gd name="connsiteX3" fmla="*/ 1824034 w 8950465"/>
                <a:gd name="connsiteY3" fmla="*/ 4589127 h 5858728"/>
                <a:gd name="connsiteX4" fmla="*/ 1875541 w 8950465"/>
                <a:gd name="connsiteY4" fmla="*/ 4432622 h 5858728"/>
                <a:gd name="connsiteX5" fmla="*/ 1972968 w 8950465"/>
                <a:gd name="connsiteY5" fmla="*/ 4178550 h 5858728"/>
                <a:gd name="connsiteX6" fmla="*/ 2574344 w 8950465"/>
                <a:gd name="connsiteY6" fmla="*/ 4709227 h 5858728"/>
                <a:gd name="connsiteX7" fmla="*/ 2460881 w 8950465"/>
                <a:gd name="connsiteY7" fmla="*/ 4809499 h 5858728"/>
                <a:gd name="connsiteX8" fmla="*/ 1922858 w 8950465"/>
                <a:gd name="connsiteY8" fmla="*/ 4327451 h 5858728"/>
                <a:gd name="connsiteX9" fmla="*/ 1972968 w 8950465"/>
                <a:gd name="connsiteY9" fmla="*/ 4178550 h 5858728"/>
                <a:gd name="connsiteX10" fmla="*/ 2071518 w 8950465"/>
                <a:gd name="connsiteY10" fmla="*/ 3925127 h 5858728"/>
                <a:gd name="connsiteX11" fmla="*/ 2483238 w 8950465"/>
                <a:gd name="connsiteY11" fmla="*/ 4293656 h 5858728"/>
                <a:gd name="connsiteX12" fmla="*/ 2593566 w 8950465"/>
                <a:gd name="connsiteY12" fmla="*/ 4587809 h 5858728"/>
                <a:gd name="connsiteX13" fmla="*/ 2014490 w 8950465"/>
                <a:gd name="connsiteY13" fmla="*/ 4073026 h 5858728"/>
                <a:gd name="connsiteX14" fmla="*/ 2071518 w 8950465"/>
                <a:gd name="connsiteY14" fmla="*/ 3925127 h 5858728"/>
                <a:gd name="connsiteX15" fmla="*/ 2285202 w 8950465"/>
                <a:gd name="connsiteY15" fmla="*/ 3773334 h 5858728"/>
                <a:gd name="connsiteX16" fmla="*/ 2285705 w 8950465"/>
                <a:gd name="connsiteY16" fmla="*/ 3773641 h 5858728"/>
                <a:gd name="connsiteX17" fmla="*/ 2285030 w 8950465"/>
                <a:gd name="connsiteY17" fmla="*/ 3773354 h 5858728"/>
                <a:gd name="connsiteX18" fmla="*/ 2285202 w 8950465"/>
                <a:gd name="connsiteY18" fmla="*/ 3773334 h 5858728"/>
                <a:gd name="connsiteX19" fmla="*/ 2341210 w 8950465"/>
                <a:gd name="connsiteY19" fmla="*/ 3709127 h 5858728"/>
                <a:gd name="connsiteX20" fmla="*/ 2273690 w 8950465"/>
                <a:gd name="connsiteY20" fmla="*/ 3768327 h 5858728"/>
                <a:gd name="connsiteX21" fmla="*/ 2281999 w 8950465"/>
                <a:gd name="connsiteY21" fmla="*/ 3772067 h 5858728"/>
                <a:gd name="connsiteX22" fmla="*/ 2285030 w 8950465"/>
                <a:gd name="connsiteY22" fmla="*/ 3773354 h 5858728"/>
                <a:gd name="connsiteX23" fmla="*/ 2283970 w 8950465"/>
                <a:gd name="connsiteY23" fmla="*/ 3773482 h 5858728"/>
                <a:gd name="connsiteX24" fmla="*/ 2293798 w 8950465"/>
                <a:gd name="connsiteY24" fmla="*/ 3780164 h 5858728"/>
                <a:gd name="connsiteX25" fmla="*/ 2404698 w 8950465"/>
                <a:gd name="connsiteY25" fmla="*/ 4075583 h 5858728"/>
                <a:gd name="connsiteX26" fmla="*/ 2116023 w 8950465"/>
                <a:gd name="connsiteY26" fmla="*/ 3813339 h 5858728"/>
                <a:gd name="connsiteX27" fmla="*/ 2079554 w 8950465"/>
                <a:gd name="connsiteY27" fmla="*/ 3707627 h 5858728"/>
                <a:gd name="connsiteX28" fmla="*/ 1718396 w 8950465"/>
                <a:gd name="connsiteY28" fmla="*/ 4661938 h 5858728"/>
                <a:gd name="connsiteX29" fmla="*/ 2210145 w 8950465"/>
                <a:gd name="connsiteY29" fmla="*/ 5091104 h 5858728"/>
                <a:gd name="connsiteX30" fmla="*/ 2692433 w 8950465"/>
                <a:gd name="connsiteY30" fmla="*/ 4660009 h 5858728"/>
                <a:gd name="connsiteX31" fmla="*/ 2341210 w 8950465"/>
                <a:gd name="connsiteY31" fmla="*/ 3709127 h 5858728"/>
                <a:gd name="connsiteX32" fmla="*/ 2507339 w 8950465"/>
                <a:gd name="connsiteY32" fmla="*/ 3279357 h 5858728"/>
                <a:gd name="connsiteX33" fmla="*/ 1903927 w 8950465"/>
                <a:gd name="connsiteY33" fmla="*/ 3279929 h 5858728"/>
                <a:gd name="connsiteX34" fmla="*/ 1866887 w 8950465"/>
                <a:gd name="connsiteY34" fmla="*/ 3439228 h 5858728"/>
                <a:gd name="connsiteX35" fmla="*/ 2145415 w 8950465"/>
                <a:gd name="connsiteY35" fmla="*/ 3726569 h 5858728"/>
                <a:gd name="connsiteX36" fmla="*/ 2257928 w 8950465"/>
                <a:gd name="connsiteY36" fmla="*/ 3741824 h 5858728"/>
                <a:gd name="connsiteX37" fmla="*/ 2562604 w 8950465"/>
                <a:gd name="connsiteY37" fmla="*/ 3433968 h 5858728"/>
                <a:gd name="connsiteX38" fmla="*/ 2507339 w 8950465"/>
                <a:gd name="connsiteY38" fmla="*/ 3279357 h 5858728"/>
                <a:gd name="connsiteX39" fmla="*/ 3436036 w 8950465"/>
                <a:gd name="connsiteY39" fmla="*/ 3027962 h 5858728"/>
                <a:gd name="connsiteX40" fmla="*/ 3359057 w 8950465"/>
                <a:gd name="connsiteY40" fmla="*/ 2996318 h 5858728"/>
                <a:gd name="connsiteX41" fmla="*/ 3004377 w 8950465"/>
                <a:gd name="connsiteY41" fmla="*/ 2978709 h 5858728"/>
                <a:gd name="connsiteX42" fmla="*/ 2588657 w 8950465"/>
                <a:gd name="connsiteY42" fmla="*/ 3254338 h 5858728"/>
                <a:gd name="connsiteX43" fmla="*/ 2408106 w 8950465"/>
                <a:gd name="connsiteY43" fmla="*/ 3689332 h 5858728"/>
                <a:gd name="connsiteX44" fmla="*/ 2772224 w 8950465"/>
                <a:gd name="connsiteY44" fmla="*/ 4674898 h 5858728"/>
                <a:gd name="connsiteX45" fmla="*/ 2209987 w 8950465"/>
                <a:gd name="connsiteY45" fmla="*/ 5175921 h 5858728"/>
                <a:gd name="connsiteX46" fmla="*/ 1639861 w 8950465"/>
                <a:gd name="connsiteY46" fmla="*/ 4673723 h 5858728"/>
                <a:gd name="connsiteX47" fmla="*/ 2018938 w 8950465"/>
                <a:gd name="connsiteY47" fmla="*/ 3692376 h 5858728"/>
                <a:gd name="connsiteX48" fmla="*/ 1830721 w 8950465"/>
                <a:gd name="connsiteY48" fmla="*/ 3261869 h 5858728"/>
                <a:gd name="connsiteX49" fmla="*/ 1420665 w 8950465"/>
                <a:gd name="connsiteY49" fmla="*/ 2972526 h 5858728"/>
                <a:gd name="connsiteX50" fmla="*/ 1057719 w 8950465"/>
                <a:gd name="connsiteY50" fmla="*/ 2996354 h 5858728"/>
                <a:gd name="connsiteX51" fmla="*/ 698925 w 8950465"/>
                <a:gd name="connsiteY51" fmla="*/ 3478975 h 5858728"/>
                <a:gd name="connsiteX52" fmla="*/ 690518 w 8950465"/>
                <a:gd name="connsiteY52" fmla="*/ 5181466 h 5858728"/>
                <a:gd name="connsiteX53" fmla="*/ 1253495 w 8950465"/>
                <a:gd name="connsiteY53" fmla="*/ 5182572 h 5858728"/>
                <a:gd name="connsiteX54" fmla="*/ 1255664 w 8950465"/>
                <a:gd name="connsiteY54" fmla="*/ 3776157 h 5858728"/>
                <a:gd name="connsiteX55" fmla="*/ 1401633 w 8950465"/>
                <a:gd name="connsiteY55" fmla="*/ 3751556 h 5858728"/>
                <a:gd name="connsiteX56" fmla="*/ 1398185 w 8950465"/>
                <a:gd name="connsiteY56" fmla="*/ 5180612 h 5858728"/>
                <a:gd name="connsiteX57" fmla="*/ 3015635 w 8950465"/>
                <a:gd name="connsiteY57" fmla="*/ 5181867 h 5858728"/>
                <a:gd name="connsiteX58" fmla="*/ 3022029 w 8950465"/>
                <a:gd name="connsiteY58" fmla="*/ 3751912 h 5858728"/>
                <a:gd name="connsiteX59" fmla="*/ 3158721 w 8950465"/>
                <a:gd name="connsiteY59" fmla="*/ 3741510 h 5858728"/>
                <a:gd name="connsiteX60" fmla="*/ 3147106 w 8950465"/>
                <a:gd name="connsiteY60" fmla="*/ 5183179 h 5858728"/>
                <a:gd name="connsiteX61" fmla="*/ 3711517 w 8950465"/>
                <a:gd name="connsiteY61" fmla="*/ 5182347 h 5858728"/>
                <a:gd name="connsiteX62" fmla="*/ 3716758 w 8950465"/>
                <a:gd name="connsiteY62" fmla="*/ 3478402 h 5858728"/>
                <a:gd name="connsiteX63" fmla="*/ 3436036 w 8950465"/>
                <a:gd name="connsiteY63" fmla="*/ 3027962 h 5858728"/>
                <a:gd name="connsiteX64" fmla="*/ 3162061 w 8950465"/>
                <a:gd name="connsiteY64" fmla="*/ 1889907 h 5858728"/>
                <a:gd name="connsiteX65" fmla="*/ 2228357 w 8950465"/>
                <a:gd name="connsiteY65" fmla="*/ 1725263 h 5858728"/>
                <a:gd name="connsiteX66" fmla="*/ 2325664 w 8950465"/>
                <a:gd name="connsiteY66" fmla="*/ 1923326 h 5858728"/>
                <a:gd name="connsiteX67" fmla="*/ 1214076 w 8950465"/>
                <a:gd name="connsiteY67" fmla="*/ 2040152 h 5858728"/>
                <a:gd name="connsiteX68" fmla="*/ 2296889 w 8950465"/>
                <a:gd name="connsiteY68" fmla="*/ 3250645 h 5858728"/>
                <a:gd name="connsiteX69" fmla="*/ 3162061 w 8950465"/>
                <a:gd name="connsiteY69" fmla="*/ 1889907 h 5858728"/>
                <a:gd name="connsiteX70" fmla="*/ 2742770 w 8950465"/>
                <a:gd name="connsiteY70" fmla="*/ 1393444 h 5858728"/>
                <a:gd name="connsiteX71" fmla="*/ 1908669 w 8950465"/>
                <a:gd name="connsiteY71" fmla="*/ 1285665 h 5858728"/>
                <a:gd name="connsiteX72" fmla="*/ 1247426 w 8950465"/>
                <a:gd name="connsiteY72" fmla="*/ 1956867 h 5858728"/>
                <a:gd name="connsiteX73" fmla="*/ 2215350 w 8950465"/>
                <a:gd name="connsiteY73" fmla="*/ 1843866 h 5858728"/>
                <a:gd name="connsiteX74" fmla="*/ 2131483 w 8950465"/>
                <a:gd name="connsiteY74" fmla="*/ 1659192 h 5858728"/>
                <a:gd name="connsiteX75" fmla="*/ 3130631 w 8950465"/>
                <a:gd name="connsiteY75" fmla="*/ 1825795 h 5858728"/>
                <a:gd name="connsiteX76" fmla="*/ 2742770 w 8950465"/>
                <a:gd name="connsiteY76" fmla="*/ 1393444 h 5858728"/>
                <a:gd name="connsiteX77" fmla="*/ 8175767 w 8950465"/>
                <a:gd name="connsiteY77" fmla="*/ 4451277 h 5858728"/>
                <a:gd name="connsiteX78" fmla="*/ 8133086 w 8950465"/>
                <a:gd name="connsiteY78" fmla="*/ 4442632 h 5858728"/>
                <a:gd name="connsiteX79" fmla="*/ 4607970 w 8950465"/>
                <a:gd name="connsiteY79" fmla="*/ 4440312 h 5858728"/>
                <a:gd name="connsiteX80" fmla="*/ 4498232 w 8950465"/>
                <a:gd name="connsiteY80" fmla="*/ 4549907 h 5858728"/>
                <a:gd name="connsiteX81" fmla="*/ 4498172 w 8950465"/>
                <a:gd name="connsiteY81" fmla="*/ 4641332 h 5858728"/>
                <a:gd name="connsiteX82" fmla="*/ 4607766 w 8950465"/>
                <a:gd name="connsiteY82" fmla="*/ 4751069 h 5858728"/>
                <a:gd name="connsiteX83" fmla="*/ 8132881 w 8950465"/>
                <a:gd name="connsiteY83" fmla="*/ 4753388 h 5858728"/>
                <a:gd name="connsiteX84" fmla="*/ 8242619 w 8950465"/>
                <a:gd name="connsiteY84" fmla="*/ 4643794 h 5858728"/>
                <a:gd name="connsiteX85" fmla="*/ 8242679 w 8950465"/>
                <a:gd name="connsiteY85" fmla="*/ 4552369 h 5858728"/>
                <a:gd name="connsiteX86" fmla="*/ 8175767 w 8950465"/>
                <a:gd name="connsiteY86" fmla="*/ 4451277 h 5858728"/>
                <a:gd name="connsiteX87" fmla="*/ 8173334 w 8950465"/>
                <a:gd name="connsiteY87" fmla="*/ 3694350 h 5858728"/>
                <a:gd name="connsiteX88" fmla="*/ 8130652 w 8950465"/>
                <a:gd name="connsiteY88" fmla="*/ 3685704 h 5858728"/>
                <a:gd name="connsiteX89" fmla="*/ 4605538 w 8950465"/>
                <a:gd name="connsiteY89" fmla="*/ 3683387 h 5858728"/>
                <a:gd name="connsiteX90" fmla="*/ 4495800 w 8950465"/>
                <a:gd name="connsiteY90" fmla="*/ 3792981 h 5858728"/>
                <a:gd name="connsiteX91" fmla="*/ 4495740 w 8950465"/>
                <a:gd name="connsiteY91" fmla="*/ 3884406 h 5858728"/>
                <a:gd name="connsiteX92" fmla="*/ 4605333 w 8950465"/>
                <a:gd name="connsiteY92" fmla="*/ 3994144 h 5858728"/>
                <a:gd name="connsiteX93" fmla="*/ 8130448 w 8950465"/>
                <a:gd name="connsiteY93" fmla="*/ 3996461 h 5858728"/>
                <a:gd name="connsiteX94" fmla="*/ 8240186 w 8950465"/>
                <a:gd name="connsiteY94" fmla="*/ 3886867 h 5858728"/>
                <a:gd name="connsiteX95" fmla="*/ 8240246 w 8950465"/>
                <a:gd name="connsiteY95" fmla="*/ 3795443 h 5858728"/>
                <a:gd name="connsiteX96" fmla="*/ 8173334 w 8950465"/>
                <a:gd name="connsiteY96" fmla="*/ 3694350 h 5858728"/>
                <a:gd name="connsiteX97" fmla="*/ 8177855 w 8950465"/>
                <a:gd name="connsiteY97" fmla="*/ 2963452 h 5858728"/>
                <a:gd name="connsiteX98" fmla="*/ 8135174 w 8950465"/>
                <a:gd name="connsiteY98" fmla="*/ 2954806 h 5858728"/>
                <a:gd name="connsiteX99" fmla="*/ 4610059 w 8950465"/>
                <a:gd name="connsiteY99" fmla="*/ 2952488 h 5858728"/>
                <a:gd name="connsiteX100" fmla="*/ 4500321 w 8950465"/>
                <a:gd name="connsiteY100" fmla="*/ 3062082 h 5858728"/>
                <a:gd name="connsiteX101" fmla="*/ 4500261 w 8950465"/>
                <a:gd name="connsiteY101" fmla="*/ 3153507 h 5858728"/>
                <a:gd name="connsiteX102" fmla="*/ 4609855 w 8950465"/>
                <a:gd name="connsiteY102" fmla="*/ 3263245 h 5858728"/>
                <a:gd name="connsiteX103" fmla="*/ 8134969 w 8950465"/>
                <a:gd name="connsiteY103" fmla="*/ 3265563 h 5858728"/>
                <a:gd name="connsiteX104" fmla="*/ 8244707 w 8950465"/>
                <a:gd name="connsiteY104" fmla="*/ 3155969 h 5858728"/>
                <a:gd name="connsiteX105" fmla="*/ 8244768 w 8950465"/>
                <a:gd name="connsiteY105" fmla="*/ 3064544 h 5858728"/>
                <a:gd name="connsiteX106" fmla="*/ 8177855 w 8950465"/>
                <a:gd name="connsiteY106" fmla="*/ 2963452 h 5858728"/>
                <a:gd name="connsiteX107" fmla="*/ 8170954 w 8950465"/>
                <a:gd name="connsiteY107" fmla="*/ 2233284 h 5858728"/>
                <a:gd name="connsiteX108" fmla="*/ 8128273 w 8950465"/>
                <a:gd name="connsiteY108" fmla="*/ 2224637 h 5858728"/>
                <a:gd name="connsiteX109" fmla="*/ 4603159 w 8950465"/>
                <a:gd name="connsiteY109" fmla="*/ 2222320 h 5858728"/>
                <a:gd name="connsiteX110" fmla="*/ 4493420 w 8950465"/>
                <a:gd name="connsiteY110" fmla="*/ 2331915 h 5858728"/>
                <a:gd name="connsiteX111" fmla="*/ 4493360 w 8950465"/>
                <a:gd name="connsiteY111" fmla="*/ 2423339 h 5858728"/>
                <a:gd name="connsiteX112" fmla="*/ 4602954 w 8950465"/>
                <a:gd name="connsiteY112" fmla="*/ 2533077 h 5858728"/>
                <a:gd name="connsiteX113" fmla="*/ 8128069 w 8950465"/>
                <a:gd name="connsiteY113" fmla="*/ 2535394 h 5858728"/>
                <a:gd name="connsiteX114" fmla="*/ 8237807 w 8950465"/>
                <a:gd name="connsiteY114" fmla="*/ 2425800 h 5858728"/>
                <a:gd name="connsiteX115" fmla="*/ 8237867 w 8950465"/>
                <a:gd name="connsiteY115" fmla="*/ 2334375 h 5858728"/>
                <a:gd name="connsiteX116" fmla="*/ 8170954 w 8950465"/>
                <a:gd name="connsiteY116" fmla="*/ 2233284 h 5858728"/>
                <a:gd name="connsiteX117" fmla="*/ 8474850 w 8950465"/>
                <a:gd name="connsiteY117" fmla="*/ 109688 h 5858728"/>
                <a:gd name="connsiteX118" fmla="*/ 8950465 w 8950465"/>
                <a:gd name="connsiteY118" fmla="*/ 908806 h 5858728"/>
                <a:gd name="connsiteX119" fmla="*/ 8950465 w 8950465"/>
                <a:gd name="connsiteY119" fmla="*/ 4949923 h 5858728"/>
                <a:gd name="connsiteX120" fmla="*/ 8041659 w 8950465"/>
                <a:gd name="connsiteY120" fmla="*/ 5858728 h 5858728"/>
                <a:gd name="connsiteX121" fmla="*/ 934091 w 8950465"/>
                <a:gd name="connsiteY121" fmla="*/ 5858728 h 5858728"/>
                <a:gd name="connsiteX122" fmla="*/ 50563 w 8950465"/>
                <a:gd name="connsiteY122" fmla="*/ 4949707 h 5858728"/>
                <a:gd name="connsiteX123" fmla="*/ -2 w 8950465"/>
                <a:gd name="connsiteY123" fmla="*/ 909018 h 5858728"/>
                <a:gd name="connsiteX124" fmla="*/ 934091 w 8950465"/>
                <a:gd name="connsiteY124" fmla="*/ 0 h 5858728"/>
                <a:gd name="connsiteX125" fmla="*/ 2033885 w 8950465"/>
                <a:gd name="connsiteY125" fmla="*/ 0 h 5858728"/>
                <a:gd name="connsiteX126" fmla="*/ 2033885 w 8950465"/>
                <a:gd name="connsiteY126" fmla="*/ 498540 h 5858728"/>
                <a:gd name="connsiteX127" fmla="*/ 2645805 w 8950465"/>
                <a:gd name="connsiteY127" fmla="*/ 1110460 h 5858728"/>
                <a:gd name="connsiteX128" fmla="*/ 6322068 w 8950465"/>
                <a:gd name="connsiteY128" fmla="*/ 1085186 h 5858728"/>
                <a:gd name="connsiteX129" fmla="*/ 6934194 w 8950465"/>
                <a:gd name="connsiteY129" fmla="*/ 498540 h 5858728"/>
                <a:gd name="connsiteX130" fmla="*/ 6934194 w 8950465"/>
                <a:gd name="connsiteY130" fmla="*/ 0 h 5858728"/>
                <a:gd name="connsiteX131" fmla="*/ 8041659 w 8950465"/>
                <a:gd name="connsiteY131" fmla="*/ 0 h 5858728"/>
                <a:gd name="connsiteX132" fmla="*/ 8474850 w 8950465"/>
                <a:gd name="connsiteY132" fmla="*/ 109688 h 5858728"/>
                <a:gd name="connsiteX0" fmla="*/ 1875541 w 8950465"/>
                <a:gd name="connsiteY0" fmla="*/ 4432622 h 5858728"/>
                <a:gd name="connsiteX1" fmla="*/ 2379876 w 8950465"/>
                <a:gd name="connsiteY1" fmla="*/ 4887349 h 5858728"/>
                <a:gd name="connsiteX2" fmla="*/ 2260469 w 8950465"/>
                <a:gd name="connsiteY2" fmla="*/ 4987528 h 5858728"/>
                <a:gd name="connsiteX3" fmla="*/ 1824034 w 8950465"/>
                <a:gd name="connsiteY3" fmla="*/ 4589127 h 5858728"/>
                <a:gd name="connsiteX4" fmla="*/ 1875541 w 8950465"/>
                <a:gd name="connsiteY4" fmla="*/ 4432622 h 5858728"/>
                <a:gd name="connsiteX5" fmla="*/ 1972968 w 8950465"/>
                <a:gd name="connsiteY5" fmla="*/ 4178550 h 5858728"/>
                <a:gd name="connsiteX6" fmla="*/ 2574344 w 8950465"/>
                <a:gd name="connsiteY6" fmla="*/ 4709227 h 5858728"/>
                <a:gd name="connsiteX7" fmla="*/ 2460881 w 8950465"/>
                <a:gd name="connsiteY7" fmla="*/ 4809499 h 5858728"/>
                <a:gd name="connsiteX8" fmla="*/ 1922858 w 8950465"/>
                <a:gd name="connsiteY8" fmla="*/ 4327451 h 5858728"/>
                <a:gd name="connsiteX9" fmla="*/ 1972968 w 8950465"/>
                <a:gd name="connsiteY9" fmla="*/ 4178550 h 5858728"/>
                <a:gd name="connsiteX10" fmla="*/ 2071518 w 8950465"/>
                <a:gd name="connsiteY10" fmla="*/ 3925127 h 5858728"/>
                <a:gd name="connsiteX11" fmla="*/ 2483238 w 8950465"/>
                <a:gd name="connsiteY11" fmla="*/ 4293656 h 5858728"/>
                <a:gd name="connsiteX12" fmla="*/ 2593566 w 8950465"/>
                <a:gd name="connsiteY12" fmla="*/ 4587809 h 5858728"/>
                <a:gd name="connsiteX13" fmla="*/ 2014490 w 8950465"/>
                <a:gd name="connsiteY13" fmla="*/ 4073026 h 5858728"/>
                <a:gd name="connsiteX14" fmla="*/ 2071518 w 8950465"/>
                <a:gd name="connsiteY14" fmla="*/ 3925127 h 5858728"/>
                <a:gd name="connsiteX15" fmla="*/ 2285202 w 8950465"/>
                <a:gd name="connsiteY15" fmla="*/ 3773334 h 5858728"/>
                <a:gd name="connsiteX16" fmla="*/ 2285705 w 8950465"/>
                <a:gd name="connsiteY16" fmla="*/ 3773641 h 5858728"/>
                <a:gd name="connsiteX17" fmla="*/ 2285030 w 8950465"/>
                <a:gd name="connsiteY17" fmla="*/ 3773354 h 5858728"/>
                <a:gd name="connsiteX18" fmla="*/ 2285202 w 8950465"/>
                <a:gd name="connsiteY18" fmla="*/ 3773334 h 5858728"/>
                <a:gd name="connsiteX19" fmla="*/ 2341210 w 8950465"/>
                <a:gd name="connsiteY19" fmla="*/ 3709127 h 5858728"/>
                <a:gd name="connsiteX20" fmla="*/ 2273690 w 8950465"/>
                <a:gd name="connsiteY20" fmla="*/ 3768327 h 5858728"/>
                <a:gd name="connsiteX21" fmla="*/ 2281999 w 8950465"/>
                <a:gd name="connsiteY21" fmla="*/ 3772067 h 5858728"/>
                <a:gd name="connsiteX22" fmla="*/ 2285030 w 8950465"/>
                <a:gd name="connsiteY22" fmla="*/ 3773354 h 5858728"/>
                <a:gd name="connsiteX23" fmla="*/ 2283970 w 8950465"/>
                <a:gd name="connsiteY23" fmla="*/ 3773482 h 5858728"/>
                <a:gd name="connsiteX24" fmla="*/ 2293798 w 8950465"/>
                <a:gd name="connsiteY24" fmla="*/ 3780164 h 5858728"/>
                <a:gd name="connsiteX25" fmla="*/ 2404698 w 8950465"/>
                <a:gd name="connsiteY25" fmla="*/ 4075583 h 5858728"/>
                <a:gd name="connsiteX26" fmla="*/ 2116023 w 8950465"/>
                <a:gd name="connsiteY26" fmla="*/ 3813339 h 5858728"/>
                <a:gd name="connsiteX27" fmla="*/ 2079554 w 8950465"/>
                <a:gd name="connsiteY27" fmla="*/ 3707627 h 5858728"/>
                <a:gd name="connsiteX28" fmla="*/ 1718396 w 8950465"/>
                <a:gd name="connsiteY28" fmla="*/ 4661938 h 5858728"/>
                <a:gd name="connsiteX29" fmla="*/ 2210145 w 8950465"/>
                <a:gd name="connsiteY29" fmla="*/ 5091104 h 5858728"/>
                <a:gd name="connsiteX30" fmla="*/ 2692433 w 8950465"/>
                <a:gd name="connsiteY30" fmla="*/ 4660009 h 5858728"/>
                <a:gd name="connsiteX31" fmla="*/ 2341210 w 8950465"/>
                <a:gd name="connsiteY31" fmla="*/ 3709127 h 5858728"/>
                <a:gd name="connsiteX32" fmla="*/ 2507339 w 8950465"/>
                <a:gd name="connsiteY32" fmla="*/ 3279357 h 5858728"/>
                <a:gd name="connsiteX33" fmla="*/ 1903927 w 8950465"/>
                <a:gd name="connsiteY33" fmla="*/ 3279929 h 5858728"/>
                <a:gd name="connsiteX34" fmla="*/ 1866887 w 8950465"/>
                <a:gd name="connsiteY34" fmla="*/ 3439228 h 5858728"/>
                <a:gd name="connsiteX35" fmla="*/ 2145415 w 8950465"/>
                <a:gd name="connsiteY35" fmla="*/ 3726569 h 5858728"/>
                <a:gd name="connsiteX36" fmla="*/ 2257928 w 8950465"/>
                <a:gd name="connsiteY36" fmla="*/ 3741824 h 5858728"/>
                <a:gd name="connsiteX37" fmla="*/ 2562604 w 8950465"/>
                <a:gd name="connsiteY37" fmla="*/ 3433968 h 5858728"/>
                <a:gd name="connsiteX38" fmla="*/ 2507339 w 8950465"/>
                <a:gd name="connsiteY38" fmla="*/ 3279357 h 5858728"/>
                <a:gd name="connsiteX39" fmla="*/ 3436036 w 8950465"/>
                <a:gd name="connsiteY39" fmla="*/ 3027962 h 5858728"/>
                <a:gd name="connsiteX40" fmla="*/ 3359057 w 8950465"/>
                <a:gd name="connsiteY40" fmla="*/ 2996318 h 5858728"/>
                <a:gd name="connsiteX41" fmla="*/ 3004377 w 8950465"/>
                <a:gd name="connsiteY41" fmla="*/ 2978709 h 5858728"/>
                <a:gd name="connsiteX42" fmla="*/ 2588657 w 8950465"/>
                <a:gd name="connsiteY42" fmla="*/ 3254338 h 5858728"/>
                <a:gd name="connsiteX43" fmla="*/ 2408106 w 8950465"/>
                <a:gd name="connsiteY43" fmla="*/ 3689332 h 5858728"/>
                <a:gd name="connsiteX44" fmla="*/ 2772224 w 8950465"/>
                <a:gd name="connsiteY44" fmla="*/ 4674898 h 5858728"/>
                <a:gd name="connsiteX45" fmla="*/ 2209987 w 8950465"/>
                <a:gd name="connsiteY45" fmla="*/ 5175921 h 5858728"/>
                <a:gd name="connsiteX46" fmla="*/ 1639861 w 8950465"/>
                <a:gd name="connsiteY46" fmla="*/ 4673723 h 5858728"/>
                <a:gd name="connsiteX47" fmla="*/ 2018938 w 8950465"/>
                <a:gd name="connsiteY47" fmla="*/ 3692376 h 5858728"/>
                <a:gd name="connsiteX48" fmla="*/ 1830721 w 8950465"/>
                <a:gd name="connsiteY48" fmla="*/ 3261869 h 5858728"/>
                <a:gd name="connsiteX49" fmla="*/ 1420665 w 8950465"/>
                <a:gd name="connsiteY49" fmla="*/ 2972526 h 5858728"/>
                <a:gd name="connsiteX50" fmla="*/ 1057719 w 8950465"/>
                <a:gd name="connsiteY50" fmla="*/ 2996354 h 5858728"/>
                <a:gd name="connsiteX51" fmla="*/ 698925 w 8950465"/>
                <a:gd name="connsiteY51" fmla="*/ 3478975 h 5858728"/>
                <a:gd name="connsiteX52" fmla="*/ 690518 w 8950465"/>
                <a:gd name="connsiteY52" fmla="*/ 5181466 h 5858728"/>
                <a:gd name="connsiteX53" fmla="*/ 1253495 w 8950465"/>
                <a:gd name="connsiteY53" fmla="*/ 5182572 h 5858728"/>
                <a:gd name="connsiteX54" fmla="*/ 1255664 w 8950465"/>
                <a:gd name="connsiteY54" fmla="*/ 3776157 h 5858728"/>
                <a:gd name="connsiteX55" fmla="*/ 1401633 w 8950465"/>
                <a:gd name="connsiteY55" fmla="*/ 3751556 h 5858728"/>
                <a:gd name="connsiteX56" fmla="*/ 1398185 w 8950465"/>
                <a:gd name="connsiteY56" fmla="*/ 5180612 h 5858728"/>
                <a:gd name="connsiteX57" fmla="*/ 3015635 w 8950465"/>
                <a:gd name="connsiteY57" fmla="*/ 5181867 h 5858728"/>
                <a:gd name="connsiteX58" fmla="*/ 3022029 w 8950465"/>
                <a:gd name="connsiteY58" fmla="*/ 3751912 h 5858728"/>
                <a:gd name="connsiteX59" fmla="*/ 3158721 w 8950465"/>
                <a:gd name="connsiteY59" fmla="*/ 3741510 h 5858728"/>
                <a:gd name="connsiteX60" fmla="*/ 3147106 w 8950465"/>
                <a:gd name="connsiteY60" fmla="*/ 5183179 h 5858728"/>
                <a:gd name="connsiteX61" fmla="*/ 3711517 w 8950465"/>
                <a:gd name="connsiteY61" fmla="*/ 5182347 h 5858728"/>
                <a:gd name="connsiteX62" fmla="*/ 3716758 w 8950465"/>
                <a:gd name="connsiteY62" fmla="*/ 3478402 h 5858728"/>
                <a:gd name="connsiteX63" fmla="*/ 3436036 w 8950465"/>
                <a:gd name="connsiteY63" fmla="*/ 3027962 h 5858728"/>
                <a:gd name="connsiteX64" fmla="*/ 3162061 w 8950465"/>
                <a:gd name="connsiteY64" fmla="*/ 1889907 h 5858728"/>
                <a:gd name="connsiteX65" fmla="*/ 2228357 w 8950465"/>
                <a:gd name="connsiteY65" fmla="*/ 1725263 h 5858728"/>
                <a:gd name="connsiteX66" fmla="*/ 2325664 w 8950465"/>
                <a:gd name="connsiteY66" fmla="*/ 1923326 h 5858728"/>
                <a:gd name="connsiteX67" fmla="*/ 1214076 w 8950465"/>
                <a:gd name="connsiteY67" fmla="*/ 2040152 h 5858728"/>
                <a:gd name="connsiteX68" fmla="*/ 2296889 w 8950465"/>
                <a:gd name="connsiteY68" fmla="*/ 3250645 h 5858728"/>
                <a:gd name="connsiteX69" fmla="*/ 3162061 w 8950465"/>
                <a:gd name="connsiteY69" fmla="*/ 1889907 h 5858728"/>
                <a:gd name="connsiteX70" fmla="*/ 2742770 w 8950465"/>
                <a:gd name="connsiteY70" fmla="*/ 1393444 h 5858728"/>
                <a:gd name="connsiteX71" fmla="*/ 1908669 w 8950465"/>
                <a:gd name="connsiteY71" fmla="*/ 1285665 h 5858728"/>
                <a:gd name="connsiteX72" fmla="*/ 1247426 w 8950465"/>
                <a:gd name="connsiteY72" fmla="*/ 1956867 h 5858728"/>
                <a:gd name="connsiteX73" fmla="*/ 2215350 w 8950465"/>
                <a:gd name="connsiteY73" fmla="*/ 1843866 h 5858728"/>
                <a:gd name="connsiteX74" fmla="*/ 2131483 w 8950465"/>
                <a:gd name="connsiteY74" fmla="*/ 1659192 h 5858728"/>
                <a:gd name="connsiteX75" fmla="*/ 3130631 w 8950465"/>
                <a:gd name="connsiteY75" fmla="*/ 1825795 h 5858728"/>
                <a:gd name="connsiteX76" fmla="*/ 2742770 w 8950465"/>
                <a:gd name="connsiteY76" fmla="*/ 1393444 h 5858728"/>
                <a:gd name="connsiteX77" fmla="*/ 8175767 w 8950465"/>
                <a:gd name="connsiteY77" fmla="*/ 4451277 h 5858728"/>
                <a:gd name="connsiteX78" fmla="*/ 8133086 w 8950465"/>
                <a:gd name="connsiteY78" fmla="*/ 4442632 h 5858728"/>
                <a:gd name="connsiteX79" fmla="*/ 4607970 w 8950465"/>
                <a:gd name="connsiteY79" fmla="*/ 4440312 h 5858728"/>
                <a:gd name="connsiteX80" fmla="*/ 4498232 w 8950465"/>
                <a:gd name="connsiteY80" fmla="*/ 4549907 h 5858728"/>
                <a:gd name="connsiteX81" fmla="*/ 4498172 w 8950465"/>
                <a:gd name="connsiteY81" fmla="*/ 4641332 h 5858728"/>
                <a:gd name="connsiteX82" fmla="*/ 4607766 w 8950465"/>
                <a:gd name="connsiteY82" fmla="*/ 4751069 h 5858728"/>
                <a:gd name="connsiteX83" fmla="*/ 8132881 w 8950465"/>
                <a:gd name="connsiteY83" fmla="*/ 4753388 h 5858728"/>
                <a:gd name="connsiteX84" fmla="*/ 8242619 w 8950465"/>
                <a:gd name="connsiteY84" fmla="*/ 4643794 h 5858728"/>
                <a:gd name="connsiteX85" fmla="*/ 8242679 w 8950465"/>
                <a:gd name="connsiteY85" fmla="*/ 4552369 h 5858728"/>
                <a:gd name="connsiteX86" fmla="*/ 8175767 w 8950465"/>
                <a:gd name="connsiteY86" fmla="*/ 4451277 h 5858728"/>
                <a:gd name="connsiteX87" fmla="*/ 8173334 w 8950465"/>
                <a:gd name="connsiteY87" fmla="*/ 3694350 h 5858728"/>
                <a:gd name="connsiteX88" fmla="*/ 8130652 w 8950465"/>
                <a:gd name="connsiteY88" fmla="*/ 3685704 h 5858728"/>
                <a:gd name="connsiteX89" fmla="*/ 4605538 w 8950465"/>
                <a:gd name="connsiteY89" fmla="*/ 3683387 h 5858728"/>
                <a:gd name="connsiteX90" fmla="*/ 4495800 w 8950465"/>
                <a:gd name="connsiteY90" fmla="*/ 3792981 h 5858728"/>
                <a:gd name="connsiteX91" fmla="*/ 4495740 w 8950465"/>
                <a:gd name="connsiteY91" fmla="*/ 3884406 h 5858728"/>
                <a:gd name="connsiteX92" fmla="*/ 4605333 w 8950465"/>
                <a:gd name="connsiteY92" fmla="*/ 3994144 h 5858728"/>
                <a:gd name="connsiteX93" fmla="*/ 8130448 w 8950465"/>
                <a:gd name="connsiteY93" fmla="*/ 3996461 h 5858728"/>
                <a:gd name="connsiteX94" fmla="*/ 8240186 w 8950465"/>
                <a:gd name="connsiteY94" fmla="*/ 3886867 h 5858728"/>
                <a:gd name="connsiteX95" fmla="*/ 8240246 w 8950465"/>
                <a:gd name="connsiteY95" fmla="*/ 3795443 h 5858728"/>
                <a:gd name="connsiteX96" fmla="*/ 8173334 w 8950465"/>
                <a:gd name="connsiteY96" fmla="*/ 3694350 h 5858728"/>
                <a:gd name="connsiteX97" fmla="*/ 8177855 w 8950465"/>
                <a:gd name="connsiteY97" fmla="*/ 2963452 h 5858728"/>
                <a:gd name="connsiteX98" fmla="*/ 8135174 w 8950465"/>
                <a:gd name="connsiteY98" fmla="*/ 2954806 h 5858728"/>
                <a:gd name="connsiteX99" fmla="*/ 4610059 w 8950465"/>
                <a:gd name="connsiteY99" fmla="*/ 2952488 h 5858728"/>
                <a:gd name="connsiteX100" fmla="*/ 4500321 w 8950465"/>
                <a:gd name="connsiteY100" fmla="*/ 3062082 h 5858728"/>
                <a:gd name="connsiteX101" fmla="*/ 4500261 w 8950465"/>
                <a:gd name="connsiteY101" fmla="*/ 3153507 h 5858728"/>
                <a:gd name="connsiteX102" fmla="*/ 4609855 w 8950465"/>
                <a:gd name="connsiteY102" fmla="*/ 3263245 h 5858728"/>
                <a:gd name="connsiteX103" fmla="*/ 8134969 w 8950465"/>
                <a:gd name="connsiteY103" fmla="*/ 3265563 h 5858728"/>
                <a:gd name="connsiteX104" fmla="*/ 8244707 w 8950465"/>
                <a:gd name="connsiteY104" fmla="*/ 3155969 h 5858728"/>
                <a:gd name="connsiteX105" fmla="*/ 8244768 w 8950465"/>
                <a:gd name="connsiteY105" fmla="*/ 3064544 h 5858728"/>
                <a:gd name="connsiteX106" fmla="*/ 8177855 w 8950465"/>
                <a:gd name="connsiteY106" fmla="*/ 2963452 h 5858728"/>
                <a:gd name="connsiteX107" fmla="*/ 8170954 w 8950465"/>
                <a:gd name="connsiteY107" fmla="*/ 2233284 h 5858728"/>
                <a:gd name="connsiteX108" fmla="*/ 8128273 w 8950465"/>
                <a:gd name="connsiteY108" fmla="*/ 2224637 h 5858728"/>
                <a:gd name="connsiteX109" fmla="*/ 4603159 w 8950465"/>
                <a:gd name="connsiteY109" fmla="*/ 2222320 h 5858728"/>
                <a:gd name="connsiteX110" fmla="*/ 4493420 w 8950465"/>
                <a:gd name="connsiteY110" fmla="*/ 2331915 h 5858728"/>
                <a:gd name="connsiteX111" fmla="*/ 4493360 w 8950465"/>
                <a:gd name="connsiteY111" fmla="*/ 2423339 h 5858728"/>
                <a:gd name="connsiteX112" fmla="*/ 4602954 w 8950465"/>
                <a:gd name="connsiteY112" fmla="*/ 2533077 h 5858728"/>
                <a:gd name="connsiteX113" fmla="*/ 8128069 w 8950465"/>
                <a:gd name="connsiteY113" fmla="*/ 2535394 h 5858728"/>
                <a:gd name="connsiteX114" fmla="*/ 8237807 w 8950465"/>
                <a:gd name="connsiteY114" fmla="*/ 2425800 h 5858728"/>
                <a:gd name="connsiteX115" fmla="*/ 8237867 w 8950465"/>
                <a:gd name="connsiteY115" fmla="*/ 2334375 h 5858728"/>
                <a:gd name="connsiteX116" fmla="*/ 8170954 w 8950465"/>
                <a:gd name="connsiteY116" fmla="*/ 2233284 h 5858728"/>
                <a:gd name="connsiteX117" fmla="*/ 8474850 w 8950465"/>
                <a:gd name="connsiteY117" fmla="*/ 109688 h 5858728"/>
                <a:gd name="connsiteX118" fmla="*/ 8950465 w 8950465"/>
                <a:gd name="connsiteY118" fmla="*/ 908806 h 5858728"/>
                <a:gd name="connsiteX119" fmla="*/ 8950465 w 8950465"/>
                <a:gd name="connsiteY119" fmla="*/ 4949923 h 5858728"/>
                <a:gd name="connsiteX120" fmla="*/ 8041227 w 8950465"/>
                <a:gd name="connsiteY120" fmla="*/ 5808166 h 5858728"/>
                <a:gd name="connsiteX121" fmla="*/ 934091 w 8950465"/>
                <a:gd name="connsiteY121" fmla="*/ 5858728 h 5858728"/>
                <a:gd name="connsiteX122" fmla="*/ 50563 w 8950465"/>
                <a:gd name="connsiteY122" fmla="*/ 4949707 h 5858728"/>
                <a:gd name="connsiteX123" fmla="*/ -2 w 8950465"/>
                <a:gd name="connsiteY123" fmla="*/ 909018 h 5858728"/>
                <a:gd name="connsiteX124" fmla="*/ 934091 w 8950465"/>
                <a:gd name="connsiteY124" fmla="*/ 0 h 5858728"/>
                <a:gd name="connsiteX125" fmla="*/ 2033885 w 8950465"/>
                <a:gd name="connsiteY125" fmla="*/ 0 h 5858728"/>
                <a:gd name="connsiteX126" fmla="*/ 2033885 w 8950465"/>
                <a:gd name="connsiteY126" fmla="*/ 498540 h 5858728"/>
                <a:gd name="connsiteX127" fmla="*/ 2645805 w 8950465"/>
                <a:gd name="connsiteY127" fmla="*/ 1110460 h 5858728"/>
                <a:gd name="connsiteX128" fmla="*/ 6322068 w 8950465"/>
                <a:gd name="connsiteY128" fmla="*/ 1085186 h 5858728"/>
                <a:gd name="connsiteX129" fmla="*/ 6934194 w 8950465"/>
                <a:gd name="connsiteY129" fmla="*/ 498540 h 5858728"/>
                <a:gd name="connsiteX130" fmla="*/ 6934194 w 8950465"/>
                <a:gd name="connsiteY130" fmla="*/ 0 h 5858728"/>
                <a:gd name="connsiteX131" fmla="*/ 8041659 w 8950465"/>
                <a:gd name="connsiteY131" fmla="*/ 0 h 5858728"/>
                <a:gd name="connsiteX132" fmla="*/ 8474850 w 8950465"/>
                <a:gd name="connsiteY132" fmla="*/ 109688 h 5858728"/>
                <a:gd name="connsiteX0" fmla="*/ 1875541 w 8950465"/>
                <a:gd name="connsiteY0" fmla="*/ 4432622 h 5858728"/>
                <a:gd name="connsiteX1" fmla="*/ 2379876 w 8950465"/>
                <a:gd name="connsiteY1" fmla="*/ 4887349 h 5858728"/>
                <a:gd name="connsiteX2" fmla="*/ 2260469 w 8950465"/>
                <a:gd name="connsiteY2" fmla="*/ 4987528 h 5858728"/>
                <a:gd name="connsiteX3" fmla="*/ 1824034 w 8950465"/>
                <a:gd name="connsiteY3" fmla="*/ 4589127 h 5858728"/>
                <a:gd name="connsiteX4" fmla="*/ 1875541 w 8950465"/>
                <a:gd name="connsiteY4" fmla="*/ 4432622 h 5858728"/>
                <a:gd name="connsiteX5" fmla="*/ 1972968 w 8950465"/>
                <a:gd name="connsiteY5" fmla="*/ 4178550 h 5858728"/>
                <a:gd name="connsiteX6" fmla="*/ 2574344 w 8950465"/>
                <a:gd name="connsiteY6" fmla="*/ 4709227 h 5858728"/>
                <a:gd name="connsiteX7" fmla="*/ 2460881 w 8950465"/>
                <a:gd name="connsiteY7" fmla="*/ 4809499 h 5858728"/>
                <a:gd name="connsiteX8" fmla="*/ 1922858 w 8950465"/>
                <a:gd name="connsiteY8" fmla="*/ 4327451 h 5858728"/>
                <a:gd name="connsiteX9" fmla="*/ 1972968 w 8950465"/>
                <a:gd name="connsiteY9" fmla="*/ 4178550 h 5858728"/>
                <a:gd name="connsiteX10" fmla="*/ 2071518 w 8950465"/>
                <a:gd name="connsiteY10" fmla="*/ 3925127 h 5858728"/>
                <a:gd name="connsiteX11" fmla="*/ 2483238 w 8950465"/>
                <a:gd name="connsiteY11" fmla="*/ 4293656 h 5858728"/>
                <a:gd name="connsiteX12" fmla="*/ 2593566 w 8950465"/>
                <a:gd name="connsiteY12" fmla="*/ 4587809 h 5858728"/>
                <a:gd name="connsiteX13" fmla="*/ 2014490 w 8950465"/>
                <a:gd name="connsiteY13" fmla="*/ 4073026 h 5858728"/>
                <a:gd name="connsiteX14" fmla="*/ 2071518 w 8950465"/>
                <a:gd name="connsiteY14" fmla="*/ 3925127 h 5858728"/>
                <a:gd name="connsiteX15" fmla="*/ 2285202 w 8950465"/>
                <a:gd name="connsiteY15" fmla="*/ 3773334 h 5858728"/>
                <a:gd name="connsiteX16" fmla="*/ 2285705 w 8950465"/>
                <a:gd name="connsiteY16" fmla="*/ 3773641 h 5858728"/>
                <a:gd name="connsiteX17" fmla="*/ 2285030 w 8950465"/>
                <a:gd name="connsiteY17" fmla="*/ 3773354 h 5858728"/>
                <a:gd name="connsiteX18" fmla="*/ 2285202 w 8950465"/>
                <a:gd name="connsiteY18" fmla="*/ 3773334 h 5858728"/>
                <a:gd name="connsiteX19" fmla="*/ 2341210 w 8950465"/>
                <a:gd name="connsiteY19" fmla="*/ 3709127 h 5858728"/>
                <a:gd name="connsiteX20" fmla="*/ 2273690 w 8950465"/>
                <a:gd name="connsiteY20" fmla="*/ 3768327 h 5858728"/>
                <a:gd name="connsiteX21" fmla="*/ 2281999 w 8950465"/>
                <a:gd name="connsiteY21" fmla="*/ 3772067 h 5858728"/>
                <a:gd name="connsiteX22" fmla="*/ 2285030 w 8950465"/>
                <a:gd name="connsiteY22" fmla="*/ 3773354 h 5858728"/>
                <a:gd name="connsiteX23" fmla="*/ 2283970 w 8950465"/>
                <a:gd name="connsiteY23" fmla="*/ 3773482 h 5858728"/>
                <a:gd name="connsiteX24" fmla="*/ 2293798 w 8950465"/>
                <a:gd name="connsiteY24" fmla="*/ 3780164 h 5858728"/>
                <a:gd name="connsiteX25" fmla="*/ 2404698 w 8950465"/>
                <a:gd name="connsiteY25" fmla="*/ 4075583 h 5858728"/>
                <a:gd name="connsiteX26" fmla="*/ 2116023 w 8950465"/>
                <a:gd name="connsiteY26" fmla="*/ 3813339 h 5858728"/>
                <a:gd name="connsiteX27" fmla="*/ 2079554 w 8950465"/>
                <a:gd name="connsiteY27" fmla="*/ 3707627 h 5858728"/>
                <a:gd name="connsiteX28" fmla="*/ 1718396 w 8950465"/>
                <a:gd name="connsiteY28" fmla="*/ 4661938 h 5858728"/>
                <a:gd name="connsiteX29" fmla="*/ 2210145 w 8950465"/>
                <a:gd name="connsiteY29" fmla="*/ 5091104 h 5858728"/>
                <a:gd name="connsiteX30" fmla="*/ 2692433 w 8950465"/>
                <a:gd name="connsiteY30" fmla="*/ 4660009 h 5858728"/>
                <a:gd name="connsiteX31" fmla="*/ 2341210 w 8950465"/>
                <a:gd name="connsiteY31" fmla="*/ 3709127 h 5858728"/>
                <a:gd name="connsiteX32" fmla="*/ 2507339 w 8950465"/>
                <a:gd name="connsiteY32" fmla="*/ 3279357 h 5858728"/>
                <a:gd name="connsiteX33" fmla="*/ 1903927 w 8950465"/>
                <a:gd name="connsiteY33" fmla="*/ 3279929 h 5858728"/>
                <a:gd name="connsiteX34" fmla="*/ 1866887 w 8950465"/>
                <a:gd name="connsiteY34" fmla="*/ 3439228 h 5858728"/>
                <a:gd name="connsiteX35" fmla="*/ 2145415 w 8950465"/>
                <a:gd name="connsiteY35" fmla="*/ 3726569 h 5858728"/>
                <a:gd name="connsiteX36" fmla="*/ 2257928 w 8950465"/>
                <a:gd name="connsiteY36" fmla="*/ 3741824 h 5858728"/>
                <a:gd name="connsiteX37" fmla="*/ 2562604 w 8950465"/>
                <a:gd name="connsiteY37" fmla="*/ 3433968 h 5858728"/>
                <a:gd name="connsiteX38" fmla="*/ 2507339 w 8950465"/>
                <a:gd name="connsiteY38" fmla="*/ 3279357 h 5858728"/>
                <a:gd name="connsiteX39" fmla="*/ 3436036 w 8950465"/>
                <a:gd name="connsiteY39" fmla="*/ 3027962 h 5858728"/>
                <a:gd name="connsiteX40" fmla="*/ 3359057 w 8950465"/>
                <a:gd name="connsiteY40" fmla="*/ 2996318 h 5858728"/>
                <a:gd name="connsiteX41" fmla="*/ 3004377 w 8950465"/>
                <a:gd name="connsiteY41" fmla="*/ 2978709 h 5858728"/>
                <a:gd name="connsiteX42" fmla="*/ 2588657 w 8950465"/>
                <a:gd name="connsiteY42" fmla="*/ 3254338 h 5858728"/>
                <a:gd name="connsiteX43" fmla="*/ 2408106 w 8950465"/>
                <a:gd name="connsiteY43" fmla="*/ 3689332 h 5858728"/>
                <a:gd name="connsiteX44" fmla="*/ 2772224 w 8950465"/>
                <a:gd name="connsiteY44" fmla="*/ 4674898 h 5858728"/>
                <a:gd name="connsiteX45" fmla="*/ 2209987 w 8950465"/>
                <a:gd name="connsiteY45" fmla="*/ 5175921 h 5858728"/>
                <a:gd name="connsiteX46" fmla="*/ 1639861 w 8950465"/>
                <a:gd name="connsiteY46" fmla="*/ 4673723 h 5858728"/>
                <a:gd name="connsiteX47" fmla="*/ 2018938 w 8950465"/>
                <a:gd name="connsiteY47" fmla="*/ 3692376 h 5858728"/>
                <a:gd name="connsiteX48" fmla="*/ 1830721 w 8950465"/>
                <a:gd name="connsiteY48" fmla="*/ 3261869 h 5858728"/>
                <a:gd name="connsiteX49" fmla="*/ 1420665 w 8950465"/>
                <a:gd name="connsiteY49" fmla="*/ 2972526 h 5858728"/>
                <a:gd name="connsiteX50" fmla="*/ 1057719 w 8950465"/>
                <a:gd name="connsiteY50" fmla="*/ 2996354 h 5858728"/>
                <a:gd name="connsiteX51" fmla="*/ 698925 w 8950465"/>
                <a:gd name="connsiteY51" fmla="*/ 3478975 h 5858728"/>
                <a:gd name="connsiteX52" fmla="*/ 690518 w 8950465"/>
                <a:gd name="connsiteY52" fmla="*/ 5181466 h 5858728"/>
                <a:gd name="connsiteX53" fmla="*/ 1253495 w 8950465"/>
                <a:gd name="connsiteY53" fmla="*/ 5182572 h 5858728"/>
                <a:gd name="connsiteX54" fmla="*/ 1255664 w 8950465"/>
                <a:gd name="connsiteY54" fmla="*/ 3776157 h 5858728"/>
                <a:gd name="connsiteX55" fmla="*/ 1401633 w 8950465"/>
                <a:gd name="connsiteY55" fmla="*/ 3751556 h 5858728"/>
                <a:gd name="connsiteX56" fmla="*/ 1398185 w 8950465"/>
                <a:gd name="connsiteY56" fmla="*/ 5180612 h 5858728"/>
                <a:gd name="connsiteX57" fmla="*/ 3015635 w 8950465"/>
                <a:gd name="connsiteY57" fmla="*/ 5181867 h 5858728"/>
                <a:gd name="connsiteX58" fmla="*/ 3022029 w 8950465"/>
                <a:gd name="connsiteY58" fmla="*/ 3751912 h 5858728"/>
                <a:gd name="connsiteX59" fmla="*/ 3158721 w 8950465"/>
                <a:gd name="connsiteY59" fmla="*/ 3741510 h 5858728"/>
                <a:gd name="connsiteX60" fmla="*/ 3147106 w 8950465"/>
                <a:gd name="connsiteY60" fmla="*/ 5183179 h 5858728"/>
                <a:gd name="connsiteX61" fmla="*/ 3711517 w 8950465"/>
                <a:gd name="connsiteY61" fmla="*/ 5182347 h 5858728"/>
                <a:gd name="connsiteX62" fmla="*/ 3716758 w 8950465"/>
                <a:gd name="connsiteY62" fmla="*/ 3478402 h 5858728"/>
                <a:gd name="connsiteX63" fmla="*/ 3436036 w 8950465"/>
                <a:gd name="connsiteY63" fmla="*/ 3027962 h 5858728"/>
                <a:gd name="connsiteX64" fmla="*/ 3162061 w 8950465"/>
                <a:gd name="connsiteY64" fmla="*/ 1889907 h 5858728"/>
                <a:gd name="connsiteX65" fmla="*/ 2228357 w 8950465"/>
                <a:gd name="connsiteY65" fmla="*/ 1725263 h 5858728"/>
                <a:gd name="connsiteX66" fmla="*/ 2325664 w 8950465"/>
                <a:gd name="connsiteY66" fmla="*/ 1923326 h 5858728"/>
                <a:gd name="connsiteX67" fmla="*/ 1214076 w 8950465"/>
                <a:gd name="connsiteY67" fmla="*/ 2040152 h 5858728"/>
                <a:gd name="connsiteX68" fmla="*/ 2296889 w 8950465"/>
                <a:gd name="connsiteY68" fmla="*/ 3250645 h 5858728"/>
                <a:gd name="connsiteX69" fmla="*/ 3162061 w 8950465"/>
                <a:gd name="connsiteY69" fmla="*/ 1889907 h 5858728"/>
                <a:gd name="connsiteX70" fmla="*/ 2742770 w 8950465"/>
                <a:gd name="connsiteY70" fmla="*/ 1393444 h 5858728"/>
                <a:gd name="connsiteX71" fmla="*/ 1908669 w 8950465"/>
                <a:gd name="connsiteY71" fmla="*/ 1285665 h 5858728"/>
                <a:gd name="connsiteX72" fmla="*/ 1247426 w 8950465"/>
                <a:gd name="connsiteY72" fmla="*/ 1956867 h 5858728"/>
                <a:gd name="connsiteX73" fmla="*/ 2215350 w 8950465"/>
                <a:gd name="connsiteY73" fmla="*/ 1843866 h 5858728"/>
                <a:gd name="connsiteX74" fmla="*/ 2131483 w 8950465"/>
                <a:gd name="connsiteY74" fmla="*/ 1659192 h 5858728"/>
                <a:gd name="connsiteX75" fmla="*/ 3130631 w 8950465"/>
                <a:gd name="connsiteY75" fmla="*/ 1825795 h 5858728"/>
                <a:gd name="connsiteX76" fmla="*/ 2742770 w 8950465"/>
                <a:gd name="connsiteY76" fmla="*/ 1393444 h 5858728"/>
                <a:gd name="connsiteX77" fmla="*/ 8175767 w 8950465"/>
                <a:gd name="connsiteY77" fmla="*/ 4451277 h 5858728"/>
                <a:gd name="connsiteX78" fmla="*/ 8133086 w 8950465"/>
                <a:gd name="connsiteY78" fmla="*/ 4442632 h 5858728"/>
                <a:gd name="connsiteX79" fmla="*/ 4607970 w 8950465"/>
                <a:gd name="connsiteY79" fmla="*/ 4440312 h 5858728"/>
                <a:gd name="connsiteX80" fmla="*/ 4498232 w 8950465"/>
                <a:gd name="connsiteY80" fmla="*/ 4549907 h 5858728"/>
                <a:gd name="connsiteX81" fmla="*/ 4498172 w 8950465"/>
                <a:gd name="connsiteY81" fmla="*/ 4641332 h 5858728"/>
                <a:gd name="connsiteX82" fmla="*/ 4607766 w 8950465"/>
                <a:gd name="connsiteY82" fmla="*/ 4751069 h 5858728"/>
                <a:gd name="connsiteX83" fmla="*/ 8132881 w 8950465"/>
                <a:gd name="connsiteY83" fmla="*/ 4753388 h 5858728"/>
                <a:gd name="connsiteX84" fmla="*/ 8242619 w 8950465"/>
                <a:gd name="connsiteY84" fmla="*/ 4643794 h 5858728"/>
                <a:gd name="connsiteX85" fmla="*/ 8242679 w 8950465"/>
                <a:gd name="connsiteY85" fmla="*/ 4552369 h 5858728"/>
                <a:gd name="connsiteX86" fmla="*/ 8175767 w 8950465"/>
                <a:gd name="connsiteY86" fmla="*/ 4451277 h 5858728"/>
                <a:gd name="connsiteX87" fmla="*/ 8173334 w 8950465"/>
                <a:gd name="connsiteY87" fmla="*/ 3694350 h 5858728"/>
                <a:gd name="connsiteX88" fmla="*/ 8130652 w 8950465"/>
                <a:gd name="connsiteY88" fmla="*/ 3685704 h 5858728"/>
                <a:gd name="connsiteX89" fmla="*/ 4605538 w 8950465"/>
                <a:gd name="connsiteY89" fmla="*/ 3683387 h 5858728"/>
                <a:gd name="connsiteX90" fmla="*/ 4495800 w 8950465"/>
                <a:gd name="connsiteY90" fmla="*/ 3792981 h 5858728"/>
                <a:gd name="connsiteX91" fmla="*/ 4495740 w 8950465"/>
                <a:gd name="connsiteY91" fmla="*/ 3884406 h 5858728"/>
                <a:gd name="connsiteX92" fmla="*/ 4605333 w 8950465"/>
                <a:gd name="connsiteY92" fmla="*/ 3994144 h 5858728"/>
                <a:gd name="connsiteX93" fmla="*/ 8130448 w 8950465"/>
                <a:gd name="connsiteY93" fmla="*/ 3996461 h 5858728"/>
                <a:gd name="connsiteX94" fmla="*/ 8240186 w 8950465"/>
                <a:gd name="connsiteY94" fmla="*/ 3886867 h 5858728"/>
                <a:gd name="connsiteX95" fmla="*/ 8240246 w 8950465"/>
                <a:gd name="connsiteY95" fmla="*/ 3795443 h 5858728"/>
                <a:gd name="connsiteX96" fmla="*/ 8173334 w 8950465"/>
                <a:gd name="connsiteY96" fmla="*/ 3694350 h 5858728"/>
                <a:gd name="connsiteX97" fmla="*/ 8177855 w 8950465"/>
                <a:gd name="connsiteY97" fmla="*/ 2963452 h 5858728"/>
                <a:gd name="connsiteX98" fmla="*/ 8135174 w 8950465"/>
                <a:gd name="connsiteY98" fmla="*/ 2954806 h 5858728"/>
                <a:gd name="connsiteX99" fmla="*/ 4610059 w 8950465"/>
                <a:gd name="connsiteY99" fmla="*/ 2952488 h 5858728"/>
                <a:gd name="connsiteX100" fmla="*/ 4500321 w 8950465"/>
                <a:gd name="connsiteY100" fmla="*/ 3062082 h 5858728"/>
                <a:gd name="connsiteX101" fmla="*/ 4500261 w 8950465"/>
                <a:gd name="connsiteY101" fmla="*/ 3153507 h 5858728"/>
                <a:gd name="connsiteX102" fmla="*/ 4609855 w 8950465"/>
                <a:gd name="connsiteY102" fmla="*/ 3263245 h 5858728"/>
                <a:gd name="connsiteX103" fmla="*/ 8134969 w 8950465"/>
                <a:gd name="connsiteY103" fmla="*/ 3265563 h 5858728"/>
                <a:gd name="connsiteX104" fmla="*/ 8244707 w 8950465"/>
                <a:gd name="connsiteY104" fmla="*/ 3155969 h 5858728"/>
                <a:gd name="connsiteX105" fmla="*/ 8244768 w 8950465"/>
                <a:gd name="connsiteY105" fmla="*/ 3064544 h 5858728"/>
                <a:gd name="connsiteX106" fmla="*/ 8177855 w 8950465"/>
                <a:gd name="connsiteY106" fmla="*/ 2963452 h 5858728"/>
                <a:gd name="connsiteX107" fmla="*/ 8170954 w 8950465"/>
                <a:gd name="connsiteY107" fmla="*/ 2233284 h 5858728"/>
                <a:gd name="connsiteX108" fmla="*/ 8128273 w 8950465"/>
                <a:gd name="connsiteY108" fmla="*/ 2224637 h 5858728"/>
                <a:gd name="connsiteX109" fmla="*/ 4603159 w 8950465"/>
                <a:gd name="connsiteY109" fmla="*/ 2222320 h 5858728"/>
                <a:gd name="connsiteX110" fmla="*/ 4493420 w 8950465"/>
                <a:gd name="connsiteY110" fmla="*/ 2331915 h 5858728"/>
                <a:gd name="connsiteX111" fmla="*/ 4493360 w 8950465"/>
                <a:gd name="connsiteY111" fmla="*/ 2423339 h 5858728"/>
                <a:gd name="connsiteX112" fmla="*/ 4602954 w 8950465"/>
                <a:gd name="connsiteY112" fmla="*/ 2533077 h 5858728"/>
                <a:gd name="connsiteX113" fmla="*/ 8128069 w 8950465"/>
                <a:gd name="connsiteY113" fmla="*/ 2535394 h 5858728"/>
                <a:gd name="connsiteX114" fmla="*/ 8237807 w 8950465"/>
                <a:gd name="connsiteY114" fmla="*/ 2425800 h 5858728"/>
                <a:gd name="connsiteX115" fmla="*/ 8237867 w 8950465"/>
                <a:gd name="connsiteY115" fmla="*/ 2334375 h 5858728"/>
                <a:gd name="connsiteX116" fmla="*/ 8170954 w 8950465"/>
                <a:gd name="connsiteY116" fmla="*/ 2233284 h 5858728"/>
                <a:gd name="connsiteX117" fmla="*/ 8474850 w 8950465"/>
                <a:gd name="connsiteY117" fmla="*/ 109688 h 5858728"/>
                <a:gd name="connsiteX118" fmla="*/ 8950465 w 8950465"/>
                <a:gd name="connsiteY118" fmla="*/ 908806 h 5858728"/>
                <a:gd name="connsiteX119" fmla="*/ 8950465 w 8950465"/>
                <a:gd name="connsiteY119" fmla="*/ 4949923 h 5858728"/>
                <a:gd name="connsiteX120" fmla="*/ 8066284 w 8950465"/>
                <a:gd name="connsiteY120" fmla="*/ 5782665 h 5858728"/>
                <a:gd name="connsiteX121" fmla="*/ 934091 w 8950465"/>
                <a:gd name="connsiteY121" fmla="*/ 5858728 h 5858728"/>
                <a:gd name="connsiteX122" fmla="*/ 50563 w 8950465"/>
                <a:gd name="connsiteY122" fmla="*/ 4949707 h 5858728"/>
                <a:gd name="connsiteX123" fmla="*/ -2 w 8950465"/>
                <a:gd name="connsiteY123" fmla="*/ 909018 h 5858728"/>
                <a:gd name="connsiteX124" fmla="*/ 934091 w 8950465"/>
                <a:gd name="connsiteY124" fmla="*/ 0 h 5858728"/>
                <a:gd name="connsiteX125" fmla="*/ 2033885 w 8950465"/>
                <a:gd name="connsiteY125" fmla="*/ 0 h 5858728"/>
                <a:gd name="connsiteX126" fmla="*/ 2033885 w 8950465"/>
                <a:gd name="connsiteY126" fmla="*/ 498540 h 5858728"/>
                <a:gd name="connsiteX127" fmla="*/ 2645805 w 8950465"/>
                <a:gd name="connsiteY127" fmla="*/ 1110460 h 5858728"/>
                <a:gd name="connsiteX128" fmla="*/ 6322068 w 8950465"/>
                <a:gd name="connsiteY128" fmla="*/ 1085186 h 5858728"/>
                <a:gd name="connsiteX129" fmla="*/ 6934194 w 8950465"/>
                <a:gd name="connsiteY129" fmla="*/ 498540 h 5858728"/>
                <a:gd name="connsiteX130" fmla="*/ 6934194 w 8950465"/>
                <a:gd name="connsiteY130" fmla="*/ 0 h 5858728"/>
                <a:gd name="connsiteX131" fmla="*/ 8041659 w 8950465"/>
                <a:gd name="connsiteY131" fmla="*/ 0 h 5858728"/>
                <a:gd name="connsiteX132" fmla="*/ 8474850 w 8950465"/>
                <a:gd name="connsiteY132" fmla="*/ 109688 h 5858728"/>
                <a:gd name="connsiteX0" fmla="*/ 1875541 w 8950465"/>
                <a:gd name="connsiteY0" fmla="*/ 4432622 h 5858728"/>
                <a:gd name="connsiteX1" fmla="*/ 2379876 w 8950465"/>
                <a:gd name="connsiteY1" fmla="*/ 4887349 h 5858728"/>
                <a:gd name="connsiteX2" fmla="*/ 2260469 w 8950465"/>
                <a:gd name="connsiteY2" fmla="*/ 4987528 h 5858728"/>
                <a:gd name="connsiteX3" fmla="*/ 1824034 w 8950465"/>
                <a:gd name="connsiteY3" fmla="*/ 4589127 h 5858728"/>
                <a:gd name="connsiteX4" fmla="*/ 1875541 w 8950465"/>
                <a:gd name="connsiteY4" fmla="*/ 4432622 h 5858728"/>
                <a:gd name="connsiteX5" fmla="*/ 1972968 w 8950465"/>
                <a:gd name="connsiteY5" fmla="*/ 4178550 h 5858728"/>
                <a:gd name="connsiteX6" fmla="*/ 2574344 w 8950465"/>
                <a:gd name="connsiteY6" fmla="*/ 4709227 h 5858728"/>
                <a:gd name="connsiteX7" fmla="*/ 2460881 w 8950465"/>
                <a:gd name="connsiteY7" fmla="*/ 4809499 h 5858728"/>
                <a:gd name="connsiteX8" fmla="*/ 1922858 w 8950465"/>
                <a:gd name="connsiteY8" fmla="*/ 4327451 h 5858728"/>
                <a:gd name="connsiteX9" fmla="*/ 1972968 w 8950465"/>
                <a:gd name="connsiteY9" fmla="*/ 4178550 h 5858728"/>
                <a:gd name="connsiteX10" fmla="*/ 2071518 w 8950465"/>
                <a:gd name="connsiteY10" fmla="*/ 3925127 h 5858728"/>
                <a:gd name="connsiteX11" fmla="*/ 2483238 w 8950465"/>
                <a:gd name="connsiteY11" fmla="*/ 4293656 h 5858728"/>
                <a:gd name="connsiteX12" fmla="*/ 2593566 w 8950465"/>
                <a:gd name="connsiteY12" fmla="*/ 4587809 h 5858728"/>
                <a:gd name="connsiteX13" fmla="*/ 2014490 w 8950465"/>
                <a:gd name="connsiteY13" fmla="*/ 4073026 h 5858728"/>
                <a:gd name="connsiteX14" fmla="*/ 2071518 w 8950465"/>
                <a:gd name="connsiteY14" fmla="*/ 3925127 h 5858728"/>
                <a:gd name="connsiteX15" fmla="*/ 2285202 w 8950465"/>
                <a:gd name="connsiteY15" fmla="*/ 3773334 h 5858728"/>
                <a:gd name="connsiteX16" fmla="*/ 2285705 w 8950465"/>
                <a:gd name="connsiteY16" fmla="*/ 3773641 h 5858728"/>
                <a:gd name="connsiteX17" fmla="*/ 2285030 w 8950465"/>
                <a:gd name="connsiteY17" fmla="*/ 3773354 h 5858728"/>
                <a:gd name="connsiteX18" fmla="*/ 2285202 w 8950465"/>
                <a:gd name="connsiteY18" fmla="*/ 3773334 h 5858728"/>
                <a:gd name="connsiteX19" fmla="*/ 2341210 w 8950465"/>
                <a:gd name="connsiteY19" fmla="*/ 3709127 h 5858728"/>
                <a:gd name="connsiteX20" fmla="*/ 2273690 w 8950465"/>
                <a:gd name="connsiteY20" fmla="*/ 3768327 h 5858728"/>
                <a:gd name="connsiteX21" fmla="*/ 2281999 w 8950465"/>
                <a:gd name="connsiteY21" fmla="*/ 3772067 h 5858728"/>
                <a:gd name="connsiteX22" fmla="*/ 2285030 w 8950465"/>
                <a:gd name="connsiteY22" fmla="*/ 3773354 h 5858728"/>
                <a:gd name="connsiteX23" fmla="*/ 2283970 w 8950465"/>
                <a:gd name="connsiteY23" fmla="*/ 3773482 h 5858728"/>
                <a:gd name="connsiteX24" fmla="*/ 2293798 w 8950465"/>
                <a:gd name="connsiteY24" fmla="*/ 3780164 h 5858728"/>
                <a:gd name="connsiteX25" fmla="*/ 2404698 w 8950465"/>
                <a:gd name="connsiteY25" fmla="*/ 4075583 h 5858728"/>
                <a:gd name="connsiteX26" fmla="*/ 2116023 w 8950465"/>
                <a:gd name="connsiteY26" fmla="*/ 3813339 h 5858728"/>
                <a:gd name="connsiteX27" fmla="*/ 2079554 w 8950465"/>
                <a:gd name="connsiteY27" fmla="*/ 3707627 h 5858728"/>
                <a:gd name="connsiteX28" fmla="*/ 1718396 w 8950465"/>
                <a:gd name="connsiteY28" fmla="*/ 4661938 h 5858728"/>
                <a:gd name="connsiteX29" fmla="*/ 2210145 w 8950465"/>
                <a:gd name="connsiteY29" fmla="*/ 5091104 h 5858728"/>
                <a:gd name="connsiteX30" fmla="*/ 2692433 w 8950465"/>
                <a:gd name="connsiteY30" fmla="*/ 4660009 h 5858728"/>
                <a:gd name="connsiteX31" fmla="*/ 2341210 w 8950465"/>
                <a:gd name="connsiteY31" fmla="*/ 3709127 h 5858728"/>
                <a:gd name="connsiteX32" fmla="*/ 2507339 w 8950465"/>
                <a:gd name="connsiteY32" fmla="*/ 3279357 h 5858728"/>
                <a:gd name="connsiteX33" fmla="*/ 1903927 w 8950465"/>
                <a:gd name="connsiteY33" fmla="*/ 3279929 h 5858728"/>
                <a:gd name="connsiteX34" fmla="*/ 1866887 w 8950465"/>
                <a:gd name="connsiteY34" fmla="*/ 3439228 h 5858728"/>
                <a:gd name="connsiteX35" fmla="*/ 2145415 w 8950465"/>
                <a:gd name="connsiteY35" fmla="*/ 3726569 h 5858728"/>
                <a:gd name="connsiteX36" fmla="*/ 2257928 w 8950465"/>
                <a:gd name="connsiteY36" fmla="*/ 3741824 h 5858728"/>
                <a:gd name="connsiteX37" fmla="*/ 2562604 w 8950465"/>
                <a:gd name="connsiteY37" fmla="*/ 3433968 h 5858728"/>
                <a:gd name="connsiteX38" fmla="*/ 2507339 w 8950465"/>
                <a:gd name="connsiteY38" fmla="*/ 3279357 h 5858728"/>
                <a:gd name="connsiteX39" fmla="*/ 3436036 w 8950465"/>
                <a:gd name="connsiteY39" fmla="*/ 3027962 h 5858728"/>
                <a:gd name="connsiteX40" fmla="*/ 3359057 w 8950465"/>
                <a:gd name="connsiteY40" fmla="*/ 2996318 h 5858728"/>
                <a:gd name="connsiteX41" fmla="*/ 3004377 w 8950465"/>
                <a:gd name="connsiteY41" fmla="*/ 2978709 h 5858728"/>
                <a:gd name="connsiteX42" fmla="*/ 2588657 w 8950465"/>
                <a:gd name="connsiteY42" fmla="*/ 3254338 h 5858728"/>
                <a:gd name="connsiteX43" fmla="*/ 2408106 w 8950465"/>
                <a:gd name="connsiteY43" fmla="*/ 3689332 h 5858728"/>
                <a:gd name="connsiteX44" fmla="*/ 2772224 w 8950465"/>
                <a:gd name="connsiteY44" fmla="*/ 4674898 h 5858728"/>
                <a:gd name="connsiteX45" fmla="*/ 2209987 w 8950465"/>
                <a:gd name="connsiteY45" fmla="*/ 5175921 h 5858728"/>
                <a:gd name="connsiteX46" fmla="*/ 1639861 w 8950465"/>
                <a:gd name="connsiteY46" fmla="*/ 4673723 h 5858728"/>
                <a:gd name="connsiteX47" fmla="*/ 2018938 w 8950465"/>
                <a:gd name="connsiteY47" fmla="*/ 3692376 h 5858728"/>
                <a:gd name="connsiteX48" fmla="*/ 1830721 w 8950465"/>
                <a:gd name="connsiteY48" fmla="*/ 3261869 h 5858728"/>
                <a:gd name="connsiteX49" fmla="*/ 1420665 w 8950465"/>
                <a:gd name="connsiteY49" fmla="*/ 2972526 h 5858728"/>
                <a:gd name="connsiteX50" fmla="*/ 1057719 w 8950465"/>
                <a:gd name="connsiteY50" fmla="*/ 2996354 h 5858728"/>
                <a:gd name="connsiteX51" fmla="*/ 698925 w 8950465"/>
                <a:gd name="connsiteY51" fmla="*/ 3478975 h 5858728"/>
                <a:gd name="connsiteX52" fmla="*/ 690518 w 8950465"/>
                <a:gd name="connsiteY52" fmla="*/ 5181466 h 5858728"/>
                <a:gd name="connsiteX53" fmla="*/ 1253495 w 8950465"/>
                <a:gd name="connsiteY53" fmla="*/ 5182572 h 5858728"/>
                <a:gd name="connsiteX54" fmla="*/ 1255664 w 8950465"/>
                <a:gd name="connsiteY54" fmla="*/ 3776157 h 5858728"/>
                <a:gd name="connsiteX55" fmla="*/ 1401633 w 8950465"/>
                <a:gd name="connsiteY55" fmla="*/ 3751556 h 5858728"/>
                <a:gd name="connsiteX56" fmla="*/ 1398185 w 8950465"/>
                <a:gd name="connsiteY56" fmla="*/ 5180612 h 5858728"/>
                <a:gd name="connsiteX57" fmla="*/ 3015635 w 8950465"/>
                <a:gd name="connsiteY57" fmla="*/ 5181867 h 5858728"/>
                <a:gd name="connsiteX58" fmla="*/ 3022029 w 8950465"/>
                <a:gd name="connsiteY58" fmla="*/ 3751912 h 5858728"/>
                <a:gd name="connsiteX59" fmla="*/ 3158721 w 8950465"/>
                <a:gd name="connsiteY59" fmla="*/ 3741510 h 5858728"/>
                <a:gd name="connsiteX60" fmla="*/ 3147106 w 8950465"/>
                <a:gd name="connsiteY60" fmla="*/ 5183179 h 5858728"/>
                <a:gd name="connsiteX61" fmla="*/ 3711517 w 8950465"/>
                <a:gd name="connsiteY61" fmla="*/ 5182347 h 5858728"/>
                <a:gd name="connsiteX62" fmla="*/ 3716758 w 8950465"/>
                <a:gd name="connsiteY62" fmla="*/ 3478402 h 5858728"/>
                <a:gd name="connsiteX63" fmla="*/ 3436036 w 8950465"/>
                <a:gd name="connsiteY63" fmla="*/ 3027962 h 5858728"/>
                <a:gd name="connsiteX64" fmla="*/ 3162061 w 8950465"/>
                <a:gd name="connsiteY64" fmla="*/ 1889907 h 5858728"/>
                <a:gd name="connsiteX65" fmla="*/ 2228357 w 8950465"/>
                <a:gd name="connsiteY65" fmla="*/ 1725263 h 5858728"/>
                <a:gd name="connsiteX66" fmla="*/ 2325664 w 8950465"/>
                <a:gd name="connsiteY66" fmla="*/ 1923326 h 5858728"/>
                <a:gd name="connsiteX67" fmla="*/ 1214076 w 8950465"/>
                <a:gd name="connsiteY67" fmla="*/ 2040152 h 5858728"/>
                <a:gd name="connsiteX68" fmla="*/ 2296889 w 8950465"/>
                <a:gd name="connsiteY68" fmla="*/ 3250645 h 5858728"/>
                <a:gd name="connsiteX69" fmla="*/ 3162061 w 8950465"/>
                <a:gd name="connsiteY69" fmla="*/ 1889907 h 5858728"/>
                <a:gd name="connsiteX70" fmla="*/ 2742770 w 8950465"/>
                <a:gd name="connsiteY70" fmla="*/ 1393444 h 5858728"/>
                <a:gd name="connsiteX71" fmla="*/ 1908669 w 8950465"/>
                <a:gd name="connsiteY71" fmla="*/ 1285665 h 5858728"/>
                <a:gd name="connsiteX72" fmla="*/ 1247426 w 8950465"/>
                <a:gd name="connsiteY72" fmla="*/ 1956867 h 5858728"/>
                <a:gd name="connsiteX73" fmla="*/ 2215350 w 8950465"/>
                <a:gd name="connsiteY73" fmla="*/ 1843866 h 5858728"/>
                <a:gd name="connsiteX74" fmla="*/ 2131483 w 8950465"/>
                <a:gd name="connsiteY74" fmla="*/ 1659192 h 5858728"/>
                <a:gd name="connsiteX75" fmla="*/ 3130631 w 8950465"/>
                <a:gd name="connsiteY75" fmla="*/ 1825795 h 5858728"/>
                <a:gd name="connsiteX76" fmla="*/ 2742770 w 8950465"/>
                <a:gd name="connsiteY76" fmla="*/ 1393444 h 5858728"/>
                <a:gd name="connsiteX77" fmla="*/ 8175767 w 8950465"/>
                <a:gd name="connsiteY77" fmla="*/ 4451277 h 5858728"/>
                <a:gd name="connsiteX78" fmla="*/ 8133086 w 8950465"/>
                <a:gd name="connsiteY78" fmla="*/ 4442632 h 5858728"/>
                <a:gd name="connsiteX79" fmla="*/ 4607970 w 8950465"/>
                <a:gd name="connsiteY79" fmla="*/ 4440312 h 5858728"/>
                <a:gd name="connsiteX80" fmla="*/ 4498232 w 8950465"/>
                <a:gd name="connsiteY80" fmla="*/ 4549907 h 5858728"/>
                <a:gd name="connsiteX81" fmla="*/ 4498172 w 8950465"/>
                <a:gd name="connsiteY81" fmla="*/ 4641332 h 5858728"/>
                <a:gd name="connsiteX82" fmla="*/ 4607766 w 8950465"/>
                <a:gd name="connsiteY82" fmla="*/ 4751069 h 5858728"/>
                <a:gd name="connsiteX83" fmla="*/ 8132881 w 8950465"/>
                <a:gd name="connsiteY83" fmla="*/ 4753388 h 5858728"/>
                <a:gd name="connsiteX84" fmla="*/ 8242619 w 8950465"/>
                <a:gd name="connsiteY84" fmla="*/ 4643794 h 5858728"/>
                <a:gd name="connsiteX85" fmla="*/ 8242679 w 8950465"/>
                <a:gd name="connsiteY85" fmla="*/ 4552369 h 5858728"/>
                <a:gd name="connsiteX86" fmla="*/ 8175767 w 8950465"/>
                <a:gd name="connsiteY86" fmla="*/ 4451277 h 5858728"/>
                <a:gd name="connsiteX87" fmla="*/ 8173334 w 8950465"/>
                <a:gd name="connsiteY87" fmla="*/ 3694350 h 5858728"/>
                <a:gd name="connsiteX88" fmla="*/ 8130652 w 8950465"/>
                <a:gd name="connsiteY88" fmla="*/ 3685704 h 5858728"/>
                <a:gd name="connsiteX89" fmla="*/ 4605538 w 8950465"/>
                <a:gd name="connsiteY89" fmla="*/ 3683387 h 5858728"/>
                <a:gd name="connsiteX90" fmla="*/ 4495800 w 8950465"/>
                <a:gd name="connsiteY90" fmla="*/ 3792981 h 5858728"/>
                <a:gd name="connsiteX91" fmla="*/ 4495740 w 8950465"/>
                <a:gd name="connsiteY91" fmla="*/ 3884406 h 5858728"/>
                <a:gd name="connsiteX92" fmla="*/ 4605333 w 8950465"/>
                <a:gd name="connsiteY92" fmla="*/ 3994144 h 5858728"/>
                <a:gd name="connsiteX93" fmla="*/ 8130448 w 8950465"/>
                <a:gd name="connsiteY93" fmla="*/ 3996461 h 5858728"/>
                <a:gd name="connsiteX94" fmla="*/ 8240186 w 8950465"/>
                <a:gd name="connsiteY94" fmla="*/ 3886867 h 5858728"/>
                <a:gd name="connsiteX95" fmla="*/ 8240246 w 8950465"/>
                <a:gd name="connsiteY95" fmla="*/ 3795443 h 5858728"/>
                <a:gd name="connsiteX96" fmla="*/ 8173334 w 8950465"/>
                <a:gd name="connsiteY96" fmla="*/ 3694350 h 5858728"/>
                <a:gd name="connsiteX97" fmla="*/ 8177855 w 8950465"/>
                <a:gd name="connsiteY97" fmla="*/ 2963452 h 5858728"/>
                <a:gd name="connsiteX98" fmla="*/ 8135174 w 8950465"/>
                <a:gd name="connsiteY98" fmla="*/ 2954806 h 5858728"/>
                <a:gd name="connsiteX99" fmla="*/ 4610059 w 8950465"/>
                <a:gd name="connsiteY99" fmla="*/ 2952488 h 5858728"/>
                <a:gd name="connsiteX100" fmla="*/ 4500321 w 8950465"/>
                <a:gd name="connsiteY100" fmla="*/ 3062082 h 5858728"/>
                <a:gd name="connsiteX101" fmla="*/ 4500261 w 8950465"/>
                <a:gd name="connsiteY101" fmla="*/ 3153507 h 5858728"/>
                <a:gd name="connsiteX102" fmla="*/ 4609855 w 8950465"/>
                <a:gd name="connsiteY102" fmla="*/ 3263245 h 5858728"/>
                <a:gd name="connsiteX103" fmla="*/ 8134969 w 8950465"/>
                <a:gd name="connsiteY103" fmla="*/ 3265563 h 5858728"/>
                <a:gd name="connsiteX104" fmla="*/ 8244707 w 8950465"/>
                <a:gd name="connsiteY104" fmla="*/ 3155969 h 5858728"/>
                <a:gd name="connsiteX105" fmla="*/ 8244768 w 8950465"/>
                <a:gd name="connsiteY105" fmla="*/ 3064544 h 5858728"/>
                <a:gd name="connsiteX106" fmla="*/ 8177855 w 8950465"/>
                <a:gd name="connsiteY106" fmla="*/ 2963452 h 5858728"/>
                <a:gd name="connsiteX107" fmla="*/ 8170954 w 8950465"/>
                <a:gd name="connsiteY107" fmla="*/ 2233284 h 5858728"/>
                <a:gd name="connsiteX108" fmla="*/ 8128273 w 8950465"/>
                <a:gd name="connsiteY108" fmla="*/ 2224637 h 5858728"/>
                <a:gd name="connsiteX109" fmla="*/ 4603159 w 8950465"/>
                <a:gd name="connsiteY109" fmla="*/ 2222320 h 5858728"/>
                <a:gd name="connsiteX110" fmla="*/ 4493420 w 8950465"/>
                <a:gd name="connsiteY110" fmla="*/ 2331915 h 5858728"/>
                <a:gd name="connsiteX111" fmla="*/ 4493360 w 8950465"/>
                <a:gd name="connsiteY111" fmla="*/ 2423339 h 5858728"/>
                <a:gd name="connsiteX112" fmla="*/ 4602954 w 8950465"/>
                <a:gd name="connsiteY112" fmla="*/ 2533077 h 5858728"/>
                <a:gd name="connsiteX113" fmla="*/ 8128069 w 8950465"/>
                <a:gd name="connsiteY113" fmla="*/ 2535394 h 5858728"/>
                <a:gd name="connsiteX114" fmla="*/ 8237807 w 8950465"/>
                <a:gd name="connsiteY114" fmla="*/ 2425800 h 5858728"/>
                <a:gd name="connsiteX115" fmla="*/ 8237867 w 8950465"/>
                <a:gd name="connsiteY115" fmla="*/ 2334375 h 5858728"/>
                <a:gd name="connsiteX116" fmla="*/ 8170954 w 8950465"/>
                <a:gd name="connsiteY116" fmla="*/ 2233284 h 5858728"/>
                <a:gd name="connsiteX117" fmla="*/ 8474850 w 8950465"/>
                <a:gd name="connsiteY117" fmla="*/ 109688 h 5858728"/>
                <a:gd name="connsiteX118" fmla="*/ 8925187 w 8950465"/>
                <a:gd name="connsiteY118" fmla="*/ 909019 h 5858728"/>
                <a:gd name="connsiteX119" fmla="*/ 8950465 w 8950465"/>
                <a:gd name="connsiteY119" fmla="*/ 4949923 h 5858728"/>
                <a:gd name="connsiteX120" fmla="*/ 8066284 w 8950465"/>
                <a:gd name="connsiteY120" fmla="*/ 5782665 h 5858728"/>
                <a:gd name="connsiteX121" fmla="*/ 934091 w 8950465"/>
                <a:gd name="connsiteY121" fmla="*/ 5858728 h 5858728"/>
                <a:gd name="connsiteX122" fmla="*/ 50563 w 8950465"/>
                <a:gd name="connsiteY122" fmla="*/ 4949707 h 5858728"/>
                <a:gd name="connsiteX123" fmla="*/ -2 w 8950465"/>
                <a:gd name="connsiteY123" fmla="*/ 909018 h 5858728"/>
                <a:gd name="connsiteX124" fmla="*/ 934091 w 8950465"/>
                <a:gd name="connsiteY124" fmla="*/ 0 h 5858728"/>
                <a:gd name="connsiteX125" fmla="*/ 2033885 w 8950465"/>
                <a:gd name="connsiteY125" fmla="*/ 0 h 5858728"/>
                <a:gd name="connsiteX126" fmla="*/ 2033885 w 8950465"/>
                <a:gd name="connsiteY126" fmla="*/ 498540 h 5858728"/>
                <a:gd name="connsiteX127" fmla="*/ 2645805 w 8950465"/>
                <a:gd name="connsiteY127" fmla="*/ 1110460 h 5858728"/>
                <a:gd name="connsiteX128" fmla="*/ 6322068 w 8950465"/>
                <a:gd name="connsiteY128" fmla="*/ 1085186 h 5858728"/>
                <a:gd name="connsiteX129" fmla="*/ 6934194 w 8950465"/>
                <a:gd name="connsiteY129" fmla="*/ 498540 h 5858728"/>
                <a:gd name="connsiteX130" fmla="*/ 6934194 w 8950465"/>
                <a:gd name="connsiteY130" fmla="*/ 0 h 5858728"/>
                <a:gd name="connsiteX131" fmla="*/ 8041659 w 8950465"/>
                <a:gd name="connsiteY131" fmla="*/ 0 h 5858728"/>
                <a:gd name="connsiteX132" fmla="*/ 8474850 w 8950465"/>
                <a:gd name="connsiteY132" fmla="*/ 109688 h 5858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8950465" h="5858728">
                  <a:moveTo>
                    <a:pt x="1875541" y="4432622"/>
                  </a:moveTo>
                  <a:lnTo>
                    <a:pt x="2379876" y="4887349"/>
                  </a:lnTo>
                  <a:lnTo>
                    <a:pt x="2260469" y="4987528"/>
                  </a:lnTo>
                  <a:lnTo>
                    <a:pt x="1824034" y="4589127"/>
                  </a:lnTo>
                  <a:lnTo>
                    <a:pt x="1875541" y="4432622"/>
                  </a:lnTo>
                  <a:close/>
                  <a:moveTo>
                    <a:pt x="1972968" y="4178550"/>
                  </a:moveTo>
                  <a:lnTo>
                    <a:pt x="2574344" y="4709227"/>
                  </a:lnTo>
                  <a:lnTo>
                    <a:pt x="2460881" y="4809499"/>
                  </a:lnTo>
                  <a:lnTo>
                    <a:pt x="1922858" y="4327451"/>
                  </a:lnTo>
                  <a:lnTo>
                    <a:pt x="1972968" y="4178550"/>
                  </a:lnTo>
                  <a:close/>
                  <a:moveTo>
                    <a:pt x="2071518" y="3925127"/>
                  </a:moveTo>
                  <a:lnTo>
                    <a:pt x="2483238" y="4293656"/>
                  </a:lnTo>
                  <a:lnTo>
                    <a:pt x="2593566" y="4587809"/>
                  </a:lnTo>
                  <a:lnTo>
                    <a:pt x="2014490" y="4073026"/>
                  </a:lnTo>
                  <a:lnTo>
                    <a:pt x="2071518" y="3925127"/>
                  </a:lnTo>
                  <a:close/>
                  <a:moveTo>
                    <a:pt x="2285202" y="3773334"/>
                  </a:moveTo>
                  <a:cubicBezTo>
                    <a:pt x="2286146" y="3773697"/>
                    <a:pt x="2286969" y="3774138"/>
                    <a:pt x="2285705" y="3773641"/>
                  </a:cubicBezTo>
                  <a:lnTo>
                    <a:pt x="2285030" y="3773354"/>
                  </a:lnTo>
                  <a:lnTo>
                    <a:pt x="2285202" y="3773334"/>
                  </a:lnTo>
                  <a:close/>
                  <a:moveTo>
                    <a:pt x="2341210" y="3709127"/>
                  </a:moveTo>
                  <a:cubicBezTo>
                    <a:pt x="2309144" y="3729831"/>
                    <a:pt x="2296412" y="3748220"/>
                    <a:pt x="2273690" y="3768327"/>
                  </a:cubicBezTo>
                  <a:lnTo>
                    <a:pt x="2281999" y="3772067"/>
                  </a:lnTo>
                  <a:lnTo>
                    <a:pt x="2285030" y="3773354"/>
                  </a:lnTo>
                  <a:lnTo>
                    <a:pt x="2283970" y="3773482"/>
                  </a:lnTo>
                  <a:cubicBezTo>
                    <a:pt x="2284747" y="3774283"/>
                    <a:pt x="2287368" y="3776173"/>
                    <a:pt x="2293798" y="3780164"/>
                  </a:cubicBezTo>
                  <a:cubicBezTo>
                    <a:pt x="2315633" y="3831373"/>
                    <a:pt x="2376893" y="3997356"/>
                    <a:pt x="2404698" y="4075583"/>
                  </a:cubicBezTo>
                  <a:cubicBezTo>
                    <a:pt x="2384498" y="4059608"/>
                    <a:pt x="2139642" y="3832021"/>
                    <a:pt x="2116023" y="3813339"/>
                  </a:cubicBezTo>
                  <a:cubicBezTo>
                    <a:pt x="2152533" y="3744961"/>
                    <a:pt x="2098225" y="3708048"/>
                    <a:pt x="2079554" y="3707627"/>
                  </a:cubicBezTo>
                  <a:lnTo>
                    <a:pt x="1718396" y="4661938"/>
                  </a:lnTo>
                  <a:lnTo>
                    <a:pt x="2210145" y="5091104"/>
                  </a:lnTo>
                  <a:cubicBezTo>
                    <a:pt x="2351468" y="4967940"/>
                    <a:pt x="2565781" y="4773499"/>
                    <a:pt x="2692433" y="4660009"/>
                  </a:cubicBezTo>
                  <a:lnTo>
                    <a:pt x="2341210" y="3709127"/>
                  </a:lnTo>
                  <a:close/>
                  <a:moveTo>
                    <a:pt x="2507339" y="3279357"/>
                  </a:moveTo>
                  <a:cubicBezTo>
                    <a:pt x="2277144" y="3344723"/>
                    <a:pt x="2039075" y="3319244"/>
                    <a:pt x="1903927" y="3279929"/>
                  </a:cubicBezTo>
                  <a:cubicBezTo>
                    <a:pt x="1858911" y="3329835"/>
                    <a:pt x="1821057" y="3397198"/>
                    <a:pt x="1866887" y="3439228"/>
                  </a:cubicBezTo>
                  <a:cubicBezTo>
                    <a:pt x="1966649" y="3552113"/>
                    <a:pt x="2075984" y="3652052"/>
                    <a:pt x="2145415" y="3726569"/>
                  </a:cubicBezTo>
                  <a:cubicBezTo>
                    <a:pt x="2171277" y="3755906"/>
                    <a:pt x="2229536" y="3754172"/>
                    <a:pt x="2257928" y="3741824"/>
                  </a:cubicBezTo>
                  <a:lnTo>
                    <a:pt x="2562604" y="3433968"/>
                  </a:lnTo>
                  <a:cubicBezTo>
                    <a:pt x="2600291" y="3381263"/>
                    <a:pt x="2562873" y="3312617"/>
                    <a:pt x="2507339" y="3279357"/>
                  </a:cubicBezTo>
                  <a:close/>
                  <a:moveTo>
                    <a:pt x="3436036" y="3027962"/>
                  </a:moveTo>
                  <a:cubicBezTo>
                    <a:pt x="3411546" y="3015141"/>
                    <a:pt x="3385834" y="3004463"/>
                    <a:pt x="3359057" y="2996318"/>
                  </a:cubicBezTo>
                  <a:cubicBezTo>
                    <a:pt x="3239002" y="2990337"/>
                    <a:pt x="3129021" y="2981664"/>
                    <a:pt x="3004377" y="2978709"/>
                  </a:cubicBezTo>
                  <a:cubicBezTo>
                    <a:pt x="2926429" y="3061294"/>
                    <a:pt x="2707838" y="3225187"/>
                    <a:pt x="2588657" y="3254338"/>
                  </a:cubicBezTo>
                  <a:cubicBezTo>
                    <a:pt x="2748825" y="3426330"/>
                    <a:pt x="2496217" y="3577043"/>
                    <a:pt x="2408106" y="3689332"/>
                  </a:cubicBezTo>
                  <a:cubicBezTo>
                    <a:pt x="2438012" y="3792264"/>
                    <a:pt x="2732876" y="4570292"/>
                    <a:pt x="2772224" y="4674898"/>
                  </a:cubicBezTo>
                  <a:lnTo>
                    <a:pt x="2209987" y="5175921"/>
                  </a:lnTo>
                  <a:lnTo>
                    <a:pt x="1639861" y="4673723"/>
                  </a:lnTo>
                  <a:cubicBezTo>
                    <a:pt x="1700615" y="4485048"/>
                    <a:pt x="1968111" y="3826714"/>
                    <a:pt x="2018938" y="3692376"/>
                  </a:cubicBezTo>
                  <a:cubicBezTo>
                    <a:pt x="1961132" y="3595410"/>
                    <a:pt x="1676989" y="3439044"/>
                    <a:pt x="1830721" y="3261869"/>
                  </a:cubicBezTo>
                  <a:cubicBezTo>
                    <a:pt x="1662162" y="3201521"/>
                    <a:pt x="1474589" y="3040202"/>
                    <a:pt x="1420665" y="2972526"/>
                  </a:cubicBezTo>
                  <a:cubicBezTo>
                    <a:pt x="1338115" y="2979780"/>
                    <a:pt x="1169254" y="2978661"/>
                    <a:pt x="1057719" y="2996354"/>
                  </a:cubicBezTo>
                  <a:cubicBezTo>
                    <a:pt x="859495" y="3041199"/>
                    <a:pt x="686558" y="3280123"/>
                    <a:pt x="698925" y="3478975"/>
                  </a:cubicBezTo>
                  <a:cubicBezTo>
                    <a:pt x="679622" y="3568623"/>
                    <a:pt x="695012" y="5034224"/>
                    <a:pt x="690518" y="5181466"/>
                  </a:cubicBezTo>
                  <a:lnTo>
                    <a:pt x="1253495" y="5182572"/>
                  </a:lnTo>
                  <a:cubicBezTo>
                    <a:pt x="1270074" y="5067522"/>
                    <a:pt x="1261450" y="3904895"/>
                    <a:pt x="1255664" y="3776157"/>
                  </a:cubicBezTo>
                  <a:cubicBezTo>
                    <a:pt x="1269176" y="3683778"/>
                    <a:pt x="1376162" y="3680532"/>
                    <a:pt x="1401633" y="3751556"/>
                  </a:cubicBezTo>
                  <a:cubicBezTo>
                    <a:pt x="1398442" y="3857484"/>
                    <a:pt x="1412019" y="4832836"/>
                    <a:pt x="1398185" y="5180612"/>
                  </a:cubicBezTo>
                  <a:cubicBezTo>
                    <a:pt x="1601137" y="5183934"/>
                    <a:pt x="2733100" y="5192616"/>
                    <a:pt x="3015635" y="5181867"/>
                  </a:cubicBezTo>
                  <a:cubicBezTo>
                    <a:pt x="3030451" y="5046597"/>
                    <a:pt x="3008715" y="3978663"/>
                    <a:pt x="3022029" y="3751912"/>
                  </a:cubicBezTo>
                  <a:cubicBezTo>
                    <a:pt x="3028817" y="3708282"/>
                    <a:pt x="3095878" y="3677879"/>
                    <a:pt x="3158721" y="3741510"/>
                  </a:cubicBezTo>
                  <a:cubicBezTo>
                    <a:pt x="3154849" y="4222066"/>
                    <a:pt x="3150978" y="4702623"/>
                    <a:pt x="3147106" y="5183179"/>
                  </a:cubicBezTo>
                  <a:lnTo>
                    <a:pt x="3711517" y="5182347"/>
                  </a:lnTo>
                  <a:lnTo>
                    <a:pt x="3716758" y="3478402"/>
                  </a:lnTo>
                  <a:cubicBezTo>
                    <a:pt x="3718984" y="3312466"/>
                    <a:pt x="3607462" y="3117709"/>
                    <a:pt x="3436036" y="3027962"/>
                  </a:cubicBezTo>
                  <a:close/>
                  <a:moveTo>
                    <a:pt x="3162061" y="1889907"/>
                  </a:moveTo>
                  <a:cubicBezTo>
                    <a:pt x="2850827" y="1835026"/>
                    <a:pt x="2554263" y="1770471"/>
                    <a:pt x="2228357" y="1725263"/>
                  </a:cubicBezTo>
                  <a:lnTo>
                    <a:pt x="2325664" y="1923326"/>
                  </a:lnTo>
                  <a:cubicBezTo>
                    <a:pt x="1992671" y="1865952"/>
                    <a:pt x="1450868" y="1942036"/>
                    <a:pt x="1214076" y="2040152"/>
                  </a:cubicBezTo>
                  <a:cubicBezTo>
                    <a:pt x="1113169" y="2685000"/>
                    <a:pt x="1572645" y="3263497"/>
                    <a:pt x="2296889" y="3250645"/>
                  </a:cubicBezTo>
                  <a:cubicBezTo>
                    <a:pt x="2914116" y="3222746"/>
                    <a:pt x="3400026" y="2534861"/>
                    <a:pt x="3162061" y="1889907"/>
                  </a:cubicBezTo>
                  <a:close/>
                  <a:moveTo>
                    <a:pt x="2742770" y="1393444"/>
                  </a:moveTo>
                  <a:cubicBezTo>
                    <a:pt x="2477789" y="1231192"/>
                    <a:pt x="2156349" y="1197503"/>
                    <a:pt x="1908669" y="1285665"/>
                  </a:cubicBezTo>
                  <a:cubicBezTo>
                    <a:pt x="1535665" y="1419151"/>
                    <a:pt x="1339560" y="1654924"/>
                    <a:pt x="1247426" y="1956867"/>
                  </a:cubicBezTo>
                  <a:cubicBezTo>
                    <a:pt x="1388058" y="1926935"/>
                    <a:pt x="1728035" y="1803462"/>
                    <a:pt x="2215350" y="1843866"/>
                  </a:cubicBezTo>
                  <a:cubicBezTo>
                    <a:pt x="2183815" y="1783264"/>
                    <a:pt x="2160750" y="1718482"/>
                    <a:pt x="2131483" y="1659192"/>
                  </a:cubicBezTo>
                  <a:cubicBezTo>
                    <a:pt x="2464533" y="1714727"/>
                    <a:pt x="2546582" y="1670520"/>
                    <a:pt x="3130631" y="1825795"/>
                  </a:cubicBezTo>
                  <a:cubicBezTo>
                    <a:pt x="3040421" y="1634429"/>
                    <a:pt x="2901758" y="1490795"/>
                    <a:pt x="2742770" y="1393444"/>
                  </a:cubicBezTo>
                  <a:close/>
                  <a:moveTo>
                    <a:pt x="8175767" y="4451277"/>
                  </a:moveTo>
                  <a:cubicBezTo>
                    <a:pt x="8162649" y="4445719"/>
                    <a:pt x="8148226" y="4442641"/>
                    <a:pt x="8133086" y="4442632"/>
                  </a:cubicBezTo>
                  <a:lnTo>
                    <a:pt x="4607970" y="4440312"/>
                  </a:lnTo>
                  <a:cubicBezTo>
                    <a:pt x="4547403" y="4440272"/>
                    <a:pt x="4498272" y="4489339"/>
                    <a:pt x="4498232" y="4549907"/>
                  </a:cubicBezTo>
                  <a:lnTo>
                    <a:pt x="4498172" y="4641332"/>
                  </a:lnTo>
                  <a:cubicBezTo>
                    <a:pt x="4498132" y="4701898"/>
                    <a:pt x="4547199" y="4751031"/>
                    <a:pt x="4607766" y="4751069"/>
                  </a:cubicBezTo>
                  <a:lnTo>
                    <a:pt x="8132881" y="4753388"/>
                  </a:lnTo>
                  <a:cubicBezTo>
                    <a:pt x="8193448" y="4753428"/>
                    <a:pt x="8242579" y="4704361"/>
                    <a:pt x="8242619" y="4643794"/>
                  </a:cubicBezTo>
                  <a:lnTo>
                    <a:pt x="8242679" y="4552369"/>
                  </a:lnTo>
                  <a:cubicBezTo>
                    <a:pt x="8242709" y="4506944"/>
                    <a:pt x="8215116" y="4467952"/>
                    <a:pt x="8175767" y="4451277"/>
                  </a:cubicBezTo>
                  <a:close/>
                  <a:moveTo>
                    <a:pt x="8173334" y="3694350"/>
                  </a:moveTo>
                  <a:cubicBezTo>
                    <a:pt x="8160217" y="3688793"/>
                    <a:pt x="8145794" y="3685714"/>
                    <a:pt x="8130652" y="3685704"/>
                  </a:cubicBezTo>
                  <a:lnTo>
                    <a:pt x="4605538" y="3683387"/>
                  </a:lnTo>
                  <a:cubicBezTo>
                    <a:pt x="4544971" y="3683347"/>
                    <a:pt x="4495840" y="3732414"/>
                    <a:pt x="4495800" y="3792981"/>
                  </a:cubicBezTo>
                  <a:lnTo>
                    <a:pt x="4495740" y="3884406"/>
                  </a:lnTo>
                  <a:cubicBezTo>
                    <a:pt x="4495700" y="3944973"/>
                    <a:pt x="4544766" y="3994104"/>
                    <a:pt x="4605333" y="3994144"/>
                  </a:cubicBezTo>
                  <a:lnTo>
                    <a:pt x="8130448" y="3996461"/>
                  </a:lnTo>
                  <a:cubicBezTo>
                    <a:pt x="8191015" y="3996501"/>
                    <a:pt x="8240146" y="3947434"/>
                    <a:pt x="8240186" y="3886867"/>
                  </a:cubicBezTo>
                  <a:cubicBezTo>
                    <a:pt x="8240206" y="3856392"/>
                    <a:pt x="8240226" y="3825918"/>
                    <a:pt x="8240246" y="3795443"/>
                  </a:cubicBezTo>
                  <a:cubicBezTo>
                    <a:pt x="8240276" y="3750017"/>
                    <a:pt x="8212684" y="3711024"/>
                    <a:pt x="8173334" y="3694350"/>
                  </a:cubicBezTo>
                  <a:close/>
                  <a:moveTo>
                    <a:pt x="8177855" y="2963452"/>
                  </a:moveTo>
                  <a:cubicBezTo>
                    <a:pt x="8164738" y="2957894"/>
                    <a:pt x="8150315" y="2954816"/>
                    <a:pt x="8135174" y="2954806"/>
                  </a:cubicBezTo>
                  <a:lnTo>
                    <a:pt x="4610059" y="2952488"/>
                  </a:lnTo>
                  <a:cubicBezTo>
                    <a:pt x="4549492" y="2952449"/>
                    <a:pt x="4500361" y="3001515"/>
                    <a:pt x="4500321" y="3062082"/>
                  </a:cubicBezTo>
                  <a:lnTo>
                    <a:pt x="4500261" y="3153507"/>
                  </a:lnTo>
                  <a:cubicBezTo>
                    <a:pt x="4500221" y="3214074"/>
                    <a:pt x="4549288" y="3263206"/>
                    <a:pt x="4609855" y="3263245"/>
                  </a:cubicBezTo>
                  <a:lnTo>
                    <a:pt x="8134969" y="3265563"/>
                  </a:lnTo>
                  <a:cubicBezTo>
                    <a:pt x="8195536" y="3265603"/>
                    <a:pt x="8244668" y="3216536"/>
                    <a:pt x="8244707" y="3155969"/>
                  </a:cubicBezTo>
                  <a:cubicBezTo>
                    <a:pt x="8244727" y="3125494"/>
                    <a:pt x="8244748" y="3095019"/>
                    <a:pt x="8244768" y="3064544"/>
                  </a:cubicBezTo>
                  <a:cubicBezTo>
                    <a:pt x="8244797" y="3019119"/>
                    <a:pt x="8217205" y="2980126"/>
                    <a:pt x="8177855" y="2963452"/>
                  </a:cubicBezTo>
                  <a:close/>
                  <a:moveTo>
                    <a:pt x="8170954" y="2233284"/>
                  </a:moveTo>
                  <a:cubicBezTo>
                    <a:pt x="8157838" y="2227726"/>
                    <a:pt x="8143415" y="2224647"/>
                    <a:pt x="8128273" y="2224637"/>
                  </a:cubicBezTo>
                  <a:lnTo>
                    <a:pt x="4603159" y="2222320"/>
                  </a:lnTo>
                  <a:cubicBezTo>
                    <a:pt x="4542591" y="2222280"/>
                    <a:pt x="4493460" y="2271347"/>
                    <a:pt x="4493420" y="2331915"/>
                  </a:cubicBezTo>
                  <a:cubicBezTo>
                    <a:pt x="4493400" y="2362390"/>
                    <a:pt x="4493380" y="2392864"/>
                    <a:pt x="4493360" y="2423339"/>
                  </a:cubicBezTo>
                  <a:cubicBezTo>
                    <a:pt x="4493320" y="2483906"/>
                    <a:pt x="4542387" y="2533037"/>
                    <a:pt x="4602954" y="2533077"/>
                  </a:cubicBezTo>
                  <a:lnTo>
                    <a:pt x="8128069" y="2535394"/>
                  </a:lnTo>
                  <a:cubicBezTo>
                    <a:pt x="8188635" y="2535434"/>
                    <a:pt x="8237767" y="2486367"/>
                    <a:pt x="8237807" y="2425800"/>
                  </a:cubicBezTo>
                  <a:lnTo>
                    <a:pt x="8237867" y="2334375"/>
                  </a:lnTo>
                  <a:cubicBezTo>
                    <a:pt x="8237897" y="2288950"/>
                    <a:pt x="8210304" y="2249957"/>
                    <a:pt x="8170954" y="2233284"/>
                  </a:cubicBezTo>
                  <a:close/>
                  <a:moveTo>
                    <a:pt x="8474850" y="109688"/>
                  </a:moveTo>
                  <a:cubicBezTo>
                    <a:pt x="8758148" y="263585"/>
                    <a:pt x="8925187" y="563949"/>
                    <a:pt x="8925187" y="909019"/>
                  </a:cubicBezTo>
                  <a:lnTo>
                    <a:pt x="8950465" y="4949923"/>
                  </a:lnTo>
                  <a:cubicBezTo>
                    <a:pt x="8950465" y="5451842"/>
                    <a:pt x="8568204" y="5782665"/>
                    <a:pt x="8066284" y="5782665"/>
                  </a:cubicBezTo>
                  <a:lnTo>
                    <a:pt x="934091" y="5858728"/>
                  </a:lnTo>
                  <a:cubicBezTo>
                    <a:pt x="432171" y="5858731"/>
                    <a:pt x="50563" y="5451628"/>
                    <a:pt x="50563" y="4949707"/>
                  </a:cubicBezTo>
                  <a:cubicBezTo>
                    <a:pt x="24854" y="3552332"/>
                    <a:pt x="27004" y="2458052"/>
                    <a:pt x="-2" y="909018"/>
                  </a:cubicBezTo>
                  <a:cubicBezTo>
                    <a:pt x="-2" y="407098"/>
                    <a:pt x="432171" y="0"/>
                    <a:pt x="934091" y="0"/>
                  </a:cubicBezTo>
                  <a:lnTo>
                    <a:pt x="2033885" y="0"/>
                  </a:lnTo>
                  <a:lnTo>
                    <a:pt x="2033885" y="498540"/>
                  </a:lnTo>
                  <a:cubicBezTo>
                    <a:pt x="2033885" y="836494"/>
                    <a:pt x="2307851" y="1110460"/>
                    <a:pt x="2645805" y="1110460"/>
                  </a:cubicBezTo>
                  <a:lnTo>
                    <a:pt x="6322068" y="1085186"/>
                  </a:lnTo>
                  <a:cubicBezTo>
                    <a:pt x="6660022" y="1085186"/>
                    <a:pt x="6934194" y="836494"/>
                    <a:pt x="6934194" y="498540"/>
                  </a:cubicBezTo>
                  <a:lnTo>
                    <a:pt x="6934194" y="0"/>
                  </a:lnTo>
                  <a:lnTo>
                    <a:pt x="8041659" y="0"/>
                  </a:lnTo>
                  <a:cubicBezTo>
                    <a:pt x="8198509" y="0"/>
                    <a:pt x="8346079" y="39735"/>
                    <a:pt x="8474850" y="109688"/>
                  </a:cubicBezTo>
                  <a:close/>
                </a:path>
              </a:pathLst>
            </a:custGeom>
            <a:solidFill>
              <a:srgbClr val="EAAA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solidFill>
                  <a:schemeClr val="accent1"/>
                </a:solidFill>
                <a:latin typeface="Arial" panose="020B0604020202020204" pitchFamily="34" charset="0"/>
                <a:cs typeface="Arial" panose="020B0604020202020204" pitchFamily="34" charset="0"/>
              </a:endParaRPr>
            </a:p>
          </p:txBody>
        </p:sp>
        <p:sp>
          <p:nvSpPr>
            <p:cNvPr id="90" name="Oval Callout 165"/>
            <p:cNvSpPr/>
            <p:nvPr/>
          </p:nvSpPr>
          <p:spPr>
            <a:xfrm flipV="1">
              <a:off x="1219944" y="5518116"/>
              <a:ext cx="744578" cy="728228"/>
            </a:xfrm>
            <a:prstGeom prst="wedgeEllipseCallout">
              <a:avLst>
                <a:gd name="adj1" fmla="val 740"/>
                <a:gd name="adj2" fmla="val 93698"/>
              </a:avLst>
            </a:prstGeom>
            <a:solidFill>
              <a:srgbClr val="009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91" name="Oval 166"/>
            <p:cNvSpPr/>
            <p:nvPr/>
          </p:nvSpPr>
          <p:spPr>
            <a:xfrm flipV="1">
              <a:off x="1270173" y="5568674"/>
              <a:ext cx="644120" cy="627109"/>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83" name="Rectangle 16"/>
            <p:cNvSpPr/>
            <p:nvPr/>
          </p:nvSpPr>
          <p:spPr>
            <a:xfrm rot="19734435" flipV="1">
              <a:off x="1721282" y="6012889"/>
              <a:ext cx="16729" cy="24788"/>
            </a:xfrm>
            <a:custGeom>
              <a:avLst/>
              <a:gdLst>
                <a:gd name="connsiteX0" fmla="*/ 0 w 406400"/>
                <a:gd name="connsiteY0" fmla="*/ 0 h 311943"/>
                <a:gd name="connsiteX1" fmla="*/ 406400 w 406400"/>
                <a:gd name="connsiteY1" fmla="*/ 0 h 311943"/>
                <a:gd name="connsiteX2" fmla="*/ 406400 w 406400"/>
                <a:gd name="connsiteY2" fmla="*/ 311943 h 311943"/>
                <a:gd name="connsiteX3" fmla="*/ 0 w 406400"/>
                <a:gd name="connsiteY3" fmla="*/ 311943 h 311943"/>
                <a:gd name="connsiteX4" fmla="*/ 0 w 406400"/>
                <a:gd name="connsiteY4" fmla="*/ 0 h 311943"/>
                <a:gd name="connsiteX0" fmla="*/ 0 w 406400"/>
                <a:gd name="connsiteY0" fmla="*/ 0 h 314324"/>
                <a:gd name="connsiteX1" fmla="*/ 406400 w 406400"/>
                <a:gd name="connsiteY1" fmla="*/ 0 h 314324"/>
                <a:gd name="connsiteX2" fmla="*/ 406400 w 406400"/>
                <a:gd name="connsiteY2" fmla="*/ 311943 h 314324"/>
                <a:gd name="connsiteX3" fmla="*/ 57150 w 406400"/>
                <a:gd name="connsiteY3" fmla="*/ 314324 h 314324"/>
                <a:gd name="connsiteX4" fmla="*/ 0 w 406400"/>
                <a:gd name="connsiteY4" fmla="*/ 0 h 314324"/>
                <a:gd name="connsiteX0" fmla="*/ 0 w 406400"/>
                <a:gd name="connsiteY0" fmla="*/ 0 h 314324"/>
                <a:gd name="connsiteX1" fmla="*/ 406400 w 406400"/>
                <a:gd name="connsiteY1" fmla="*/ 0 h 314324"/>
                <a:gd name="connsiteX2" fmla="*/ 270668 w 406400"/>
                <a:gd name="connsiteY2" fmla="*/ 259555 h 314324"/>
                <a:gd name="connsiteX3" fmla="*/ 57150 w 406400"/>
                <a:gd name="connsiteY3" fmla="*/ 314324 h 314324"/>
                <a:gd name="connsiteX4" fmla="*/ 0 w 406400"/>
                <a:gd name="connsiteY4" fmla="*/ 0 h 314324"/>
                <a:gd name="connsiteX0" fmla="*/ 0 w 270668"/>
                <a:gd name="connsiteY0" fmla="*/ 78581 h 392905"/>
                <a:gd name="connsiteX1" fmla="*/ 201613 w 270668"/>
                <a:gd name="connsiteY1" fmla="*/ 0 h 392905"/>
                <a:gd name="connsiteX2" fmla="*/ 270668 w 270668"/>
                <a:gd name="connsiteY2" fmla="*/ 338136 h 392905"/>
                <a:gd name="connsiteX3" fmla="*/ 57150 w 270668"/>
                <a:gd name="connsiteY3" fmla="*/ 392905 h 392905"/>
                <a:gd name="connsiteX4" fmla="*/ 0 w 270668"/>
                <a:gd name="connsiteY4" fmla="*/ 78581 h 392905"/>
                <a:gd name="connsiteX0" fmla="*/ 0 w 277812"/>
                <a:gd name="connsiteY0" fmla="*/ 76200 h 392905"/>
                <a:gd name="connsiteX1" fmla="*/ 208757 w 277812"/>
                <a:gd name="connsiteY1" fmla="*/ 0 h 392905"/>
                <a:gd name="connsiteX2" fmla="*/ 277812 w 277812"/>
                <a:gd name="connsiteY2" fmla="*/ 338136 h 392905"/>
                <a:gd name="connsiteX3" fmla="*/ 64294 w 277812"/>
                <a:gd name="connsiteY3" fmla="*/ 392905 h 392905"/>
                <a:gd name="connsiteX4" fmla="*/ 0 w 277812"/>
                <a:gd name="connsiteY4" fmla="*/ 76200 h 392905"/>
                <a:gd name="connsiteX0" fmla="*/ 1866 w 279678"/>
                <a:gd name="connsiteY0" fmla="*/ 76200 h 392905"/>
                <a:gd name="connsiteX1" fmla="*/ 210623 w 279678"/>
                <a:gd name="connsiteY1" fmla="*/ 0 h 392905"/>
                <a:gd name="connsiteX2" fmla="*/ 279678 w 279678"/>
                <a:gd name="connsiteY2" fmla="*/ 338136 h 392905"/>
                <a:gd name="connsiteX3" fmla="*/ 66160 w 279678"/>
                <a:gd name="connsiteY3" fmla="*/ 392905 h 392905"/>
                <a:gd name="connsiteX4" fmla="*/ 1866 w 279678"/>
                <a:gd name="connsiteY4" fmla="*/ 76200 h 392905"/>
                <a:gd name="connsiteX0" fmla="*/ 1891 w 279703"/>
                <a:gd name="connsiteY0" fmla="*/ 109176 h 425881"/>
                <a:gd name="connsiteX1" fmla="*/ 210648 w 279703"/>
                <a:gd name="connsiteY1" fmla="*/ 32976 h 425881"/>
                <a:gd name="connsiteX2" fmla="*/ 279703 w 279703"/>
                <a:gd name="connsiteY2" fmla="*/ 371112 h 425881"/>
                <a:gd name="connsiteX3" fmla="*/ 66185 w 279703"/>
                <a:gd name="connsiteY3" fmla="*/ 425881 h 425881"/>
                <a:gd name="connsiteX4" fmla="*/ 1891 w 279703"/>
                <a:gd name="connsiteY4" fmla="*/ 109176 h 425881"/>
                <a:gd name="connsiteX0" fmla="*/ 1891 w 279703"/>
                <a:gd name="connsiteY0" fmla="*/ 113395 h 430100"/>
                <a:gd name="connsiteX1" fmla="*/ 210648 w 279703"/>
                <a:gd name="connsiteY1" fmla="*/ 37195 h 430100"/>
                <a:gd name="connsiteX2" fmla="*/ 279703 w 279703"/>
                <a:gd name="connsiteY2" fmla="*/ 375331 h 430100"/>
                <a:gd name="connsiteX3" fmla="*/ 66185 w 279703"/>
                <a:gd name="connsiteY3" fmla="*/ 430100 h 430100"/>
                <a:gd name="connsiteX4" fmla="*/ 1891 w 279703"/>
                <a:gd name="connsiteY4" fmla="*/ 113395 h 430100"/>
                <a:gd name="connsiteX0" fmla="*/ 1709 w 279521"/>
                <a:gd name="connsiteY0" fmla="*/ 114450 h 431155"/>
                <a:gd name="connsiteX1" fmla="*/ 210466 w 279521"/>
                <a:gd name="connsiteY1" fmla="*/ 38250 h 431155"/>
                <a:gd name="connsiteX2" fmla="*/ 279521 w 279521"/>
                <a:gd name="connsiteY2" fmla="*/ 376386 h 431155"/>
                <a:gd name="connsiteX3" fmla="*/ 66003 w 279521"/>
                <a:gd name="connsiteY3" fmla="*/ 431155 h 431155"/>
                <a:gd name="connsiteX4" fmla="*/ 1709 w 279521"/>
                <a:gd name="connsiteY4" fmla="*/ 114450 h 431155"/>
                <a:gd name="connsiteX0" fmla="*/ 554 w 278366"/>
                <a:gd name="connsiteY0" fmla="*/ 114450 h 431155"/>
                <a:gd name="connsiteX1" fmla="*/ 209311 w 278366"/>
                <a:gd name="connsiteY1" fmla="*/ 38250 h 431155"/>
                <a:gd name="connsiteX2" fmla="*/ 278366 w 278366"/>
                <a:gd name="connsiteY2" fmla="*/ 376386 h 431155"/>
                <a:gd name="connsiteX3" fmla="*/ 64848 w 278366"/>
                <a:gd name="connsiteY3" fmla="*/ 431155 h 431155"/>
                <a:gd name="connsiteX4" fmla="*/ 554 w 278366"/>
                <a:gd name="connsiteY4" fmla="*/ 114450 h 431155"/>
                <a:gd name="connsiteX0" fmla="*/ 539 w 278351"/>
                <a:gd name="connsiteY0" fmla="*/ 103734 h 420439"/>
                <a:gd name="connsiteX1" fmla="*/ 214058 w 278351"/>
                <a:gd name="connsiteY1" fmla="*/ 41822 h 420439"/>
                <a:gd name="connsiteX2" fmla="*/ 278351 w 278351"/>
                <a:gd name="connsiteY2" fmla="*/ 365670 h 420439"/>
                <a:gd name="connsiteX3" fmla="*/ 64833 w 278351"/>
                <a:gd name="connsiteY3" fmla="*/ 420439 h 420439"/>
                <a:gd name="connsiteX4" fmla="*/ 539 w 278351"/>
                <a:gd name="connsiteY4" fmla="*/ 103734 h 420439"/>
                <a:gd name="connsiteX0" fmla="*/ 532 w 278344"/>
                <a:gd name="connsiteY0" fmla="*/ 106907 h 423612"/>
                <a:gd name="connsiteX1" fmla="*/ 214051 w 278344"/>
                <a:gd name="connsiteY1" fmla="*/ 44995 h 423612"/>
                <a:gd name="connsiteX2" fmla="*/ 278344 w 278344"/>
                <a:gd name="connsiteY2" fmla="*/ 368843 h 423612"/>
                <a:gd name="connsiteX3" fmla="*/ 64826 w 278344"/>
                <a:gd name="connsiteY3" fmla="*/ 423612 h 423612"/>
                <a:gd name="connsiteX4" fmla="*/ 532 w 278344"/>
                <a:gd name="connsiteY4" fmla="*/ 106907 h 4236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344" h="423612">
                  <a:moveTo>
                    <a:pt x="532" y="106907"/>
                  </a:moveTo>
                  <a:cubicBezTo>
                    <a:pt x="-10845" y="19595"/>
                    <a:pt x="163515" y="-48667"/>
                    <a:pt x="214051" y="44995"/>
                  </a:cubicBezTo>
                  <a:lnTo>
                    <a:pt x="278344" y="368843"/>
                  </a:lnTo>
                  <a:lnTo>
                    <a:pt x="64826" y="423612"/>
                  </a:lnTo>
                  <a:lnTo>
                    <a:pt x="532" y="106907"/>
                  </a:lnTo>
                  <a:close/>
                </a:path>
              </a:pathLst>
            </a:custGeom>
            <a:solidFill>
              <a:srgbClr val="C2CD3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accent1"/>
                </a:solidFill>
                <a:latin typeface="Arial" panose="020B0604020202020204" pitchFamily="34" charset="0"/>
                <a:cs typeface="Arial" panose="020B0604020202020204" pitchFamily="34" charset="0"/>
              </a:endParaRPr>
            </a:p>
          </p:txBody>
        </p:sp>
        <p:sp>
          <p:nvSpPr>
            <p:cNvPr id="84" name="Rectangle 17"/>
            <p:cNvSpPr/>
            <p:nvPr/>
          </p:nvSpPr>
          <p:spPr>
            <a:xfrm rot="19734435" flipV="1">
              <a:off x="1670566" y="5885666"/>
              <a:ext cx="29865" cy="24729"/>
            </a:xfrm>
            <a:custGeom>
              <a:avLst/>
              <a:gdLst>
                <a:gd name="connsiteX0" fmla="*/ 0 w 406400"/>
                <a:gd name="connsiteY0" fmla="*/ 0 h 682171"/>
                <a:gd name="connsiteX1" fmla="*/ 406400 w 406400"/>
                <a:gd name="connsiteY1" fmla="*/ 0 h 682171"/>
                <a:gd name="connsiteX2" fmla="*/ 406400 w 406400"/>
                <a:gd name="connsiteY2" fmla="*/ 682171 h 682171"/>
                <a:gd name="connsiteX3" fmla="*/ 0 w 406400"/>
                <a:gd name="connsiteY3" fmla="*/ 682171 h 682171"/>
                <a:gd name="connsiteX4" fmla="*/ 0 w 406400"/>
                <a:gd name="connsiteY4" fmla="*/ 0 h 682171"/>
                <a:gd name="connsiteX0" fmla="*/ 0 w 437356"/>
                <a:gd name="connsiteY0" fmla="*/ 76200 h 758371"/>
                <a:gd name="connsiteX1" fmla="*/ 437356 w 437356"/>
                <a:gd name="connsiteY1" fmla="*/ 0 h 758371"/>
                <a:gd name="connsiteX2" fmla="*/ 406400 w 437356"/>
                <a:gd name="connsiteY2" fmla="*/ 758371 h 758371"/>
                <a:gd name="connsiteX3" fmla="*/ 0 w 437356"/>
                <a:gd name="connsiteY3" fmla="*/ 758371 h 758371"/>
                <a:gd name="connsiteX4" fmla="*/ 0 w 437356"/>
                <a:gd name="connsiteY4" fmla="*/ 76200 h 758371"/>
                <a:gd name="connsiteX0" fmla="*/ 0 w 496888"/>
                <a:gd name="connsiteY0" fmla="*/ 76200 h 758371"/>
                <a:gd name="connsiteX1" fmla="*/ 437356 w 496888"/>
                <a:gd name="connsiteY1" fmla="*/ 0 h 758371"/>
                <a:gd name="connsiteX2" fmla="*/ 496888 w 496888"/>
                <a:gd name="connsiteY2" fmla="*/ 320221 h 758371"/>
                <a:gd name="connsiteX3" fmla="*/ 0 w 496888"/>
                <a:gd name="connsiteY3" fmla="*/ 758371 h 758371"/>
                <a:gd name="connsiteX4" fmla="*/ 0 w 496888"/>
                <a:gd name="connsiteY4" fmla="*/ 76200 h 758371"/>
                <a:gd name="connsiteX0" fmla="*/ 0 w 496888"/>
                <a:gd name="connsiteY0" fmla="*/ 76200 h 408328"/>
                <a:gd name="connsiteX1" fmla="*/ 437356 w 496888"/>
                <a:gd name="connsiteY1" fmla="*/ 0 h 408328"/>
                <a:gd name="connsiteX2" fmla="*/ 496888 w 496888"/>
                <a:gd name="connsiteY2" fmla="*/ 320221 h 408328"/>
                <a:gd name="connsiteX3" fmla="*/ 76200 w 496888"/>
                <a:gd name="connsiteY3" fmla="*/ 408328 h 408328"/>
                <a:gd name="connsiteX4" fmla="*/ 0 w 496888"/>
                <a:gd name="connsiteY4" fmla="*/ 76200 h 408328"/>
                <a:gd name="connsiteX0" fmla="*/ 0 w 496888"/>
                <a:gd name="connsiteY0" fmla="*/ 90488 h 422616"/>
                <a:gd name="connsiteX1" fmla="*/ 454025 w 496888"/>
                <a:gd name="connsiteY1" fmla="*/ 0 h 422616"/>
                <a:gd name="connsiteX2" fmla="*/ 496888 w 496888"/>
                <a:gd name="connsiteY2" fmla="*/ 334509 h 422616"/>
                <a:gd name="connsiteX3" fmla="*/ 76200 w 496888"/>
                <a:gd name="connsiteY3" fmla="*/ 422616 h 422616"/>
                <a:gd name="connsiteX4" fmla="*/ 0 w 496888"/>
                <a:gd name="connsiteY4" fmla="*/ 90488 h 422616"/>
                <a:gd name="connsiteX0" fmla="*/ 0 w 496888"/>
                <a:gd name="connsiteY0" fmla="*/ 90488 h 422616"/>
                <a:gd name="connsiteX1" fmla="*/ 451644 w 496888"/>
                <a:gd name="connsiteY1" fmla="*/ 0 h 422616"/>
                <a:gd name="connsiteX2" fmla="*/ 496888 w 496888"/>
                <a:gd name="connsiteY2" fmla="*/ 334509 h 422616"/>
                <a:gd name="connsiteX3" fmla="*/ 76200 w 496888"/>
                <a:gd name="connsiteY3" fmla="*/ 422616 h 422616"/>
                <a:gd name="connsiteX4" fmla="*/ 0 w 496888"/>
                <a:gd name="connsiteY4" fmla="*/ 90488 h 422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6888" h="422616">
                  <a:moveTo>
                    <a:pt x="0" y="90488"/>
                  </a:moveTo>
                  <a:lnTo>
                    <a:pt x="451644" y="0"/>
                  </a:lnTo>
                  <a:lnTo>
                    <a:pt x="496888" y="334509"/>
                  </a:lnTo>
                  <a:lnTo>
                    <a:pt x="76200" y="422616"/>
                  </a:lnTo>
                  <a:lnTo>
                    <a:pt x="0" y="90488"/>
                  </a:lnTo>
                  <a:close/>
                </a:path>
              </a:pathLst>
            </a:custGeom>
            <a:solidFill>
              <a:srgbClr val="0091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accent1"/>
                </a:solidFill>
                <a:latin typeface="Arial" panose="020B0604020202020204" pitchFamily="34" charset="0"/>
                <a:cs typeface="Arial" panose="020B0604020202020204" pitchFamily="34" charset="0"/>
              </a:endParaRPr>
            </a:p>
          </p:txBody>
        </p:sp>
        <p:sp>
          <p:nvSpPr>
            <p:cNvPr id="85" name="Rounded Rectangle 18"/>
            <p:cNvSpPr/>
            <p:nvPr/>
          </p:nvSpPr>
          <p:spPr>
            <a:xfrm rot="20394435" flipV="1">
              <a:off x="1710731" y="6005695"/>
              <a:ext cx="27032" cy="8163"/>
            </a:xfrm>
            <a:custGeom>
              <a:avLst/>
              <a:gdLst>
                <a:gd name="connsiteX0" fmla="*/ 0 w 448142"/>
                <a:gd name="connsiteY0" fmla="*/ 36608 h 219641"/>
                <a:gd name="connsiteX1" fmla="*/ 36608 w 448142"/>
                <a:gd name="connsiteY1" fmla="*/ 0 h 219641"/>
                <a:gd name="connsiteX2" fmla="*/ 411534 w 448142"/>
                <a:gd name="connsiteY2" fmla="*/ 0 h 219641"/>
                <a:gd name="connsiteX3" fmla="*/ 448142 w 448142"/>
                <a:gd name="connsiteY3" fmla="*/ 36608 h 219641"/>
                <a:gd name="connsiteX4" fmla="*/ 448142 w 448142"/>
                <a:gd name="connsiteY4" fmla="*/ 183033 h 219641"/>
                <a:gd name="connsiteX5" fmla="*/ 411534 w 448142"/>
                <a:gd name="connsiteY5" fmla="*/ 219641 h 219641"/>
                <a:gd name="connsiteX6" fmla="*/ 36608 w 448142"/>
                <a:gd name="connsiteY6" fmla="*/ 219641 h 219641"/>
                <a:gd name="connsiteX7" fmla="*/ 0 w 448142"/>
                <a:gd name="connsiteY7" fmla="*/ 183033 h 219641"/>
                <a:gd name="connsiteX8" fmla="*/ 0 w 448142"/>
                <a:gd name="connsiteY8" fmla="*/ 36608 h 219641"/>
                <a:gd name="connsiteX0" fmla="*/ 0 w 448142"/>
                <a:gd name="connsiteY0" fmla="*/ 36608 h 219641"/>
                <a:gd name="connsiteX1" fmla="*/ 36608 w 448142"/>
                <a:gd name="connsiteY1" fmla="*/ 0 h 219641"/>
                <a:gd name="connsiteX2" fmla="*/ 411534 w 448142"/>
                <a:gd name="connsiteY2" fmla="*/ 0 h 219641"/>
                <a:gd name="connsiteX3" fmla="*/ 448142 w 448142"/>
                <a:gd name="connsiteY3" fmla="*/ 36608 h 219641"/>
                <a:gd name="connsiteX4" fmla="*/ 448142 w 448142"/>
                <a:gd name="connsiteY4" fmla="*/ 183033 h 219641"/>
                <a:gd name="connsiteX5" fmla="*/ 411534 w 448142"/>
                <a:gd name="connsiteY5" fmla="*/ 219641 h 219641"/>
                <a:gd name="connsiteX6" fmla="*/ 0 w 448142"/>
                <a:gd name="connsiteY6" fmla="*/ 183033 h 219641"/>
                <a:gd name="connsiteX7" fmla="*/ 0 w 448142"/>
                <a:gd name="connsiteY7" fmla="*/ 36608 h 219641"/>
                <a:gd name="connsiteX0" fmla="*/ 0 w 448142"/>
                <a:gd name="connsiteY0" fmla="*/ 36608 h 201336"/>
                <a:gd name="connsiteX1" fmla="*/ 36608 w 448142"/>
                <a:gd name="connsiteY1" fmla="*/ 0 h 201336"/>
                <a:gd name="connsiteX2" fmla="*/ 411534 w 448142"/>
                <a:gd name="connsiteY2" fmla="*/ 0 h 201336"/>
                <a:gd name="connsiteX3" fmla="*/ 448142 w 448142"/>
                <a:gd name="connsiteY3" fmla="*/ 36608 h 201336"/>
                <a:gd name="connsiteX4" fmla="*/ 448142 w 448142"/>
                <a:gd name="connsiteY4" fmla="*/ 183033 h 201336"/>
                <a:gd name="connsiteX5" fmla="*/ 0 w 448142"/>
                <a:gd name="connsiteY5" fmla="*/ 183033 h 201336"/>
                <a:gd name="connsiteX6" fmla="*/ 0 w 448142"/>
                <a:gd name="connsiteY6" fmla="*/ 36608 h 201336"/>
                <a:gd name="connsiteX0" fmla="*/ 0 w 449762"/>
                <a:gd name="connsiteY0" fmla="*/ 36608 h 189986"/>
                <a:gd name="connsiteX1" fmla="*/ 36608 w 449762"/>
                <a:gd name="connsiteY1" fmla="*/ 0 h 189986"/>
                <a:gd name="connsiteX2" fmla="*/ 411534 w 449762"/>
                <a:gd name="connsiteY2" fmla="*/ 0 h 189986"/>
                <a:gd name="connsiteX3" fmla="*/ 448142 w 449762"/>
                <a:gd name="connsiteY3" fmla="*/ 36608 h 189986"/>
                <a:gd name="connsiteX4" fmla="*/ 449762 w 449762"/>
                <a:gd name="connsiteY4" fmla="*/ 137257 h 189986"/>
                <a:gd name="connsiteX5" fmla="*/ 0 w 449762"/>
                <a:gd name="connsiteY5" fmla="*/ 183033 h 189986"/>
                <a:gd name="connsiteX6" fmla="*/ 0 w 449762"/>
                <a:gd name="connsiteY6" fmla="*/ 36608 h 189986"/>
                <a:gd name="connsiteX0" fmla="*/ 0 w 449762"/>
                <a:gd name="connsiteY0" fmla="*/ 36608 h 155080"/>
                <a:gd name="connsiteX1" fmla="*/ 36608 w 449762"/>
                <a:gd name="connsiteY1" fmla="*/ 0 h 155080"/>
                <a:gd name="connsiteX2" fmla="*/ 411534 w 449762"/>
                <a:gd name="connsiteY2" fmla="*/ 0 h 155080"/>
                <a:gd name="connsiteX3" fmla="*/ 448142 w 449762"/>
                <a:gd name="connsiteY3" fmla="*/ 36608 h 155080"/>
                <a:gd name="connsiteX4" fmla="*/ 449762 w 449762"/>
                <a:gd name="connsiteY4" fmla="*/ 137257 h 155080"/>
                <a:gd name="connsiteX5" fmla="*/ 9087 w 449762"/>
                <a:gd name="connsiteY5" fmla="*/ 136283 h 155080"/>
                <a:gd name="connsiteX6" fmla="*/ 0 w 449762"/>
                <a:gd name="connsiteY6" fmla="*/ 36608 h 155080"/>
                <a:gd name="connsiteX0" fmla="*/ 0 w 449762"/>
                <a:gd name="connsiteY0" fmla="*/ 36608 h 148371"/>
                <a:gd name="connsiteX1" fmla="*/ 36608 w 449762"/>
                <a:gd name="connsiteY1" fmla="*/ 0 h 148371"/>
                <a:gd name="connsiteX2" fmla="*/ 411534 w 449762"/>
                <a:gd name="connsiteY2" fmla="*/ 0 h 148371"/>
                <a:gd name="connsiteX3" fmla="*/ 448142 w 449762"/>
                <a:gd name="connsiteY3" fmla="*/ 36608 h 148371"/>
                <a:gd name="connsiteX4" fmla="*/ 449762 w 449762"/>
                <a:gd name="connsiteY4" fmla="*/ 137257 h 148371"/>
                <a:gd name="connsiteX5" fmla="*/ 9087 w 449762"/>
                <a:gd name="connsiteY5" fmla="*/ 136283 h 148371"/>
                <a:gd name="connsiteX6" fmla="*/ 0 w 449762"/>
                <a:gd name="connsiteY6" fmla="*/ 36608 h 148371"/>
                <a:gd name="connsiteX0" fmla="*/ 0 w 449762"/>
                <a:gd name="connsiteY0" fmla="*/ 36608 h 139499"/>
                <a:gd name="connsiteX1" fmla="*/ 36608 w 449762"/>
                <a:gd name="connsiteY1" fmla="*/ 0 h 139499"/>
                <a:gd name="connsiteX2" fmla="*/ 411534 w 449762"/>
                <a:gd name="connsiteY2" fmla="*/ 0 h 139499"/>
                <a:gd name="connsiteX3" fmla="*/ 448142 w 449762"/>
                <a:gd name="connsiteY3" fmla="*/ 36608 h 139499"/>
                <a:gd name="connsiteX4" fmla="*/ 449762 w 449762"/>
                <a:gd name="connsiteY4" fmla="*/ 137257 h 139499"/>
                <a:gd name="connsiteX5" fmla="*/ 9087 w 449762"/>
                <a:gd name="connsiteY5" fmla="*/ 136283 h 139499"/>
                <a:gd name="connsiteX6" fmla="*/ 0 w 449762"/>
                <a:gd name="connsiteY6" fmla="*/ 36608 h 139499"/>
                <a:gd name="connsiteX0" fmla="*/ 0 w 449762"/>
                <a:gd name="connsiteY0" fmla="*/ 36608 h 139499"/>
                <a:gd name="connsiteX1" fmla="*/ 36608 w 449762"/>
                <a:gd name="connsiteY1" fmla="*/ 0 h 139499"/>
                <a:gd name="connsiteX2" fmla="*/ 411534 w 449762"/>
                <a:gd name="connsiteY2" fmla="*/ 0 h 139499"/>
                <a:gd name="connsiteX3" fmla="*/ 448142 w 449762"/>
                <a:gd name="connsiteY3" fmla="*/ 36608 h 139499"/>
                <a:gd name="connsiteX4" fmla="*/ 449762 w 449762"/>
                <a:gd name="connsiteY4" fmla="*/ 137257 h 139499"/>
                <a:gd name="connsiteX5" fmla="*/ 9087 w 449762"/>
                <a:gd name="connsiteY5" fmla="*/ 136283 h 139499"/>
                <a:gd name="connsiteX6" fmla="*/ 0 w 449762"/>
                <a:gd name="connsiteY6" fmla="*/ 36608 h 139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9762" h="139499">
                  <a:moveTo>
                    <a:pt x="0" y="36608"/>
                  </a:moveTo>
                  <a:cubicBezTo>
                    <a:pt x="0" y="16390"/>
                    <a:pt x="16390" y="0"/>
                    <a:pt x="36608" y="0"/>
                  </a:cubicBezTo>
                  <a:lnTo>
                    <a:pt x="411534" y="0"/>
                  </a:lnTo>
                  <a:cubicBezTo>
                    <a:pt x="431752" y="0"/>
                    <a:pt x="448142" y="16390"/>
                    <a:pt x="448142" y="36608"/>
                  </a:cubicBezTo>
                  <a:lnTo>
                    <a:pt x="449762" y="137257"/>
                  </a:lnTo>
                  <a:cubicBezTo>
                    <a:pt x="359553" y="141664"/>
                    <a:pt x="107475" y="138610"/>
                    <a:pt x="9087" y="136283"/>
                  </a:cubicBezTo>
                  <a:lnTo>
                    <a:pt x="0" y="36608"/>
                  </a:lnTo>
                  <a:close/>
                </a:path>
              </a:pathLst>
            </a:custGeom>
            <a:solidFill>
              <a:srgbClr val="C2CD3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accent1"/>
                </a:solidFill>
                <a:latin typeface="Arial" panose="020B0604020202020204" pitchFamily="34" charset="0"/>
                <a:cs typeface="Arial" panose="020B0604020202020204" pitchFamily="34" charset="0"/>
              </a:endParaRPr>
            </a:p>
          </p:txBody>
        </p:sp>
        <p:sp>
          <p:nvSpPr>
            <p:cNvPr id="86" name="Freeform 373"/>
            <p:cNvSpPr/>
            <p:nvPr/>
          </p:nvSpPr>
          <p:spPr>
            <a:xfrm rot="20394435" flipV="1">
              <a:off x="1692080" y="5908362"/>
              <a:ext cx="28409" cy="99629"/>
            </a:xfrm>
            <a:custGeom>
              <a:avLst/>
              <a:gdLst>
                <a:gd name="connsiteX0" fmla="*/ 326359 w 472671"/>
                <a:gd name="connsiteY0" fmla="*/ 173336 h 1702620"/>
                <a:gd name="connsiteX1" fmla="*/ 102574 w 472671"/>
                <a:gd name="connsiteY1" fmla="*/ 236724 h 1702620"/>
                <a:gd name="connsiteX2" fmla="*/ 114581 w 472671"/>
                <a:gd name="connsiteY2" fmla="*/ 1547729 h 1702620"/>
                <a:gd name="connsiteX3" fmla="*/ 347288 w 472671"/>
                <a:gd name="connsiteY3" fmla="*/ 1544447 h 1702620"/>
                <a:gd name="connsiteX4" fmla="*/ 382941 w 472671"/>
                <a:gd name="connsiteY4" fmla="*/ 237854 h 1702620"/>
                <a:gd name="connsiteX5" fmla="*/ 326359 w 472671"/>
                <a:gd name="connsiteY5" fmla="*/ 173336 h 1702620"/>
                <a:gd name="connsiteX6" fmla="*/ 472652 w 472671"/>
                <a:gd name="connsiteY6" fmla="*/ 7013 h 1702620"/>
                <a:gd name="connsiteX7" fmla="*/ 466125 w 472671"/>
                <a:gd name="connsiteY7" fmla="*/ 1702620 h 1702620"/>
                <a:gd name="connsiteX8" fmla="*/ 0 w 472671"/>
                <a:gd name="connsiteY8" fmla="*/ 1699439 h 1702620"/>
                <a:gd name="connsiteX9" fmla="*/ 24253 w 472671"/>
                <a:gd name="connsiteY9" fmla="*/ 0 h 170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2671" h="1702620">
                  <a:moveTo>
                    <a:pt x="326359" y="173336"/>
                  </a:moveTo>
                  <a:cubicBezTo>
                    <a:pt x="243944" y="132906"/>
                    <a:pt x="105361" y="162066"/>
                    <a:pt x="102574" y="236724"/>
                  </a:cubicBezTo>
                  <a:cubicBezTo>
                    <a:pt x="106577" y="673726"/>
                    <a:pt x="164997" y="1242596"/>
                    <a:pt x="114581" y="1547729"/>
                  </a:cubicBezTo>
                  <a:cubicBezTo>
                    <a:pt x="128462" y="1687082"/>
                    <a:pt x="365431" y="1627217"/>
                    <a:pt x="347288" y="1544447"/>
                  </a:cubicBezTo>
                  <a:lnTo>
                    <a:pt x="382941" y="237854"/>
                  </a:lnTo>
                  <a:cubicBezTo>
                    <a:pt x="375061" y="208021"/>
                    <a:pt x="353830" y="186812"/>
                    <a:pt x="326359" y="173336"/>
                  </a:cubicBezTo>
                  <a:close/>
                  <a:moveTo>
                    <a:pt x="472652" y="7013"/>
                  </a:moveTo>
                  <a:cubicBezTo>
                    <a:pt x="473106" y="51175"/>
                    <a:pt x="465671" y="1658458"/>
                    <a:pt x="466125" y="1702620"/>
                  </a:cubicBezTo>
                  <a:lnTo>
                    <a:pt x="0" y="1699439"/>
                  </a:lnTo>
                  <a:lnTo>
                    <a:pt x="24253" y="0"/>
                  </a:lnTo>
                  <a:close/>
                </a:path>
              </a:pathLst>
            </a:custGeom>
            <a:solidFill>
              <a:srgbClr val="0091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solidFill>
                  <a:schemeClr val="accent1"/>
                </a:solidFill>
                <a:latin typeface="Arial" panose="020B0604020202020204" pitchFamily="34" charset="0"/>
                <a:cs typeface="Arial" panose="020B0604020202020204" pitchFamily="34" charset="0"/>
              </a:endParaRPr>
            </a:p>
          </p:txBody>
        </p:sp>
        <p:sp>
          <p:nvSpPr>
            <p:cNvPr id="87" name="Rectangle 21"/>
            <p:cNvSpPr/>
            <p:nvPr/>
          </p:nvSpPr>
          <p:spPr>
            <a:xfrm rot="19734435" flipV="1">
              <a:off x="1649761" y="5814220"/>
              <a:ext cx="39596" cy="74612"/>
            </a:xfrm>
            <a:custGeom>
              <a:avLst/>
              <a:gdLst>
                <a:gd name="connsiteX0" fmla="*/ 0 w 406400"/>
                <a:gd name="connsiteY0" fmla="*/ 0 h 682171"/>
                <a:gd name="connsiteX1" fmla="*/ 406400 w 406400"/>
                <a:gd name="connsiteY1" fmla="*/ 0 h 682171"/>
                <a:gd name="connsiteX2" fmla="*/ 406400 w 406400"/>
                <a:gd name="connsiteY2" fmla="*/ 682171 h 682171"/>
                <a:gd name="connsiteX3" fmla="*/ 0 w 406400"/>
                <a:gd name="connsiteY3" fmla="*/ 682171 h 682171"/>
                <a:gd name="connsiteX4" fmla="*/ 0 w 406400"/>
                <a:gd name="connsiteY4" fmla="*/ 0 h 682171"/>
                <a:gd name="connsiteX0" fmla="*/ 0 w 442118"/>
                <a:gd name="connsiteY0" fmla="*/ 80963 h 763134"/>
                <a:gd name="connsiteX1" fmla="*/ 442118 w 442118"/>
                <a:gd name="connsiteY1" fmla="*/ 0 h 763134"/>
                <a:gd name="connsiteX2" fmla="*/ 406400 w 442118"/>
                <a:gd name="connsiteY2" fmla="*/ 763134 h 763134"/>
                <a:gd name="connsiteX3" fmla="*/ 0 w 442118"/>
                <a:gd name="connsiteY3" fmla="*/ 763134 h 763134"/>
                <a:gd name="connsiteX4" fmla="*/ 0 w 442118"/>
                <a:gd name="connsiteY4" fmla="*/ 80963 h 763134"/>
                <a:gd name="connsiteX0" fmla="*/ 0 w 656431"/>
                <a:gd name="connsiteY0" fmla="*/ 80963 h 1186996"/>
                <a:gd name="connsiteX1" fmla="*/ 442118 w 656431"/>
                <a:gd name="connsiteY1" fmla="*/ 0 h 1186996"/>
                <a:gd name="connsiteX2" fmla="*/ 656431 w 656431"/>
                <a:gd name="connsiteY2" fmla="*/ 1186996 h 1186996"/>
                <a:gd name="connsiteX3" fmla="*/ 0 w 656431"/>
                <a:gd name="connsiteY3" fmla="*/ 763134 h 1186996"/>
                <a:gd name="connsiteX4" fmla="*/ 0 w 656431"/>
                <a:gd name="connsiteY4" fmla="*/ 80963 h 1186996"/>
                <a:gd name="connsiteX0" fmla="*/ 0 w 656431"/>
                <a:gd name="connsiteY0" fmla="*/ 80963 h 1275102"/>
                <a:gd name="connsiteX1" fmla="*/ 442118 w 656431"/>
                <a:gd name="connsiteY1" fmla="*/ 0 h 1275102"/>
                <a:gd name="connsiteX2" fmla="*/ 656431 w 656431"/>
                <a:gd name="connsiteY2" fmla="*/ 1186996 h 1275102"/>
                <a:gd name="connsiteX3" fmla="*/ 219075 w 656431"/>
                <a:gd name="connsiteY3" fmla="*/ 1275102 h 1275102"/>
                <a:gd name="connsiteX4" fmla="*/ 0 w 656431"/>
                <a:gd name="connsiteY4" fmla="*/ 80963 h 1275102"/>
                <a:gd name="connsiteX0" fmla="*/ 0 w 658812"/>
                <a:gd name="connsiteY0" fmla="*/ 80963 h 1275102"/>
                <a:gd name="connsiteX1" fmla="*/ 442118 w 658812"/>
                <a:gd name="connsiteY1" fmla="*/ 0 h 1275102"/>
                <a:gd name="connsiteX2" fmla="*/ 658812 w 658812"/>
                <a:gd name="connsiteY2" fmla="*/ 1191759 h 1275102"/>
                <a:gd name="connsiteX3" fmla="*/ 219075 w 658812"/>
                <a:gd name="connsiteY3" fmla="*/ 1275102 h 1275102"/>
                <a:gd name="connsiteX4" fmla="*/ 0 w 658812"/>
                <a:gd name="connsiteY4" fmla="*/ 80963 h 1275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8812" h="1275102">
                  <a:moveTo>
                    <a:pt x="0" y="80963"/>
                  </a:moveTo>
                  <a:lnTo>
                    <a:pt x="442118" y="0"/>
                  </a:lnTo>
                  <a:lnTo>
                    <a:pt x="658812" y="1191759"/>
                  </a:lnTo>
                  <a:lnTo>
                    <a:pt x="219075" y="1275102"/>
                  </a:lnTo>
                  <a:lnTo>
                    <a:pt x="0" y="80963"/>
                  </a:lnTo>
                  <a:close/>
                </a:path>
              </a:pathLst>
            </a:custGeom>
            <a:solidFill>
              <a:srgbClr val="0091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accent1"/>
                </a:solidFill>
                <a:latin typeface="Arial" panose="020B0604020202020204" pitchFamily="34" charset="0"/>
                <a:cs typeface="Arial" panose="020B0604020202020204" pitchFamily="34" charset="0"/>
              </a:endParaRPr>
            </a:p>
          </p:txBody>
        </p:sp>
        <p:sp>
          <p:nvSpPr>
            <p:cNvPr id="88" name="Rectangle 22"/>
            <p:cNvSpPr/>
            <p:nvPr/>
          </p:nvSpPr>
          <p:spPr>
            <a:xfrm rot="19734435" flipV="1">
              <a:off x="1633723" y="5773156"/>
              <a:ext cx="26715" cy="46466"/>
            </a:xfrm>
            <a:custGeom>
              <a:avLst/>
              <a:gdLst>
                <a:gd name="connsiteX0" fmla="*/ 0 w 406400"/>
                <a:gd name="connsiteY0" fmla="*/ 0 h 682171"/>
                <a:gd name="connsiteX1" fmla="*/ 406400 w 406400"/>
                <a:gd name="connsiteY1" fmla="*/ 0 h 682171"/>
                <a:gd name="connsiteX2" fmla="*/ 406400 w 406400"/>
                <a:gd name="connsiteY2" fmla="*/ 682171 h 682171"/>
                <a:gd name="connsiteX3" fmla="*/ 0 w 406400"/>
                <a:gd name="connsiteY3" fmla="*/ 682171 h 682171"/>
                <a:gd name="connsiteX4" fmla="*/ 0 w 406400"/>
                <a:gd name="connsiteY4" fmla="*/ 0 h 682171"/>
                <a:gd name="connsiteX0" fmla="*/ 0 w 444500"/>
                <a:gd name="connsiteY0" fmla="*/ 95250 h 777421"/>
                <a:gd name="connsiteX1" fmla="*/ 444500 w 444500"/>
                <a:gd name="connsiteY1" fmla="*/ 0 h 777421"/>
                <a:gd name="connsiteX2" fmla="*/ 406400 w 444500"/>
                <a:gd name="connsiteY2" fmla="*/ 777421 h 777421"/>
                <a:gd name="connsiteX3" fmla="*/ 0 w 444500"/>
                <a:gd name="connsiteY3" fmla="*/ 777421 h 777421"/>
                <a:gd name="connsiteX4" fmla="*/ 0 w 444500"/>
                <a:gd name="connsiteY4" fmla="*/ 95250 h 777421"/>
                <a:gd name="connsiteX0" fmla="*/ 0 w 444500"/>
                <a:gd name="connsiteY0" fmla="*/ 95250 h 777421"/>
                <a:gd name="connsiteX1" fmla="*/ 444500 w 444500"/>
                <a:gd name="connsiteY1" fmla="*/ 0 h 777421"/>
                <a:gd name="connsiteX2" fmla="*/ 408782 w 444500"/>
                <a:gd name="connsiteY2" fmla="*/ 748846 h 777421"/>
                <a:gd name="connsiteX3" fmla="*/ 0 w 444500"/>
                <a:gd name="connsiteY3" fmla="*/ 777421 h 777421"/>
                <a:gd name="connsiteX4" fmla="*/ 0 w 444500"/>
                <a:gd name="connsiteY4" fmla="*/ 95250 h 777421"/>
                <a:gd name="connsiteX0" fmla="*/ 0 w 444500"/>
                <a:gd name="connsiteY0" fmla="*/ 95250 h 777421"/>
                <a:gd name="connsiteX1" fmla="*/ 444500 w 444500"/>
                <a:gd name="connsiteY1" fmla="*/ 0 h 777421"/>
                <a:gd name="connsiteX2" fmla="*/ 408782 w 444500"/>
                <a:gd name="connsiteY2" fmla="*/ 758371 h 777421"/>
                <a:gd name="connsiteX3" fmla="*/ 0 w 444500"/>
                <a:gd name="connsiteY3" fmla="*/ 777421 h 777421"/>
                <a:gd name="connsiteX4" fmla="*/ 0 w 444500"/>
                <a:gd name="connsiteY4" fmla="*/ 95250 h 777421"/>
                <a:gd name="connsiteX0" fmla="*/ 0 w 444500"/>
                <a:gd name="connsiteY0" fmla="*/ 95250 h 789328"/>
                <a:gd name="connsiteX1" fmla="*/ 444500 w 444500"/>
                <a:gd name="connsiteY1" fmla="*/ 0 h 789328"/>
                <a:gd name="connsiteX2" fmla="*/ 408782 w 444500"/>
                <a:gd name="connsiteY2" fmla="*/ 758371 h 789328"/>
                <a:gd name="connsiteX3" fmla="*/ 290512 w 444500"/>
                <a:gd name="connsiteY3" fmla="*/ 789328 h 789328"/>
                <a:gd name="connsiteX4" fmla="*/ 0 w 444500"/>
                <a:gd name="connsiteY4" fmla="*/ 95250 h 789328"/>
                <a:gd name="connsiteX0" fmla="*/ 0 w 444500"/>
                <a:gd name="connsiteY0" fmla="*/ 95250 h 794090"/>
                <a:gd name="connsiteX1" fmla="*/ 444500 w 444500"/>
                <a:gd name="connsiteY1" fmla="*/ 0 h 794090"/>
                <a:gd name="connsiteX2" fmla="*/ 408782 w 444500"/>
                <a:gd name="connsiteY2" fmla="*/ 758371 h 794090"/>
                <a:gd name="connsiteX3" fmla="*/ 292894 w 444500"/>
                <a:gd name="connsiteY3" fmla="*/ 794090 h 794090"/>
                <a:gd name="connsiteX4" fmla="*/ 0 w 444500"/>
                <a:gd name="connsiteY4" fmla="*/ 95250 h 794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794090">
                  <a:moveTo>
                    <a:pt x="0" y="95250"/>
                  </a:moveTo>
                  <a:lnTo>
                    <a:pt x="444500" y="0"/>
                  </a:lnTo>
                  <a:lnTo>
                    <a:pt x="408782" y="758371"/>
                  </a:lnTo>
                  <a:lnTo>
                    <a:pt x="292894" y="794090"/>
                  </a:lnTo>
                  <a:lnTo>
                    <a:pt x="0" y="95250"/>
                  </a:lnTo>
                  <a:close/>
                </a:path>
              </a:pathLst>
            </a:custGeom>
            <a:solidFill>
              <a:srgbClr val="0091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accent1"/>
                </a:solidFill>
                <a:latin typeface="Arial" panose="020B0604020202020204" pitchFamily="34" charset="0"/>
                <a:cs typeface="Arial" panose="020B0604020202020204" pitchFamily="34" charset="0"/>
              </a:endParaRPr>
            </a:p>
          </p:txBody>
        </p:sp>
        <p:sp>
          <p:nvSpPr>
            <p:cNvPr id="89" name="Rectangle 23"/>
            <p:cNvSpPr/>
            <p:nvPr/>
          </p:nvSpPr>
          <p:spPr>
            <a:xfrm rot="19734435" flipV="1">
              <a:off x="1638511" y="5763045"/>
              <a:ext cx="3865" cy="8392"/>
            </a:xfrm>
            <a:custGeom>
              <a:avLst/>
              <a:gdLst>
                <a:gd name="connsiteX0" fmla="*/ 0 w 90502"/>
                <a:gd name="connsiteY0" fmla="*/ 0 h 119273"/>
                <a:gd name="connsiteX1" fmla="*/ 90502 w 90502"/>
                <a:gd name="connsiteY1" fmla="*/ 0 h 119273"/>
                <a:gd name="connsiteX2" fmla="*/ 90502 w 90502"/>
                <a:gd name="connsiteY2" fmla="*/ 119273 h 119273"/>
                <a:gd name="connsiteX3" fmla="*/ 0 w 90502"/>
                <a:gd name="connsiteY3" fmla="*/ 119273 h 119273"/>
                <a:gd name="connsiteX4" fmla="*/ 0 w 90502"/>
                <a:gd name="connsiteY4" fmla="*/ 0 h 119273"/>
                <a:gd name="connsiteX0" fmla="*/ 0 w 90502"/>
                <a:gd name="connsiteY0" fmla="*/ 21431 h 140704"/>
                <a:gd name="connsiteX1" fmla="*/ 54783 w 90502"/>
                <a:gd name="connsiteY1" fmla="*/ 0 h 140704"/>
                <a:gd name="connsiteX2" fmla="*/ 90502 w 90502"/>
                <a:gd name="connsiteY2" fmla="*/ 140704 h 140704"/>
                <a:gd name="connsiteX3" fmla="*/ 0 w 90502"/>
                <a:gd name="connsiteY3" fmla="*/ 140704 h 140704"/>
                <a:gd name="connsiteX4" fmla="*/ 0 w 90502"/>
                <a:gd name="connsiteY4" fmla="*/ 21431 h 140704"/>
                <a:gd name="connsiteX0" fmla="*/ 0 w 64309"/>
                <a:gd name="connsiteY0" fmla="*/ 21431 h 140704"/>
                <a:gd name="connsiteX1" fmla="*/ 54783 w 64309"/>
                <a:gd name="connsiteY1" fmla="*/ 0 h 140704"/>
                <a:gd name="connsiteX2" fmla="*/ 64309 w 64309"/>
                <a:gd name="connsiteY2" fmla="*/ 124035 h 140704"/>
                <a:gd name="connsiteX3" fmla="*/ 0 w 64309"/>
                <a:gd name="connsiteY3" fmla="*/ 140704 h 140704"/>
                <a:gd name="connsiteX4" fmla="*/ 0 w 64309"/>
                <a:gd name="connsiteY4" fmla="*/ 21431 h 140704"/>
                <a:gd name="connsiteX0" fmla="*/ 0 w 64309"/>
                <a:gd name="connsiteY0" fmla="*/ 21431 h 124035"/>
                <a:gd name="connsiteX1" fmla="*/ 54783 w 64309"/>
                <a:gd name="connsiteY1" fmla="*/ 0 h 124035"/>
                <a:gd name="connsiteX2" fmla="*/ 64309 w 64309"/>
                <a:gd name="connsiteY2" fmla="*/ 124035 h 124035"/>
                <a:gd name="connsiteX3" fmla="*/ 14288 w 64309"/>
                <a:gd name="connsiteY3" fmla="*/ 121654 h 124035"/>
                <a:gd name="connsiteX4" fmla="*/ 0 w 64309"/>
                <a:gd name="connsiteY4" fmla="*/ 21431 h 124035"/>
                <a:gd name="connsiteX0" fmla="*/ 0 w 64309"/>
                <a:gd name="connsiteY0" fmla="*/ 21431 h 135164"/>
                <a:gd name="connsiteX1" fmla="*/ 54783 w 64309"/>
                <a:gd name="connsiteY1" fmla="*/ 0 h 135164"/>
                <a:gd name="connsiteX2" fmla="*/ 64309 w 64309"/>
                <a:gd name="connsiteY2" fmla="*/ 124035 h 135164"/>
                <a:gd name="connsiteX3" fmla="*/ 14288 w 64309"/>
                <a:gd name="connsiteY3" fmla="*/ 121654 h 135164"/>
                <a:gd name="connsiteX4" fmla="*/ 0 w 64309"/>
                <a:gd name="connsiteY4" fmla="*/ 21431 h 135164"/>
                <a:gd name="connsiteX0" fmla="*/ 0 w 64309"/>
                <a:gd name="connsiteY0" fmla="*/ 21431 h 135164"/>
                <a:gd name="connsiteX1" fmla="*/ 54783 w 64309"/>
                <a:gd name="connsiteY1" fmla="*/ 0 h 135164"/>
                <a:gd name="connsiteX2" fmla="*/ 64309 w 64309"/>
                <a:gd name="connsiteY2" fmla="*/ 124035 h 135164"/>
                <a:gd name="connsiteX3" fmla="*/ 14288 w 64309"/>
                <a:gd name="connsiteY3" fmla="*/ 121654 h 135164"/>
                <a:gd name="connsiteX4" fmla="*/ 0 w 64309"/>
                <a:gd name="connsiteY4" fmla="*/ 21431 h 135164"/>
                <a:gd name="connsiteX0" fmla="*/ 0 w 64309"/>
                <a:gd name="connsiteY0" fmla="*/ 21431 h 141626"/>
                <a:gd name="connsiteX1" fmla="*/ 54783 w 64309"/>
                <a:gd name="connsiteY1" fmla="*/ 0 h 141626"/>
                <a:gd name="connsiteX2" fmla="*/ 64309 w 64309"/>
                <a:gd name="connsiteY2" fmla="*/ 124035 h 141626"/>
                <a:gd name="connsiteX3" fmla="*/ 14288 w 64309"/>
                <a:gd name="connsiteY3" fmla="*/ 121654 h 141626"/>
                <a:gd name="connsiteX4" fmla="*/ 0 w 64309"/>
                <a:gd name="connsiteY4" fmla="*/ 21431 h 141626"/>
                <a:gd name="connsiteX0" fmla="*/ 0 w 64309"/>
                <a:gd name="connsiteY0" fmla="*/ 21431 h 142561"/>
                <a:gd name="connsiteX1" fmla="*/ 54783 w 64309"/>
                <a:gd name="connsiteY1" fmla="*/ 0 h 142561"/>
                <a:gd name="connsiteX2" fmla="*/ 64309 w 64309"/>
                <a:gd name="connsiteY2" fmla="*/ 124035 h 142561"/>
                <a:gd name="connsiteX3" fmla="*/ 14288 w 64309"/>
                <a:gd name="connsiteY3" fmla="*/ 121654 h 142561"/>
                <a:gd name="connsiteX4" fmla="*/ 0 w 64309"/>
                <a:gd name="connsiteY4" fmla="*/ 21431 h 142561"/>
                <a:gd name="connsiteX0" fmla="*/ 0 w 64309"/>
                <a:gd name="connsiteY0" fmla="*/ 21431 h 143409"/>
                <a:gd name="connsiteX1" fmla="*/ 54783 w 64309"/>
                <a:gd name="connsiteY1" fmla="*/ 0 h 143409"/>
                <a:gd name="connsiteX2" fmla="*/ 64309 w 64309"/>
                <a:gd name="connsiteY2" fmla="*/ 124035 h 143409"/>
                <a:gd name="connsiteX3" fmla="*/ 14288 w 64309"/>
                <a:gd name="connsiteY3" fmla="*/ 121654 h 143409"/>
                <a:gd name="connsiteX4" fmla="*/ 0 w 64309"/>
                <a:gd name="connsiteY4" fmla="*/ 21431 h 143409"/>
                <a:gd name="connsiteX0" fmla="*/ 0 w 64309"/>
                <a:gd name="connsiteY0" fmla="*/ 21431 h 143409"/>
                <a:gd name="connsiteX1" fmla="*/ 47640 w 64309"/>
                <a:gd name="connsiteY1" fmla="*/ 0 h 143409"/>
                <a:gd name="connsiteX2" fmla="*/ 64309 w 64309"/>
                <a:gd name="connsiteY2" fmla="*/ 124035 h 143409"/>
                <a:gd name="connsiteX3" fmla="*/ 14288 w 64309"/>
                <a:gd name="connsiteY3" fmla="*/ 121654 h 143409"/>
                <a:gd name="connsiteX4" fmla="*/ 0 w 64309"/>
                <a:gd name="connsiteY4" fmla="*/ 21431 h 1434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09" h="143409">
                  <a:moveTo>
                    <a:pt x="0" y="21431"/>
                  </a:moveTo>
                  <a:lnTo>
                    <a:pt x="47640" y="0"/>
                  </a:lnTo>
                  <a:lnTo>
                    <a:pt x="64309" y="124035"/>
                  </a:lnTo>
                  <a:cubicBezTo>
                    <a:pt x="57160" y="147053"/>
                    <a:pt x="14294" y="153404"/>
                    <a:pt x="14288" y="121654"/>
                  </a:cubicBezTo>
                  <a:lnTo>
                    <a:pt x="0" y="21431"/>
                  </a:lnTo>
                  <a:close/>
                </a:path>
              </a:pathLst>
            </a:custGeom>
            <a:solidFill>
              <a:srgbClr val="C2CD3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accent1"/>
                </a:solidFill>
                <a:latin typeface="Arial" panose="020B0604020202020204" pitchFamily="34" charset="0"/>
                <a:cs typeface="Arial" panose="020B0604020202020204" pitchFamily="34" charset="0"/>
              </a:endParaRPr>
            </a:p>
          </p:txBody>
        </p:sp>
        <p:sp>
          <p:nvSpPr>
            <p:cNvPr id="82" name="Freeform 369"/>
            <p:cNvSpPr/>
            <p:nvPr/>
          </p:nvSpPr>
          <p:spPr>
            <a:xfrm rot="21591267" flipV="1">
              <a:off x="1467166" y="5720081"/>
              <a:ext cx="237393" cy="300607"/>
            </a:xfrm>
            <a:custGeom>
              <a:avLst/>
              <a:gdLst>
                <a:gd name="connsiteX0" fmla="*/ 408823 w 3949778"/>
                <a:gd name="connsiteY0" fmla="*/ 3231620 h 5137252"/>
                <a:gd name="connsiteX1" fmla="*/ 341120 w 3949778"/>
                <a:gd name="connsiteY1" fmla="*/ 3218017 h 5137252"/>
                <a:gd name="connsiteX2" fmla="*/ 218202 w 3949778"/>
                <a:gd name="connsiteY2" fmla="*/ 3269064 h 5137252"/>
                <a:gd name="connsiteX3" fmla="*/ 213987 w 3949778"/>
                <a:gd name="connsiteY3" fmla="*/ 3275327 h 5137252"/>
                <a:gd name="connsiteX4" fmla="*/ 2216 w 3949778"/>
                <a:gd name="connsiteY4" fmla="*/ 3276343 h 5137252"/>
                <a:gd name="connsiteX5" fmla="*/ 1466 w 3949778"/>
                <a:gd name="connsiteY5" fmla="*/ 3509122 h 5137252"/>
                <a:gd name="connsiteX6" fmla="*/ 213223 w 3949778"/>
                <a:gd name="connsiteY6" fmla="*/ 3507290 h 5137252"/>
                <a:gd name="connsiteX7" fmla="*/ 218428 w 3949778"/>
                <a:gd name="connsiteY7" fmla="*/ 3514996 h 5137252"/>
                <a:gd name="connsiteX8" fmla="*/ 341441 w 3949778"/>
                <a:gd name="connsiteY8" fmla="*/ 3565816 h 5137252"/>
                <a:gd name="connsiteX9" fmla="*/ 515181 w 3949778"/>
                <a:gd name="connsiteY9" fmla="*/ 3391757 h 5137252"/>
                <a:gd name="connsiteX10" fmla="*/ 408823 w 3949778"/>
                <a:gd name="connsiteY10" fmla="*/ 3231620 h 5137252"/>
                <a:gd name="connsiteX11" fmla="*/ 1903445 w 3949778"/>
                <a:gd name="connsiteY11" fmla="*/ 4012352 h 5137252"/>
                <a:gd name="connsiteX12" fmla="*/ 1858290 w 3949778"/>
                <a:gd name="connsiteY12" fmla="*/ 4003279 h 5137252"/>
                <a:gd name="connsiteX13" fmla="*/ 959661 w 3949778"/>
                <a:gd name="connsiteY13" fmla="*/ 4004107 h 5137252"/>
                <a:gd name="connsiteX14" fmla="*/ 843788 w 3949778"/>
                <a:gd name="connsiteY14" fmla="*/ 4120195 h 5137252"/>
                <a:gd name="connsiteX15" fmla="*/ 959876 w 3949778"/>
                <a:gd name="connsiteY15" fmla="*/ 4236069 h 5137252"/>
                <a:gd name="connsiteX16" fmla="*/ 1858505 w 3949778"/>
                <a:gd name="connsiteY16" fmla="*/ 4235241 h 5137252"/>
                <a:gd name="connsiteX17" fmla="*/ 1974379 w 3949778"/>
                <a:gd name="connsiteY17" fmla="*/ 4119154 h 5137252"/>
                <a:gd name="connsiteX18" fmla="*/ 1903445 w 3949778"/>
                <a:gd name="connsiteY18" fmla="*/ 4012352 h 5137252"/>
                <a:gd name="connsiteX19" fmla="*/ 3479313 w 3949778"/>
                <a:gd name="connsiteY19" fmla="*/ 918916 h 5137252"/>
                <a:gd name="connsiteX20" fmla="*/ 3434158 w 3949778"/>
                <a:gd name="connsiteY20" fmla="*/ 909842 h 5137252"/>
                <a:gd name="connsiteX21" fmla="*/ 964487 w 3949778"/>
                <a:gd name="connsiteY21" fmla="*/ 912118 h 5137252"/>
                <a:gd name="connsiteX22" fmla="*/ 848613 w 3949778"/>
                <a:gd name="connsiteY22" fmla="*/ 1028206 h 5137252"/>
                <a:gd name="connsiteX23" fmla="*/ 964701 w 3949778"/>
                <a:gd name="connsiteY23" fmla="*/ 1144080 h 5137252"/>
                <a:gd name="connsiteX24" fmla="*/ 3434372 w 3949778"/>
                <a:gd name="connsiteY24" fmla="*/ 1141804 h 5137252"/>
                <a:gd name="connsiteX25" fmla="*/ 3550246 w 3949778"/>
                <a:gd name="connsiteY25" fmla="*/ 1025717 h 5137252"/>
                <a:gd name="connsiteX26" fmla="*/ 3479313 w 3949778"/>
                <a:gd name="connsiteY26" fmla="*/ 918916 h 5137252"/>
                <a:gd name="connsiteX27" fmla="*/ 3837597 w 3949778"/>
                <a:gd name="connsiteY27" fmla="*/ 41763 h 5137252"/>
                <a:gd name="connsiteX28" fmla="*/ 3945411 w 3949778"/>
                <a:gd name="connsiteY28" fmla="*/ 244537 h 5137252"/>
                <a:gd name="connsiteX29" fmla="*/ 3520923 w 3949778"/>
                <a:gd name="connsiteY29" fmla="*/ 1396482 h 5137252"/>
                <a:gd name="connsiteX30" fmla="*/ 3466178 w 3949778"/>
                <a:gd name="connsiteY30" fmla="*/ 1540909 h 5137252"/>
                <a:gd name="connsiteX31" fmla="*/ 3426988 w 3949778"/>
                <a:gd name="connsiteY31" fmla="*/ 1533034 h 5137252"/>
                <a:gd name="connsiteX32" fmla="*/ 957316 w 3949778"/>
                <a:gd name="connsiteY32" fmla="*/ 1535310 h 5137252"/>
                <a:gd name="connsiteX33" fmla="*/ 841442 w 3949778"/>
                <a:gd name="connsiteY33" fmla="*/ 1651398 h 5137252"/>
                <a:gd name="connsiteX34" fmla="*/ 957530 w 3949778"/>
                <a:gd name="connsiteY34" fmla="*/ 1767272 h 5137252"/>
                <a:gd name="connsiteX35" fmla="*/ 3381059 w 3949778"/>
                <a:gd name="connsiteY35" fmla="*/ 1765039 h 5137252"/>
                <a:gd name="connsiteX36" fmla="*/ 3335438 w 3949778"/>
                <a:gd name="connsiteY36" fmla="*/ 1884985 h 5137252"/>
                <a:gd name="connsiteX37" fmla="*/ 3234693 w 3949778"/>
                <a:gd name="connsiteY37" fmla="*/ 2149055 h 5137252"/>
                <a:gd name="connsiteX38" fmla="*/ 965662 w 3949778"/>
                <a:gd name="connsiteY38" fmla="*/ 2151146 h 5137252"/>
                <a:gd name="connsiteX39" fmla="*/ 849788 w 3949778"/>
                <a:gd name="connsiteY39" fmla="*/ 2267234 h 5137252"/>
                <a:gd name="connsiteX40" fmla="*/ 965876 w 3949778"/>
                <a:gd name="connsiteY40" fmla="*/ 2383107 h 5137252"/>
                <a:gd name="connsiteX41" fmla="*/ 3146162 w 3949778"/>
                <a:gd name="connsiteY41" fmla="*/ 2381099 h 5137252"/>
                <a:gd name="connsiteX42" fmla="*/ 3058829 w 3949778"/>
                <a:gd name="connsiteY42" fmla="*/ 2609727 h 5137252"/>
                <a:gd name="connsiteX43" fmla="*/ 2997318 w 3949778"/>
                <a:gd name="connsiteY43" fmla="*/ 2770827 h 5137252"/>
                <a:gd name="connsiteX44" fmla="*/ 965025 w 3949778"/>
                <a:gd name="connsiteY44" fmla="*/ 2772700 h 5137252"/>
                <a:gd name="connsiteX45" fmla="*/ 849151 w 3949778"/>
                <a:gd name="connsiteY45" fmla="*/ 2888787 h 5137252"/>
                <a:gd name="connsiteX46" fmla="*/ 965239 w 3949778"/>
                <a:gd name="connsiteY46" fmla="*/ 3004661 h 5137252"/>
                <a:gd name="connsiteX47" fmla="*/ 2908819 w 3949778"/>
                <a:gd name="connsiteY47" fmla="*/ 3002870 h 5137252"/>
                <a:gd name="connsiteX48" fmla="*/ 2893682 w 3949778"/>
                <a:gd name="connsiteY48" fmla="*/ 3042577 h 5137252"/>
                <a:gd name="connsiteX49" fmla="*/ 2821562 w 3949778"/>
                <a:gd name="connsiteY49" fmla="*/ 3232345 h 5137252"/>
                <a:gd name="connsiteX50" fmla="*/ 2762222 w 3949778"/>
                <a:gd name="connsiteY50" fmla="*/ 3389325 h 5137252"/>
                <a:gd name="connsiteX51" fmla="*/ 949683 w 3949778"/>
                <a:gd name="connsiteY51" fmla="*/ 3390995 h 5137252"/>
                <a:gd name="connsiteX52" fmla="*/ 833809 w 3949778"/>
                <a:gd name="connsiteY52" fmla="*/ 3507083 h 5137252"/>
                <a:gd name="connsiteX53" fmla="*/ 949897 w 3949778"/>
                <a:gd name="connsiteY53" fmla="*/ 3622957 h 5137252"/>
                <a:gd name="connsiteX54" fmla="*/ 2732014 w 3949778"/>
                <a:gd name="connsiteY54" fmla="*/ 3621315 h 5137252"/>
                <a:gd name="connsiteX55" fmla="*/ 2703042 w 3949778"/>
                <a:gd name="connsiteY55" fmla="*/ 3568605 h 5137252"/>
                <a:gd name="connsiteX56" fmla="*/ 2709514 w 3949778"/>
                <a:gd name="connsiteY56" fmla="*/ 3551479 h 5137252"/>
                <a:gd name="connsiteX57" fmla="*/ 2713161 w 3949778"/>
                <a:gd name="connsiteY57" fmla="*/ 3564191 h 5137252"/>
                <a:gd name="connsiteX58" fmla="*/ 2736830 w 3949778"/>
                <a:gd name="connsiteY58" fmla="*/ 3605524 h 5137252"/>
                <a:gd name="connsiteX59" fmla="*/ 2633061 w 3949778"/>
                <a:gd name="connsiteY59" fmla="*/ 4312952 h 5137252"/>
                <a:gd name="connsiteX60" fmla="*/ 2957180 w 3949778"/>
                <a:gd name="connsiteY60" fmla="*/ 4409562 h 5137252"/>
                <a:gd name="connsiteX61" fmla="*/ 3482402 w 3949778"/>
                <a:gd name="connsiteY61" fmla="*/ 3613885 h 5137252"/>
                <a:gd name="connsiteX62" fmla="*/ 3552044 w 3949778"/>
                <a:gd name="connsiteY62" fmla="*/ 3429821 h 5137252"/>
                <a:gd name="connsiteX63" fmla="*/ 3949778 w 3949778"/>
                <a:gd name="connsiteY63" fmla="*/ 2383707 h 5137252"/>
                <a:gd name="connsiteX64" fmla="*/ 3945411 w 3949778"/>
                <a:gd name="connsiteY64" fmla="*/ 4892715 h 5137252"/>
                <a:gd name="connsiteX65" fmla="*/ 3700874 w 3949778"/>
                <a:gd name="connsiteY65" fmla="*/ 5137252 h 5137252"/>
                <a:gd name="connsiteX66" fmla="*/ 244537 w 3949778"/>
                <a:gd name="connsiteY66" fmla="*/ 5137252 h 5137252"/>
                <a:gd name="connsiteX67" fmla="*/ 0 w 3949778"/>
                <a:gd name="connsiteY67" fmla="*/ 4892715 h 5137252"/>
                <a:gd name="connsiteX68" fmla="*/ 0 w 3949778"/>
                <a:gd name="connsiteY68" fmla="*/ 4605616 h 5137252"/>
                <a:gd name="connsiteX69" fmla="*/ 222310 w 3949778"/>
                <a:gd name="connsiteY69" fmla="*/ 4605020 h 5137252"/>
                <a:gd name="connsiteX70" fmla="*/ 223099 w 3949778"/>
                <a:gd name="connsiteY70" fmla="*/ 4606189 h 5137252"/>
                <a:gd name="connsiteX71" fmla="*/ 346112 w 3949778"/>
                <a:gd name="connsiteY71" fmla="*/ 4657010 h 5137252"/>
                <a:gd name="connsiteX72" fmla="*/ 519851 w 3949778"/>
                <a:gd name="connsiteY72" fmla="*/ 4482950 h 5137252"/>
                <a:gd name="connsiteX73" fmla="*/ 413494 w 3949778"/>
                <a:gd name="connsiteY73" fmla="*/ 4322814 h 5137252"/>
                <a:gd name="connsiteX74" fmla="*/ 345791 w 3949778"/>
                <a:gd name="connsiteY74" fmla="*/ 4309210 h 5137252"/>
                <a:gd name="connsiteX75" fmla="*/ 222872 w 3949778"/>
                <a:gd name="connsiteY75" fmla="*/ 4360257 h 5137252"/>
                <a:gd name="connsiteX76" fmla="*/ 214254 w 3949778"/>
                <a:gd name="connsiteY76" fmla="*/ 4373065 h 5137252"/>
                <a:gd name="connsiteX77" fmla="*/ 0 w 3949778"/>
                <a:gd name="connsiteY77" fmla="*/ 4376088 h 5137252"/>
                <a:gd name="connsiteX78" fmla="*/ 0 w 3949778"/>
                <a:gd name="connsiteY78" fmla="*/ 4048176 h 5137252"/>
                <a:gd name="connsiteX79" fmla="*/ 213279 w 3949778"/>
                <a:gd name="connsiteY79" fmla="*/ 4047458 h 5137252"/>
                <a:gd name="connsiteX80" fmla="*/ 227300 w 3949778"/>
                <a:gd name="connsiteY80" fmla="*/ 4068214 h 5137252"/>
                <a:gd name="connsiteX81" fmla="*/ 350312 w 3949778"/>
                <a:gd name="connsiteY81" fmla="*/ 4119034 h 5137252"/>
                <a:gd name="connsiteX82" fmla="*/ 524052 w 3949778"/>
                <a:gd name="connsiteY82" fmla="*/ 3944974 h 5137252"/>
                <a:gd name="connsiteX83" fmla="*/ 417694 w 3949778"/>
                <a:gd name="connsiteY83" fmla="*/ 3784839 h 5137252"/>
                <a:gd name="connsiteX84" fmla="*/ 349992 w 3949778"/>
                <a:gd name="connsiteY84" fmla="*/ 3771235 h 5137252"/>
                <a:gd name="connsiteX85" fmla="*/ 282315 w 3949778"/>
                <a:gd name="connsiteY85" fmla="*/ 3784963 h 5137252"/>
                <a:gd name="connsiteX86" fmla="*/ 237151 w 3949778"/>
                <a:gd name="connsiteY86" fmla="*/ 3815474 h 5137252"/>
                <a:gd name="connsiteX87" fmla="*/ 0 w 3949778"/>
                <a:gd name="connsiteY87" fmla="*/ 3818662 h 5137252"/>
                <a:gd name="connsiteX88" fmla="*/ 0 w 3949778"/>
                <a:gd name="connsiteY88" fmla="*/ 2967160 h 5137252"/>
                <a:gd name="connsiteX89" fmla="*/ 214473 w 3949778"/>
                <a:gd name="connsiteY89" fmla="*/ 2964949 h 5137252"/>
                <a:gd name="connsiteX90" fmla="*/ 222629 w 3949778"/>
                <a:gd name="connsiteY90" fmla="*/ 2977021 h 5137252"/>
                <a:gd name="connsiteX91" fmla="*/ 345641 w 3949778"/>
                <a:gd name="connsiteY91" fmla="*/ 3027842 h 5137252"/>
                <a:gd name="connsiteX92" fmla="*/ 519381 w 3949778"/>
                <a:gd name="connsiteY92" fmla="*/ 2853781 h 5137252"/>
                <a:gd name="connsiteX93" fmla="*/ 413023 w 3949778"/>
                <a:gd name="connsiteY93" fmla="*/ 2693645 h 5137252"/>
                <a:gd name="connsiteX94" fmla="*/ 345321 w 3949778"/>
                <a:gd name="connsiteY94" fmla="*/ 2680041 h 5137252"/>
                <a:gd name="connsiteX95" fmla="*/ 222402 w 3949778"/>
                <a:gd name="connsiteY95" fmla="*/ 2731089 h 5137252"/>
                <a:gd name="connsiteX96" fmla="*/ 221128 w 3949778"/>
                <a:gd name="connsiteY96" fmla="*/ 2732981 h 5137252"/>
                <a:gd name="connsiteX97" fmla="*/ 0 w 3949778"/>
                <a:gd name="connsiteY97" fmla="*/ 2735633 h 5137252"/>
                <a:gd name="connsiteX98" fmla="*/ 0 w 3949778"/>
                <a:gd name="connsiteY98" fmla="*/ 2413015 h 5137252"/>
                <a:gd name="connsiteX99" fmla="*/ 212094 w 3949778"/>
                <a:gd name="connsiteY99" fmla="*/ 2411751 h 5137252"/>
                <a:gd name="connsiteX100" fmla="*/ 224649 w 3949778"/>
                <a:gd name="connsiteY100" fmla="*/ 2430336 h 5137252"/>
                <a:gd name="connsiteX101" fmla="*/ 347662 w 3949778"/>
                <a:gd name="connsiteY101" fmla="*/ 2481156 h 5137252"/>
                <a:gd name="connsiteX102" fmla="*/ 521401 w 3949778"/>
                <a:gd name="connsiteY102" fmla="*/ 2307096 h 5137252"/>
                <a:gd name="connsiteX103" fmla="*/ 415044 w 3949778"/>
                <a:gd name="connsiteY103" fmla="*/ 2146960 h 5137252"/>
                <a:gd name="connsiteX104" fmla="*/ 347341 w 3949778"/>
                <a:gd name="connsiteY104" fmla="*/ 2133357 h 5137252"/>
                <a:gd name="connsiteX105" fmla="*/ 279664 w 3949778"/>
                <a:gd name="connsiteY105" fmla="*/ 2147085 h 5137252"/>
                <a:gd name="connsiteX106" fmla="*/ 231279 w 3949778"/>
                <a:gd name="connsiteY106" fmla="*/ 2179773 h 5137252"/>
                <a:gd name="connsiteX107" fmla="*/ 0 w 3949778"/>
                <a:gd name="connsiteY107" fmla="*/ 2178209 h 5137252"/>
                <a:gd name="connsiteX108" fmla="*/ 0 w 3949778"/>
                <a:gd name="connsiteY108" fmla="*/ 1872741 h 5137252"/>
                <a:gd name="connsiteX109" fmla="*/ 213783 w 3949778"/>
                <a:gd name="connsiteY109" fmla="*/ 1874853 h 5137252"/>
                <a:gd name="connsiteX110" fmla="*/ 223404 w 3949778"/>
                <a:gd name="connsiteY110" fmla="*/ 1889096 h 5137252"/>
                <a:gd name="connsiteX111" fmla="*/ 346417 w 3949778"/>
                <a:gd name="connsiteY111" fmla="*/ 1939916 h 5137252"/>
                <a:gd name="connsiteX112" fmla="*/ 520156 w 3949778"/>
                <a:gd name="connsiteY112" fmla="*/ 1765856 h 5137252"/>
                <a:gd name="connsiteX113" fmla="*/ 413799 w 3949778"/>
                <a:gd name="connsiteY113" fmla="*/ 1605720 h 5137252"/>
                <a:gd name="connsiteX114" fmla="*/ 346096 w 3949778"/>
                <a:gd name="connsiteY114" fmla="*/ 1592117 h 5137252"/>
                <a:gd name="connsiteX115" fmla="*/ 278419 w 3949778"/>
                <a:gd name="connsiteY115" fmla="*/ 1605845 h 5137252"/>
                <a:gd name="connsiteX116" fmla="*/ 223595 w 3949778"/>
                <a:gd name="connsiteY116" fmla="*/ 1642881 h 5137252"/>
                <a:gd name="connsiteX117" fmla="*/ 0 w 3949778"/>
                <a:gd name="connsiteY117" fmla="*/ 1642007 h 5137252"/>
                <a:gd name="connsiteX118" fmla="*/ 0 w 3949778"/>
                <a:gd name="connsiteY118" fmla="*/ 1332051 h 5137252"/>
                <a:gd name="connsiteX119" fmla="*/ 215067 w 3949778"/>
                <a:gd name="connsiteY119" fmla="*/ 1332559 h 5137252"/>
                <a:gd name="connsiteX120" fmla="*/ 227605 w 3949778"/>
                <a:gd name="connsiteY120" fmla="*/ 1351120 h 5137252"/>
                <a:gd name="connsiteX121" fmla="*/ 350618 w 3949778"/>
                <a:gd name="connsiteY121" fmla="*/ 1401940 h 5137252"/>
                <a:gd name="connsiteX122" fmla="*/ 524358 w 3949778"/>
                <a:gd name="connsiteY122" fmla="*/ 1227880 h 5137252"/>
                <a:gd name="connsiteX123" fmla="*/ 418000 w 3949778"/>
                <a:gd name="connsiteY123" fmla="*/ 1067744 h 5137252"/>
                <a:gd name="connsiteX124" fmla="*/ 350297 w 3949778"/>
                <a:gd name="connsiteY124" fmla="*/ 1054140 h 5137252"/>
                <a:gd name="connsiteX125" fmla="*/ 282620 w 3949778"/>
                <a:gd name="connsiteY125" fmla="*/ 1067869 h 5137252"/>
                <a:gd name="connsiteX126" fmla="*/ 234201 w 3949778"/>
                <a:gd name="connsiteY126" fmla="*/ 1100579 h 5137252"/>
                <a:gd name="connsiteX127" fmla="*/ 3221 w 3949778"/>
                <a:gd name="connsiteY127" fmla="*/ 1102939 h 5137252"/>
                <a:gd name="connsiteX128" fmla="*/ 0 w 3949778"/>
                <a:gd name="connsiteY128" fmla="*/ 1210259 h 5137252"/>
                <a:gd name="connsiteX129" fmla="*/ 0 w 3949778"/>
                <a:gd name="connsiteY129" fmla="*/ 797050 h 5137252"/>
                <a:gd name="connsiteX130" fmla="*/ 223677 w 3949778"/>
                <a:gd name="connsiteY130" fmla="*/ 795631 h 5137252"/>
                <a:gd name="connsiteX131" fmla="*/ 229623 w 3949778"/>
                <a:gd name="connsiteY131" fmla="*/ 804432 h 5137252"/>
                <a:gd name="connsiteX132" fmla="*/ 352636 w 3949778"/>
                <a:gd name="connsiteY132" fmla="*/ 855253 h 5137252"/>
                <a:gd name="connsiteX133" fmla="*/ 526376 w 3949778"/>
                <a:gd name="connsiteY133" fmla="*/ 681193 h 5137252"/>
                <a:gd name="connsiteX134" fmla="*/ 420018 w 3949778"/>
                <a:gd name="connsiteY134" fmla="*/ 521057 h 5137252"/>
                <a:gd name="connsiteX135" fmla="*/ 352316 w 3949778"/>
                <a:gd name="connsiteY135" fmla="*/ 507453 h 5137252"/>
                <a:gd name="connsiteX136" fmla="*/ 229397 w 3949778"/>
                <a:gd name="connsiteY136" fmla="*/ 558500 h 5137252"/>
                <a:gd name="connsiteX137" fmla="*/ 225922 w 3949778"/>
                <a:gd name="connsiteY137" fmla="*/ 563667 h 5137252"/>
                <a:gd name="connsiteX138" fmla="*/ 615 w 3949778"/>
                <a:gd name="connsiteY138" fmla="*/ 565510 h 5137252"/>
                <a:gd name="connsiteX139" fmla="*/ 0 w 3949778"/>
                <a:gd name="connsiteY139" fmla="*/ 616517 h 5137252"/>
                <a:gd name="connsiteX140" fmla="*/ 0 w 3949778"/>
                <a:gd name="connsiteY140" fmla="*/ 244537 h 5137252"/>
                <a:gd name="connsiteX141" fmla="*/ 244537 w 3949778"/>
                <a:gd name="connsiteY141" fmla="*/ 0 h 5137252"/>
                <a:gd name="connsiteX142" fmla="*/ 3700874 w 3949778"/>
                <a:gd name="connsiteY142" fmla="*/ 0 h 5137252"/>
                <a:gd name="connsiteX143" fmla="*/ 3837597 w 3949778"/>
                <a:gd name="connsiteY143" fmla="*/ 41763 h 5137252"/>
                <a:gd name="connsiteX0" fmla="*/ 408823 w 3949778"/>
                <a:gd name="connsiteY0" fmla="*/ 3231620 h 5137252"/>
                <a:gd name="connsiteX1" fmla="*/ 341120 w 3949778"/>
                <a:gd name="connsiteY1" fmla="*/ 3218017 h 5137252"/>
                <a:gd name="connsiteX2" fmla="*/ 218202 w 3949778"/>
                <a:gd name="connsiteY2" fmla="*/ 3269064 h 5137252"/>
                <a:gd name="connsiteX3" fmla="*/ 213987 w 3949778"/>
                <a:gd name="connsiteY3" fmla="*/ 3275327 h 5137252"/>
                <a:gd name="connsiteX4" fmla="*/ 2216 w 3949778"/>
                <a:gd name="connsiteY4" fmla="*/ 3276343 h 5137252"/>
                <a:gd name="connsiteX5" fmla="*/ 1466 w 3949778"/>
                <a:gd name="connsiteY5" fmla="*/ 3509122 h 5137252"/>
                <a:gd name="connsiteX6" fmla="*/ 213223 w 3949778"/>
                <a:gd name="connsiteY6" fmla="*/ 3507290 h 5137252"/>
                <a:gd name="connsiteX7" fmla="*/ 218428 w 3949778"/>
                <a:gd name="connsiteY7" fmla="*/ 3514996 h 5137252"/>
                <a:gd name="connsiteX8" fmla="*/ 341441 w 3949778"/>
                <a:gd name="connsiteY8" fmla="*/ 3565816 h 5137252"/>
                <a:gd name="connsiteX9" fmla="*/ 515181 w 3949778"/>
                <a:gd name="connsiteY9" fmla="*/ 3391757 h 5137252"/>
                <a:gd name="connsiteX10" fmla="*/ 408823 w 3949778"/>
                <a:gd name="connsiteY10" fmla="*/ 3231620 h 5137252"/>
                <a:gd name="connsiteX11" fmla="*/ 1903445 w 3949778"/>
                <a:gd name="connsiteY11" fmla="*/ 4012352 h 5137252"/>
                <a:gd name="connsiteX12" fmla="*/ 1858290 w 3949778"/>
                <a:gd name="connsiteY12" fmla="*/ 4003279 h 5137252"/>
                <a:gd name="connsiteX13" fmla="*/ 959661 w 3949778"/>
                <a:gd name="connsiteY13" fmla="*/ 4004107 h 5137252"/>
                <a:gd name="connsiteX14" fmla="*/ 843788 w 3949778"/>
                <a:gd name="connsiteY14" fmla="*/ 4120195 h 5137252"/>
                <a:gd name="connsiteX15" fmla="*/ 959876 w 3949778"/>
                <a:gd name="connsiteY15" fmla="*/ 4236069 h 5137252"/>
                <a:gd name="connsiteX16" fmla="*/ 1858505 w 3949778"/>
                <a:gd name="connsiteY16" fmla="*/ 4235241 h 5137252"/>
                <a:gd name="connsiteX17" fmla="*/ 1974379 w 3949778"/>
                <a:gd name="connsiteY17" fmla="*/ 4119154 h 5137252"/>
                <a:gd name="connsiteX18" fmla="*/ 1903445 w 3949778"/>
                <a:gd name="connsiteY18" fmla="*/ 4012352 h 5137252"/>
                <a:gd name="connsiteX19" fmla="*/ 3479313 w 3949778"/>
                <a:gd name="connsiteY19" fmla="*/ 918916 h 5137252"/>
                <a:gd name="connsiteX20" fmla="*/ 3434158 w 3949778"/>
                <a:gd name="connsiteY20" fmla="*/ 909842 h 5137252"/>
                <a:gd name="connsiteX21" fmla="*/ 964487 w 3949778"/>
                <a:gd name="connsiteY21" fmla="*/ 912118 h 5137252"/>
                <a:gd name="connsiteX22" fmla="*/ 848613 w 3949778"/>
                <a:gd name="connsiteY22" fmla="*/ 1028206 h 5137252"/>
                <a:gd name="connsiteX23" fmla="*/ 964701 w 3949778"/>
                <a:gd name="connsiteY23" fmla="*/ 1144080 h 5137252"/>
                <a:gd name="connsiteX24" fmla="*/ 3434372 w 3949778"/>
                <a:gd name="connsiteY24" fmla="*/ 1141804 h 5137252"/>
                <a:gd name="connsiteX25" fmla="*/ 3550246 w 3949778"/>
                <a:gd name="connsiteY25" fmla="*/ 1025717 h 5137252"/>
                <a:gd name="connsiteX26" fmla="*/ 3479313 w 3949778"/>
                <a:gd name="connsiteY26" fmla="*/ 918916 h 5137252"/>
                <a:gd name="connsiteX27" fmla="*/ 3837597 w 3949778"/>
                <a:gd name="connsiteY27" fmla="*/ 41763 h 5137252"/>
                <a:gd name="connsiteX28" fmla="*/ 3945411 w 3949778"/>
                <a:gd name="connsiteY28" fmla="*/ 244537 h 5137252"/>
                <a:gd name="connsiteX29" fmla="*/ 3520923 w 3949778"/>
                <a:gd name="connsiteY29" fmla="*/ 1396482 h 5137252"/>
                <a:gd name="connsiteX30" fmla="*/ 3466178 w 3949778"/>
                <a:gd name="connsiteY30" fmla="*/ 1540909 h 5137252"/>
                <a:gd name="connsiteX31" fmla="*/ 3426988 w 3949778"/>
                <a:gd name="connsiteY31" fmla="*/ 1533034 h 5137252"/>
                <a:gd name="connsiteX32" fmla="*/ 957316 w 3949778"/>
                <a:gd name="connsiteY32" fmla="*/ 1535310 h 5137252"/>
                <a:gd name="connsiteX33" fmla="*/ 841442 w 3949778"/>
                <a:gd name="connsiteY33" fmla="*/ 1651398 h 5137252"/>
                <a:gd name="connsiteX34" fmla="*/ 957530 w 3949778"/>
                <a:gd name="connsiteY34" fmla="*/ 1767272 h 5137252"/>
                <a:gd name="connsiteX35" fmla="*/ 3381059 w 3949778"/>
                <a:gd name="connsiteY35" fmla="*/ 1765039 h 5137252"/>
                <a:gd name="connsiteX36" fmla="*/ 3335438 w 3949778"/>
                <a:gd name="connsiteY36" fmla="*/ 1884985 h 5137252"/>
                <a:gd name="connsiteX37" fmla="*/ 3234693 w 3949778"/>
                <a:gd name="connsiteY37" fmla="*/ 2149055 h 5137252"/>
                <a:gd name="connsiteX38" fmla="*/ 965662 w 3949778"/>
                <a:gd name="connsiteY38" fmla="*/ 2151146 h 5137252"/>
                <a:gd name="connsiteX39" fmla="*/ 849788 w 3949778"/>
                <a:gd name="connsiteY39" fmla="*/ 2267234 h 5137252"/>
                <a:gd name="connsiteX40" fmla="*/ 965876 w 3949778"/>
                <a:gd name="connsiteY40" fmla="*/ 2383107 h 5137252"/>
                <a:gd name="connsiteX41" fmla="*/ 3146162 w 3949778"/>
                <a:gd name="connsiteY41" fmla="*/ 2381099 h 5137252"/>
                <a:gd name="connsiteX42" fmla="*/ 3058829 w 3949778"/>
                <a:gd name="connsiteY42" fmla="*/ 2609727 h 5137252"/>
                <a:gd name="connsiteX43" fmla="*/ 2997318 w 3949778"/>
                <a:gd name="connsiteY43" fmla="*/ 2770827 h 5137252"/>
                <a:gd name="connsiteX44" fmla="*/ 965025 w 3949778"/>
                <a:gd name="connsiteY44" fmla="*/ 2772700 h 5137252"/>
                <a:gd name="connsiteX45" fmla="*/ 849151 w 3949778"/>
                <a:gd name="connsiteY45" fmla="*/ 2888787 h 5137252"/>
                <a:gd name="connsiteX46" fmla="*/ 965239 w 3949778"/>
                <a:gd name="connsiteY46" fmla="*/ 3004661 h 5137252"/>
                <a:gd name="connsiteX47" fmla="*/ 2908819 w 3949778"/>
                <a:gd name="connsiteY47" fmla="*/ 3002870 h 5137252"/>
                <a:gd name="connsiteX48" fmla="*/ 2893682 w 3949778"/>
                <a:gd name="connsiteY48" fmla="*/ 3042577 h 5137252"/>
                <a:gd name="connsiteX49" fmla="*/ 2821562 w 3949778"/>
                <a:gd name="connsiteY49" fmla="*/ 3232345 h 5137252"/>
                <a:gd name="connsiteX50" fmla="*/ 2762222 w 3949778"/>
                <a:gd name="connsiteY50" fmla="*/ 3389325 h 5137252"/>
                <a:gd name="connsiteX51" fmla="*/ 949683 w 3949778"/>
                <a:gd name="connsiteY51" fmla="*/ 3390995 h 5137252"/>
                <a:gd name="connsiteX52" fmla="*/ 833809 w 3949778"/>
                <a:gd name="connsiteY52" fmla="*/ 3507083 h 5137252"/>
                <a:gd name="connsiteX53" fmla="*/ 949897 w 3949778"/>
                <a:gd name="connsiteY53" fmla="*/ 3622957 h 5137252"/>
                <a:gd name="connsiteX54" fmla="*/ 2732014 w 3949778"/>
                <a:gd name="connsiteY54" fmla="*/ 3621315 h 5137252"/>
                <a:gd name="connsiteX55" fmla="*/ 2703042 w 3949778"/>
                <a:gd name="connsiteY55" fmla="*/ 3568605 h 5137252"/>
                <a:gd name="connsiteX56" fmla="*/ 2709514 w 3949778"/>
                <a:gd name="connsiteY56" fmla="*/ 3551479 h 5137252"/>
                <a:gd name="connsiteX57" fmla="*/ 2736830 w 3949778"/>
                <a:gd name="connsiteY57" fmla="*/ 3605524 h 5137252"/>
                <a:gd name="connsiteX58" fmla="*/ 2633061 w 3949778"/>
                <a:gd name="connsiteY58" fmla="*/ 4312952 h 5137252"/>
                <a:gd name="connsiteX59" fmla="*/ 2957180 w 3949778"/>
                <a:gd name="connsiteY59" fmla="*/ 4409562 h 5137252"/>
                <a:gd name="connsiteX60" fmla="*/ 3482402 w 3949778"/>
                <a:gd name="connsiteY60" fmla="*/ 3613885 h 5137252"/>
                <a:gd name="connsiteX61" fmla="*/ 3552044 w 3949778"/>
                <a:gd name="connsiteY61" fmla="*/ 3429821 h 5137252"/>
                <a:gd name="connsiteX62" fmla="*/ 3949778 w 3949778"/>
                <a:gd name="connsiteY62" fmla="*/ 2383707 h 5137252"/>
                <a:gd name="connsiteX63" fmla="*/ 3945411 w 3949778"/>
                <a:gd name="connsiteY63" fmla="*/ 4892715 h 5137252"/>
                <a:gd name="connsiteX64" fmla="*/ 3700874 w 3949778"/>
                <a:gd name="connsiteY64" fmla="*/ 5137252 h 5137252"/>
                <a:gd name="connsiteX65" fmla="*/ 244537 w 3949778"/>
                <a:gd name="connsiteY65" fmla="*/ 5137252 h 5137252"/>
                <a:gd name="connsiteX66" fmla="*/ 0 w 3949778"/>
                <a:gd name="connsiteY66" fmla="*/ 4892715 h 5137252"/>
                <a:gd name="connsiteX67" fmla="*/ 0 w 3949778"/>
                <a:gd name="connsiteY67" fmla="*/ 4605616 h 5137252"/>
                <a:gd name="connsiteX68" fmla="*/ 222310 w 3949778"/>
                <a:gd name="connsiteY68" fmla="*/ 4605020 h 5137252"/>
                <a:gd name="connsiteX69" fmla="*/ 223099 w 3949778"/>
                <a:gd name="connsiteY69" fmla="*/ 4606189 h 5137252"/>
                <a:gd name="connsiteX70" fmla="*/ 346112 w 3949778"/>
                <a:gd name="connsiteY70" fmla="*/ 4657010 h 5137252"/>
                <a:gd name="connsiteX71" fmla="*/ 519851 w 3949778"/>
                <a:gd name="connsiteY71" fmla="*/ 4482950 h 5137252"/>
                <a:gd name="connsiteX72" fmla="*/ 413494 w 3949778"/>
                <a:gd name="connsiteY72" fmla="*/ 4322814 h 5137252"/>
                <a:gd name="connsiteX73" fmla="*/ 345791 w 3949778"/>
                <a:gd name="connsiteY73" fmla="*/ 4309210 h 5137252"/>
                <a:gd name="connsiteX74" fmla="*/ 222872 w 3949778"/>
                <a:gd name="connsiteY74" fmla="*/ 4360257 h 5137252"/>
                <a:gd name="connsiteX75" fmla="*/ 214254 w 3949778"/>
                <a:gd name="connsiteY75" fmla="*/ 4373065 h 5137252"/>
                <a:gd name="connsiteX76" fmla="*/ 0 w 3949778"/>
                <a:gd name="connsiteY76" fmla="*/ 4376088 h 5137252"/>
                <a:gd name="connsiteX77" fmla="*/ 0 w 3949778"/>
                <a:gd name="connsiteY77" fmla="*/ 4048176 h 5137252"/>
                <a:gd name="connsiteX78" fmla="*/ 213279 w 3949778"/>
                <a:gd name="connsiteY78" fmla="*/ 4047458 h 5137252"/>
                <a:gd name="connsiteX79" fmla="*/ 227300 w 3949778"/>
                <a:gd name="connsiteY79" fmla="*/ 4068214 h 5137252"/>
                <a:gd name="connsiteX80" fmla="*/ 350312 w 3949778"/>
                <a:gd name="connsiteY80" fmla="*/ 4119034 h 5137252"/>
                <a:gd name="connsiteX81" fmla="*/ 524052 w 3949778"/>
                <a:gd name="connsiteY81" fmla="*/ 3944974 h 5137252"/>
                <a:gd name="connsiteX82" fmla="*/ 417694 w 3949778"/>
                <a:gd name="connsiteY82" fmla="*/ 3784839 h 5137252"/>
                <a:gd name="connsiteX83" fmla="*/ 349992 w 3949778"/>
                <a:gd name="connsiteY83" fmla="*/ 3771235 h 5137252"/>
                <a:gd name="connsiteX84" fmla="*/ 282315 w 3949778"/>
                <a:gd name="connsiteY84" fmla="*/ 3784963 h 5137252"/>
                <a:gd name="connsiteX85" fmla="*/ 237151 w 3949778"/>
                <a:gd name="connsiteY85" fmla="*/ 3815474 h 5137252"/>
                <a:gd name="connsiteX86" fmla="*/ 0 w 3949778"/>
                <a:gd name="connsiteY86" fmla="*/ 3818662 h 5137252"/>
                <a:gd name="connsiteX87" fmla="*/ 0 w 3949778"/>
                <a:gd name="connsiteY87" fmla="*/ 2967160 h 5137252"/>
                <a:gd name="connsiteX88" fmla="*/ 214473 w 3949778"/>
                <a:gd name="connsiteY88" fmla="*/ 2964949 h 5137252"/>
                <a:gd name="connsiteX89" fmla="*/ 222629 w 3949778"/>
                <a:gd name="connsiteY89" fmla="*/ 2977021 h 5137252"/>
                <a:gd name="connsiteX90" fmla="*/ 345641 w 3949778"/>
                <a:gd name="connsiteY90" fmla="*/ 3027842 h 5137252"/>
                <a:gd name="connsiteX91" fmla="*/ 519381 w 3949778"/>
                <a:gd name="connsiteY91" fmla="*/ 2853781 h 5137252"/>
                <a:gd name="connsiteX92" fmla="*/ 413023 w 3949778"/>
                <a:gd name="connsiteY92" fmla="*/ 2693645 h 5137252"/>
                <a:gd name="connsiteX93" fmla="*/ 345321 w 3949778"/>
                <a:gd name="connsiteY93" fmla="*/ 2680041 h 5137252"/>
                <a:gd name="connsiteX94" fmla="*/ 222402 w 3949778"/>
                <a:gd name="connsiteY94" fmla="*/ 2731089 h 5137252"/>
                <a:gd name="connsiteX95" fmla="*/ 221128 w 3949778"/>
                <a:gd name="connsiteY95" fmla="*/ 2732981 h 5137252"/>
                <a:gd name="connsiteX96" fmla="*/ 0 w 3949778"/>
                <a:gd name="connsiteY96" fmla="*/ 2735633 h 5137252"/>
                <a:gd name="connsiteX97" fmla="*/ 0 w 3949778"/>
                <a:gd name="connsiteY97" fmla="*/ 2413015 h 5137252"/>
                <a:gd name="connsiteX98" fmla="*/ 212094 w 3949778"/>
                <a:gd name="connsiteY98" fmla="*/ 2411751 h 5137252"/>
                <a:gd name="connsiteX99" fmla="*/ 224649 w 3949778"/>
                <a:gd name="connsiteY99" fmla="*/ 2430336 h 5137252"/>
                <a:gd name="connsiteX100" fmla="*/ 347662 w 3949778"/>
                <a:gd name="connsiteY100" fmla="*/ 2481156 h 5137252"/>
                <a:gd name="connsiteX101" fmla="*/ 521401 w 3949778"/>
                <a:gd name="connsiteY101" fmla="*/ 2307096 h 5137252"/>
                <a:gd name="connsiteX102" fmla="*/ 415044 w 3949778"/>
                <a:gd name="connsiteY102" fmla="*/ 2146960 h 5137252"/>
                <a:gd name="connsiteX103" fmla="*/ 347341 w 3949778"/>
                <a:gd name="connsiteY103" fmla="*/ 2133357 h 5137252"/>
                <a:gd name="connsiteX104" fmla="*/ 279664 w 3949778"/>
                <a:gd name="connsiteY104" fmla="*/ 2147085 h 5137252"/>
                <a:gd name="connsiteX105" fmla="*/ 231279 w 3949778"/>
                <a:gd name="connsiteY105" fmla="*/ 2179773 h 5137252"/>
                <a:gd name="connsiteX106" fmla="*/ 0 w 3949778"/>
                <a:gd name="connsiteY106" fmla="*/ 2178209 h 5137252"/>
                <a:gd name="connsiteX107" fmla="*/ 0 w 3949778"/>
                <a:gd name="connsiteY107" fmla="*/ 1872741 h 5137252"/>
                <a:gd name="connsiteX108" fmla="*/ 213783 w 3949778"/>
                <a:gd name="connsiteY108" fmla="*/ 1874853 h 5137252"/>
                <a:gd name="connsiteX109" fmla="*/ 223404 w 3949778"/>
                <a:gd name="connsiteY109" fmla="*/ 1889096 h 5137252"/>
                <a:gd name="connsiteX110" fmla="*/ 346417 w 3949778"/>
                <a:gd name="connsiteY110" fmla="*/ 1939916 h 5137252"/>
                <a:gd name="connsiteX111" fmla="*/ 520156 w 3949778"/>
                <a:gd name="connsiteY111" fmla="*/ 1765856 h 5137252"/>
                <a:gd name="connsiteX112" fmla="*/ 413799 w 3949778"/>
                <a:gd name="connsiteY112" fmla="*/ 1605720 h 5137252"/>
                <a:gd name="connsiteX113" fmla="*/ 346096 w 3949778"/>
                <a:gd name="connsiteY113" fmla="*/ 1592117 h 5137252"/>
                <a:gd name="connsiteX114" fmla="*/ 278419 w 3949778"/>
                <a:gd name="connsiteY114" fmla="*/ 1605845 h 5137252"/>
                <a:gd name="connsiteX115" fmla="*/ 223595 w 3949778"/>
                <a:gd name="connsiteY115" fmla="*/ 1642881 h 5137252"/>
                <a:gd name="connsiteX116" fmla="*/ 0 w 3949778"/>
                <a:gd name="connsiteY116" fmla="*/ 1642007 h 5137252"/>
                <a:gd name="connsiteX117" fmla="*/ 0 w 3949778"/>
                <a:gd name="connsiteY117" fmla="*/ 1332051 h 5137252"/>
                <a:gd name="connsiteX118" fmla="*/ 215067 w 3949778"/>
                <a:gd name="connsiteY118" fmla="*/ 1332559 h 5137252"/>
                <a:gd name="connsiteX119" fmla="*/ 227605 w 3949778"/>
                <a:gd name="connsiteY119" fmla="*/ 1351120 h 5137252"/>
                <a:gd name="connsiteX120" fmla="*/ 350618 w 3949778"/>
                <a:gd name="connsiteY120" fmla="*/ 1401940 h 5137252"/>
                <a:gd name="connsiteX121" fmla="*/ 524358 w 3949778"/>
                <a:gd name="connsiteY121" fmla="*/ 1227880 h 5137252"/>
                <a:gd name="connsiteX122" fmla="*/ 418000 w 3949778"/>
                <a:gd name="connsiteY122" fmla="*/ 1067744 h 5137252"/>
                <a:gd name="connsiteX123" fmla="*/ 350297 w 3949778"/>
                <a:gd name="connsiteY123" fmla="*/ 1054140 h 5137252"/>
                <a:gd name="connsiteX124" fmla="*/ 282620 w 3949778"/>
                <a:gd name="connsiteY124" fmla="*/ 1067869 h 5137252"/>
                <a:gd name="connsiteX125" fmla="*/ 234201 w 3949778"/>
                <a:gd name="connsiteY125" fmla="*/ 1100579 h 5137252"/>
                <a:gd name="connsiteX126" fmla="*/ 3221 w 3949778"/>
                <a:gd name="connsiteY126" fmla="*/ 1102939 h 5137252"/>
                <a:gd name="connsiteX127" fmla="*/ 0 w 3949778"/>
                <a:gd name="connsiteY127" fmla="*/ 1210259 h 5137252"/>
                <a:gd name="connsiteX128" fmla="*/ 0 w 3949778"/>
                <a:gd name="connsiteY128" fmla="*/ 797050 h 5137252"/>
                <a:gd name="connsiteX129" fmla="*/ 223677 w 3949778"/>
                <a:gd name="connsiteY129" fmla="*/ 795631 h 5137252"/>
                <a:gd name="connsiteX130" fmla="*/ 229623 w 3949778"/>
                <a:gd name="connsiteY130" fmla="*/ 804432 h 5137252"/>
                <a:gd name="connsiteX131" fmla="*/ 352636 w 3949778"/>
                <a:gd name="connsiteY131" fmla="*/ 855253 h 5137252"/>
                <a:gd name="connsiteX132" fmla="*/ 526376 w 3949778"/>
                <a:gd name="connsiteY132" fmla="*/ 681193 h 5137252"/>
                <a:gd name="connsiteX133" fmla="*/ 420018 w 3949778"/>
                <a:gd name="connsiteY133" fmla="*/ 521057 h 5137252"/>
                <a:gd name="connsiteX134" fmla="*/ 352316 w 3949778"/>
                <a:gd name="connsiteY134" fmla="*/ 507453 h 5137252"/>
                <a:gd name="connsiteX135" fmla="*/ 229397 w 3949778"/>
                <a:gd name="connsiteY135" fmla="*/ 558500 h 5137252"/>
                <a:gd name="connsiteX136" fmla="*/ 225922 w 3949778"/>
                <a:gd name="connsiteY136" fmla="*/ 563667 h 5137252"/>
                <a:gd name="connsiteX137" fmla="*/ 615 w 3949778"/>
                <a:gd name="connsiteY137" fmla="*/ 565510 h 5137252"/>
                <a:gd name="connsiteX138" fmla="*/ 0 w 3949778"/>
                <a:gd name="connsiteY138" fmla="*/ 616517 h 5137252"/>
                <a:gd name="connsiteX139" fmla="*/ 0 w 3949778"/>
                <a:gd name="connsiteY139" fmla="*/ 244537 h 5137252"/>
                <a:gd name="connsiteX140" fmla="*/ 244537 w 3949778"/>
                <a:gd name="connsiteY140" fmla="*/ 0 h 5137252"/>
                <a:gd name="connsiteX141" fmla="*/ 3700874 w 3949778"/>
                <a:gd name="connsiteY141" fmla="*/ 0 h 5137252"/>
                <a:gd name="connsiteX142" fmla="*/ 3837597 w 3949778"/>
                <a:gd name="connsiteY142" fmla="*/ 41763 h 5137252"/>
                <a:gd name="connsiteX0" fmla="*/ 408823 w 3949778"/>
                <a:gd name="connsiteY0" fmla="*/ 3231620 h 5137252"/>
                <a:gd name="connsiteX1" fmla="*/ 341120 w 3949778"/>
                <a:gd name="connsiteY1" fmla="*/ 3218017 h 5137252"/>
                <a:gd name="connsiteX2" fmla="*/ 218202 w 3949778"/>
                <a:gd name="connsiteY2" fmla="*/ 3269064 h 5137252"/>
                <a:gd name="connsiteX3" fmla="*/ 213987 w 3949778"/>
                <a:gd name="connsiteY3" fmla="*/ 3275327 h 5137252"/>
                <a:gd name="connsiteX4" fmla="*/ 2216 w 3949778"/>
                <a:gd name="connsiteY4" fmla="*/ 3276343 h 5137252"/>
                <a:gd name="connsiteX5" fmla="*/ 1466 w 3949778"/>
                <a:gd name="connsiteY5" fmla="*/ 3509122 h 5137252"/>
                <a:gd name="connsiteX6" fmla="*/ 213223 w 3949778"/>
                <a:gd name="connsiteY6" fmla="*/ 3507290 h 5137252"/>
                <a:gd name="connsiteX7" fmla="*/ 218428 w 3949778"/>
                <a:gd name="connsiteY7" fmla="*/ 3514996 h 5137252"/>
                <a:gd name="connsiteX8" fmla="*/ 341441 w 3949778"/>
                <a:gd name="connsiteY8" fmla="*/ 3565816 h 5137252"/>
                <a:gd name="connsiteX9" fmla="*/ 515181 w 3949778"/>
                <a:gd name="connsiteY9" fmla="*/ 3391757 h 5137252"/>
                <a:gd name="connsiteX10" fmla="*/ 408823 w 3949778"/>
                <a:gd name="connsiteY10" fmla="*/ 3231620 h 5137252"/>
                <a:gd name="connsiteX11" fmla="*/ 1903445 w 3949778"/>
                <a:gd name="connsiteY11" fmla="*/ 4012352 h 5137252"/>
                <a:gd name="connsiteX12" fmla="*/ 1858290 w 3949778"/>
                <a:gd name="connsiteY12" fmla="*/ 4003279 h 5137252"/>
                <a:gd name="connsiteX13" fmla="*/ 959661 w 3949778"/>
                <a:gd name="connsiteY13" fmla="*/ 4004107 h 5137252"/>
                <a:gd name="connsiteX14" fmla="*/ 843788 w 3949778"/>
                <a:gd name="connsiteY14" fmla="*/ 4120195 h 5137252"/>
                <a:gd name="connsiteX15" fmla="*/ 959876 w 3949778"/>
                <a:gd name="connsiteY15" fmla="*/ 4236069 h 5137252"/>
                <a:gd name="connsiteX16" fmla="*/ 1858505 w 3949778"/>
                <a:gd name="connsiteY16" fmla="*/ 4235241 h 5137252"/>
                <a:gd name="connsiteX17" fmla="*/ 1974379 w 3949778"/>
                <a:gd name="connsiteY17" fmla="*/ 4119154 h 5137252"/>
                <a:gd name="connsiteX18" fmla="*/ 1903445 w 3949778"/>
                <a:gd name="connsiteY18" fmla="*/ 4012352 h 5137252"/>
                <a:gd name="connsiteX19" fmla="*/ 3479313 w 3949778"/>
                <a:gd name="connsiteY19" fmla="*/ 918916 h 5137252"/>
                <a:gd name="connsiteX20" fmla="*/ 3434158 w 3949778"/>
                <a:gd name="connsiteY20" fmla="*/ 909842 h 5137252"/>
                <a:gd name="connsiteX21" fmla="*/ 964487 w 3949778"/>
                <a:gd name="connsiteY21" fmla="*/ 912118 h 5137252"/>
                <a:gd name="connsiteX22" fmla="*/ 848613 w 3949778"/>
                <a:gd name="connsiteY22" fmla="*/ 1028206 h 5137252"/>
                <a:gd name="connsiteX23" fmla="*/ 964701 w 3949778"/>
                <a:gd name="connsiteY23" fmla="*/ 1144080 h 5137252"/>
                <a:gd name="connsiteX24" fmla="*/ 3434372 w 3949778"/>
                <a:gd name="connsiteY24" fmla="*/ 1141804 h 5137252"/>
                <a:gd name="connsiteX25" fmla="*/ 3550246 w 3949778"/>
                <a:gd name="connsiteY25" fmla="*/ 1025717 h 5137252"/>
                <a:gd name="connsiteX26" fmla="*/ 3479313 w 3949778"/>
                <a:gd name="connsiteY26" fmla="*/ 918916 h 5137252"/>
                <a:gd name="connsiteX27" fmla="*/ 3837597 w 3949778"/>
                <a:gd name="connsiteY27" fmla="*/ 41763 h 5137252"/>
                <a:gd name="connsiteX28" fmla="*/ 3945411 w 3949778"/>
                <a:gd name="connsiteY28" fmla="*/ 244537 h 5137252"/>
                <a:gd name="connsiteX29" fmla="*/ 3520923 w 3949778"/>
                <a:gd name="connsiteY29" fmla="*/ 1396482 h 5137252"/>
                <a:gd name="connsiteX30" fmla="*/ 3466178 w 3949778"/>
                <a:gd name="connsiteY30" fmla="*/ 1540909 h 5137252"/>
                <a:gd name="connsiteX31" fmla="*/ 3426988 w 3949778"/>
                <a:gd name="connsiteY31" fmla="*/ 1533034 h 5137252"/>
                <a:gd name="connsiteX32" fmla="*/ 957316 w 3949778"/>
                <a:gd name="connsiteY32" fmla="*/ 1535310 h 5137252"/>
                <a:gd name="connsiteX33" fmla="*/ 841442 w 3949778"/>
                <a:gd name="connsiteY33" fmla="*/ 1651398 h 5137252"/>
                <a:gd name="connsiteX34" fmla="*/ 957530 w 3949778"/>
                <a:gd name="connsiteY34" fmla="*/ 1767272 h 5137252"/>
                <a:gd name="connsiteX35" fmla="*/ 3381059 w 3949778"/>
                <a:gd name="connsiteY35" fmla="*/ 1765039 h 5137252"/>
                <a:gd name="connsiteX36" fmla="*/ 3335438 w 3949778"/>
                <a:gd name="connsiteY36" fmla="*/ 1884985 h 5137252"/>
                <a:gd name="connsiteX37" fmla="*/ 3234693 w 3949778"/>
                <a:gd name="connsiteY37" fmla="*/ 2149055 h 5137252"/>
                <a:gd name="connsiteX38" fmla="*/ 965662 w 3949778"/>
                <a:gd name="connsiteY38" fmla="*/ 2151146 h 5137252"/>
                <a:gd name="connsiteX39" fmla="*/ 849788 w 3949778"/>
                <a:gd name="connsiteY39" fmla="*/ 2267234 h 5137252"/>
                <a:gd name="connsiteX40" fmla="*/ 965876 w 3949778"/>
                <a:gd name="connsiteY40" fmla="*/ 2383107 h 5137252"/>
                <a:gd name="connsiteX41" fmla="*/ 3146162 w 3949778"/>
                <a:gd name="connsiteY41" fmla="*/ 2381099 h 5137252"/>
                <a:gd name="connsiteX42" fmla="*/ 3058829 w 3949778"/>
                <a:gd name="connsiteY42" fmla="*/ 2609727 h 5137252"/>
                <a:gd name="connsiteX43" fmla="*/ 2997318 w 3949778"/>
                <a:gd name="connsiteY43" fmla="*/ 2770827 h 5137252"/>
                <a:gd name="connsiteX44" fmla="*/ 965025 w 3949778"/>
                <a:gd name="connsiteY44" fmla="*/ 2772700 h 5137252"/>
                <a:gd name="connsiteX45" fmla="*/ 849151 w 3949778"/>
                <a:gd name="connsiteY45" fmla="*/ 2888787 h 5137252"/>
                <a:gd name="connsiteX46" fmla="*/ 965239 w 3949778"/>
                <a:gd name="connsiteY46" fmla="*/ 3004661 h 5137252"/>
                <a:gd name="connsiteX47" fmla="*/ 2908819 w 3949778"/>
                <a:gd name="connsiteY47" fmla="*/ 3002870 h 5137252"/>
                <a:gd name="connsiteX48" fmla="*/ 2893682 w 3949778"/>
                <a:gd name="connsiteY48" fmla="*/ 3042577 h 5137252"/>
                <a:gd name="connsiteX49" fmla="*/ 2821562 w 3949778"/>
                <a:gd name="connsiteY49" fmla="*/ 3232345 h 5137252"/>
                <a:gd name="connsiteX50" fmla="*/ 2762222 w 3949778"/>
                <a:gd name="connsiteY50" fmla="*/ 3389325 h 5137252"/>
                <a:gd name="connsiteX51" fmla="*/ 949683 w 3949778"/>
                <a:gd name="connsiteY51" fmla="*/ 3390995 h 5137252"/>
                <a:gd name="connsiteX52" fmla="*/ 833809 w 3949778"/>
                <a:gd name="connsiteY52" fmla="*/ 3507083 h 5137252"/>
                <a:gd name="connsiteX53" fmla="*/ 949897 w 3949778"/>
                <a:gd name="connsiteY53" fmla="*/ 3622957 h 5137252"/>
                <a:gd name="connsiteX54" fmla="*/ 2732014 w 3949778"/>
                <a:gd name="connsiteY54" fmla="*/ 3621315 h 5137252"/>
                <a:gd name="connsiteX55" fmla="*/ 2703042 w 3949778"/>
                <a:gd name="connsiteY55" fmla="*/ 3568605 h 5137252"/>
                <a:gd name="connsiteX56" fmla="*/ 2736830 w 3949778"/>
                <a:gd name="connsiteY56" fmla="*/ 3605524 h 5137252"/>
                <a:gd name="connsiteX57" fmla="*/ 2633061 w 3949778"/>
                <a:gd name="connsiteY57" fmla="*/ 4312952 h 5137252"/>
                <a:gd name="connsiteX58" fmla="*/ 2957180 w 3949778"/>
                <a:gd name="connsiteY58" fmla="*/ 4409562 h 5137252"/>
                <a:gd name="connsiteX59" fmla="*/ 3482402 w 3949778"/>
                <a:gd name="connsiteY59" fmla="*/ 3613885 h 5137252"/>
                <a:gd name="connsiteX60" fmla="*/ 3552044 w 3949778"/>
                <a:gd name="connsiteY60" fmla="*/ 3429821 h 5137252"/>
                <a:gd name="connsiteX61" fmla="*/ 3949778 w 3949778"/>
                <a:gd name="connsiteY61" fmla="*/ 2383707 h 5137252"/>
                <a:gd name="connsiteX62" fmla="*/ 3945411 w 3949778"/>
                <a:gd name="connsiteY62" fmla="*/ 4892715 h 5137252"/>
                <a:gd name="connsiteX63" fmla="*/ 3700874 w 3949778"/>
                <a:gd name="connsiteY63" fmla="*/ 5137252 h 5137252"/>
                <a:gd name="connsiteX64" fmla="*/ 244537 w 3949778"/>
                <a:gd name="connsiteY64" fmla="*/ 5137252 h 5137252"/>
                <a:gd name="connsiteX65" fmla="*/ 0 w 3949778"/>
                <a:gd name="connsiteY65" fmla="*/ 4892715 h 5137252"/>
                <a:gd name="connsiteX66" fmla="*/ 0 w 3949778"/>
                <a:gd name="connsiteY66" fmla="*/ 4605616 h 5137252"/>
                <a:gd name="connsiteX67" fmla="*/ 222310 w 3949778"/>
                <a:gd name="connsiteY67" fmla="*/ 4605020 h 5137252"/>
                <a:gd name="connsiteX68" fmla="*/ 223099 w 3949778"/>
                <a:gd name="connsiteY68" fmla="*/ 4606189 h 5137252"/>
                <a:gd name="connsiteX69" fmla="*/ 346112 w 3949778"/>
                <a:gd name="connsiteY69" fmla="*/ 4657010 h 5137252"/>
                <a:gd name="connsiteX70" fmla="*/ 519851 w 3949778"/>
                <a:gd name="connsiteY70" fmla="*/ 4482950 h 5137252"/>
                <a:gd name="connsiteX71" fmla="*/ 413494 w 3949778"/>
                <a:gd name="connsiteY71" fmla="*/ 4322814 h 5137252"/>
                <a:gd name="connsiteX72" fmla="*/ 345791 w 3949778"/>
                <a:gd name="connsiteY72" fmla="*/ 4309210 h 5137252"/>
                <a:gd name="connsiteX73" fmla="*/ 222872 w 3949778"/>
                <a:gd name="connsiteY73" fmla="*/ 4360257 h 5137252"/>
                <a:gd name="connsiteX74" fmla="*/ 214254 w 3949778"/>
                <a:gd name="connsiteY74" fmla="*/ 4373065 h 5137252"/>
                <a:gd name="connsiteX75" fmla="*/ 0 w 3949778"/>
                <a:gd name="connsiteY75" fmla="*/ 4376088 h 5137252"/>
                <a:gd name="connsiteX76" fmla="*/ 0 w 3949778"/>
                <a:gd name="connsiteY76" fmla="*/ 4048176 h 5137252"/>
                <a:gd name="connsiteX77" fmla="*/ 213279 w 3949778"/>
                <a:gd name="connsiteY77" fmla="*/ 4047458 h 5137252"/>
                <a:gd name="connsiteX78" fmla="*/ 227300 w 3949778"/>
                <a:gd name="connsiteY78" fmla="*/ 4068214 h 5137252"/>
                <a:gd name="connsiteX79" fmla="*/ 350312 w 3949778"/>
                <a:gd name="connsiteY79" fmla="*/ 4119034 h 5137252"/>
                <a:gd name="connsiteX80" fmla="*/ 524052 w 3949778"/>
                <a:gd name="connsiteY80" fmla="*/ 3944974 h 5137252"/>
                <a:gd name="connsiteX81" fmla="*/ 417694 w 3949778"/>
                <a:gd name="connsiteY81" fmla="*/ 3784839 h 5137252"/>
                <a:gd name="connsiteX82" fmla="*/ 349992 w 3949778"/>
                <a:gd name="connsiteY82" fmla="*/ 3771235 h 5137252"/>
                <a:gd name="connsiteX83" fmla="*/ 282315 w 3949778"/>
                <a:gd name="connsiteY83" fmla="*/ 3784963 h 5137252"/>
                <a:gd name="connsiteX84" fmla="*/ 237151 w 3949778"/>
                <a:gd name="connsiteY84" fmla="*/ 3815474 h 5137252"/>
                <a:gd name="connsiteX85" fmla="*/ 0 w 3949778"/>
                <a:gd name="connsiteY85" fmla="*/ 3818662 h 5137252"/>
                <a:gd name="connsiteX86" fmla="*/ 0 w 3949778"/>
                <a:gd name="connsiteY86" fmla="*/ 2967160 h 5137252"/>
                <a:gd name="connsiteX87" fmla="*/ 214473 w 3949778"/>
                <a:gd name="connsiteY87" fmla="*/ 2964949 h 5137252"/>
                <a:gd name="connsiteX88" fmla="*/ 222629 w 3949778"/>
                <a:gd name="connsiteY88" fmla="*/ 2977021 h 5137252"/>
                <a:gd name="connsiteX89" fmla="*/ 345641 w 3949778"/>
                <a:gd name="connsiteY89" fmla="*/ 3027842 h 5137252"/>
                <a:gd name="connsiteX90" fmla="*/ 519381 w 3949778"/>
                <a:gd name="connsiteY90" fmla="*/ 2853781 h 5137252"/>
                <a:gd name="connsiteX91" fmla="*/ 413023 w 3949778"/>
                <a:gd name="connsiteY91" fmla="*/ 2693645 h 5137252"/>
                <a:gd name="connsiteX92" fmla="*/ 345321 w 3949778"/>
                <a:gd name="connsiteY92" fmla="*/ 2680041 h 5137252"/>
                <a:gd name="connsiteX93" fmla="*/ 222402 w 3949778"/>
                <a:gd name="connsiteY93" fmla="*/ 2731089 h 5137252"/>
                <a:gd name="connsiteX94" fmla="*/ 221128 w 3949778"/>
                <a:gd name="connsiteY94" fmla="*/ 2732981 h 5137252"/>
                <a:gd name="connsiteX95" fmla="*/ 0 w 3949778"/>
                <a:gd name="connsiteY95" fmla="*/ 2735633 h 5137252"/>
                <a:gd name="connsiteX96" fmla="*/ 0 w 3949778"/>
                <a:gd name="connsiteY96" fmla="*/ 2413015 h 5137252"/>
                <a:gd name="connsiteX97" fmla="*/ 212094 w 3949778"/>
                <a:gd name="connsiteY97" fmla="*/ 2411751 h 5137252"/>
                <a:gd name="connsiteX98" fmla="*/ 224649 w 3949778"/>
                <a:gd name="connsiteY98" fmla="*/ 2430336 h 5137252"/>
                <a:gd name="connsiteX99" fmla="*/ 347662 w 3949778"/>
                <a:gd name="connsiteY99" fmla="*/ 2481156 h 5137252"/>
                <a:gd name="connsiteX100" fmla="*/ 521401 w 3949778"/>
                <a:gd name="connsiteY100" fmla="*/ 2307096 h 5137252"/>
                <a:gd name="connsiteX101" fmla="*/ 415044 w 3949778"/>
                <a:gd name="connsiteY101" fmla="*/ 2146960 h 5137252"/>
                <a:gd name="connsiteX102" fmla="*/ 347341 w 3949778"/>
                <a:gd name="connsiteY102" fmla="*/ 2133357 h 5137252"/>
                <a:gd name="connsiteX103" fmla="*/ 279664 w 3949778"/>
                <a:gd name="connsiteY103" fmla="*/ 2147085 h 5137252"/>
                <a:gd name="connsiteX104" fmla="*/ 231279 w 3949778"/>
                <a:gd name="connsiteY104" fmla="*/ 2179773 h 5137252"/>
                <a:gd name="connsiteX105" fmla="*/ 0 w 3949778"/>
                <a:gd name="connsiteY105" fmla="*/ 2178209 h 5137252"/>
                <a:gd name="connsiteX106" fmla="*/ 0 w 3949778"/>
                <a:gd name="connsiteY106" fmla="*/ 1872741 h 5137252"/>
                <a:gd name="connsiteX107" fmla="*/ 213783 w 3949778"/>
                <a:gd name="connsiteY107" fmla="*/ 1874853 h 5137252"/>
                <a:gd name="connsiteX108" fmla="*/ 223404 w 3949778"/>
                <a:gd name="connsiteY108" fmla="*/ 1889096 h 5137252"/>
                <a:gd name="connsiteX109" fmla="*/ 346417 w 3949778"/>
                <a:gd name="connsiteY109" fmla="*/ 1939916 h 5137252"/>
                <a:gd name="connsiteX110" fmla="*/ 520156 w 3949778"/>
                <a:gd name="connsiteY110" fmla="*/ 1765856 h 5137252"/>
                <a:gd name="connsiteX111" fmla="*/ 413799 w 3949778"/>
                <a:gd name="connsiteY111" fmla="*/ 1605720 h 5137252"/>
                <a:gd name="connsiteX112" fmla="*/ 346096 w 3949778"/>
                <a:gd name="connsiteY112" fmla="*/ 1592117 h 5137252"/>
                <a:gd name="connsiteX113" fmla="*/ 278419 w 3949778"/>
                <a:gd name="connsiteY113" fmla="*/ 1605845 h 5137252"/>
                <a:gd name="connsiteX114" fmla="*/ 223595 w 3949778"/>
                <a:gd name="connsiteY114" fmla="*/ 1642881 h 5137252"/>
                <a:gd name="connsiteX115" fmla="*/ 0 w 3949778"/>
                <a:gd name="connsiteY115" fmla="*/ 1642007 h 5137252"/>
                <a:gd name="connsiteX116" fmla="*/ 0 w 3949778"/>
                <a:gd name="connsiteY116" fmla="*/ 1332051 h 5137252"/>
                <a:gd name="connsiteX117" fmla="*/ 215067 w 3949778"/>
                <a:gd name="connsiteY117" fmla="*/ 1332559 h 5137252"/>
                <a:gd name="connsiteX118" fmla="*/ 227605 w 3949778"/>
                <a:gd name="connsiteY118" fmla="*/ 1351120 h 5137252"/>
                <a:gd name="connsiteX119" fmla="*/ 350618 w 3949778"/>
                <a:gd name="connsiteY119" fmla="*/ 1401940 h 5137252"/>
                <a:gd name="connsiteX120" fmla="*/ 524358 w 3949778"/>
                <a:gd name="connsiteY120" fmla="*/ 1227880 h 5137252"/>
                <a:gd name="connsiteX121" fmla="*/ 418000 w 3949778"/>
                <a:gd name="connsiteY121" fmla="*/ 1067744 h 5137252"/>
                <a:gd name="connsiteX122" fmla="*/ 350297 w 3949778"/>
                <a:gd name="connsiteY122" fmla="*/ 1054140 h 5137252"/>
                <a:gd name="connsiteX123" fmla="*/ 282620 w 3949778"/>
                <a:gd name="connsiteY123" fmla="*/ 1067869 h 5137252"/>
                <a:gd name="connsiteX124" fmla="*/ 234201 w 3949778"/>
                <a:gd name="connsiteY124" fmla="*/ 1100579 h 5137252"/>
                <a:gd name="connsiteX125" fmla="*/ 3221 w 3949778"/>
                <a:gd name="connsiteY125" fmla="*/ 1102939 h 5137252"/>
                <a:gd name="connsiteX126" fmla="*/ 0 w 3949778"/>
                <a:gd name="connsiteY126" fmla="*/ 1210259 h 5137252"/>
                <a:gd name="connsiteX127" fmla="*/ 0 w 3949778"/>
                <a:gd name="connsiteY127" fmla="*/ 797050 h 5137252"/>
                <a:gd name="connsiteX128" fmla="*/ 223677 w 3949778"/>
                <a:gd name="connsiteY128" fmla="*/ 795631 h 5137252"/>
                <a:gd name="connsiteX129" fmla="*/ 229623 w 3949778"/>
                <a:gd name="connsiteY129" fmla="*/ 804432 h 5137252"/>
                <a:gd name="connsiteX130" fmla="*/ 352636 w 3949778"/>
                <a:gd name="connsiteY130" fmla="*/ 855253 h 5137252"/>
                <a:gd name="connsiteX131" fmla="*/ 526376 w 3949778"/>
                <a:gd name="connsiteY131" fmla="*/ 681193 h 5137252"/>
                <a:gd name="connsiteX132" fmla="*/ 420018 w 3949778"/>
                <a:gd name="connsiteY132" fmla="*/ 521057 h 5137252"/>
                <a:gd name="connsiteX133" fmla="*/ 352316 w 3949778"/>
                <a:gd name="connsiteY133" fmla="*/ 507453 h 5137252"/>
                <a:gd name="connsiteX134" fmla="*/ 229397 w 3949778"/>
                <a:gd name="connsiteY134" fmla="*/ 558500 h 5137252"/>
                <a:gd name="connsiteX135" fmla="*/ 225922 w 3949778"/>
                <a:gd name="connsiteY135" fmla="*/ 563667 h 5137252"/>
                <a:gd name="connsiteX136" fmla="*/ 615 w 3949778"/>
                <a:gd name="connsiteY136" fmla="*/ 565510 h 5137252"/>
                <a:gd name="connsiteX137" fmla="*/ 0 w 3949778"/>
                <a:gd name="connsiteY137" fmla="*/ 616517 h 5137252"/>
                <a:gd name="connsiteX138" fmla="*/ 0 w 3949778"/>
                <a:gd name="connsiteY138" fmla="*/ 244537 h 5137252"/>
                <a:gd name="connsiteX139" fmla="*/ 244537 w 3949778"/>
                <a:gd name="connsiteY139" fmla="*/ 0 h 5137252"/>
                <a:gd name="connsiteX140" fmla="*/ 3700874 w 3949778"/>
                <a:gd name="connsiteY140" fmla="*/ 0 h 5137252"/>
                <a:gd name="connsiteX141" fmla="*/ 3837597 w 3949778"/>
                <a:gd name="connsiteY141" fmla="*/ 41763 h 5137252"/>
                <a:gd name="connsiteX0" fmla="*/ 408823 w 3949778"/>
                <a:gd name="connsiteY0" fmla="*/ 3231620 h 5137252"/>
                <a:gd name="connsiteX1" fmla="*/ 341120 w 3949778"/>
                <a:gd name="connsiteY1" fmla="*/ 3218017 h 5137252"/>
                <a:gd name="connsiteX2" fmla="*/ 218202 w 3949778"/>
                <a:gd name="connsiteY2" fmla="*/ 3269064 h 5137252"/>
                <a:gd name="connsiteX3" fmla="*/ 213987 w 3949778"/>
                <a:gd name="connsiteY3" fmla="*/ 3275327 h 5137252"/>
                <a:gd name="connsiteX4" fmla="*/ 2216 w 3949778"/>
                <a:gd name="connsiteY4" fmla="*/ 3276343 h 5137252"/>
                <a:gd name="connsiteX5" fmla="*/ 1466 w 3949778"/>
                <a:gd name="connsiteY5" fmla="*/ 3509122 h 5137252"/>
                <a:gd name="connsiteX6" fmla="*/ 213223 w 3949778"/>
                <a:gd name="connsiteY6" fmla="*/ 3507290 h 5137252"/>
                <a:gd name="connsiteX7" fmla="*/ 218428 w 3949778"/>
                <a:gd name="connsiteY7" fmla="*/ 3514996 h 5137252"/>
                <a:gd name="connsiteX8" fmla="*/ 341441 w 3949778"/>
                <a:gd name="connsiteY8" fmla="*/ 3565816 h 5137252"/>
                <a:gd name="connsiteX9" fmla="*/ 515181 w 3949778"/>
                <a:gd name="connsiteY9" fmla="*/ 3391757 h 5137252"/>
                <a:gd name="connsiteX10" fmla="*/ 408823 w 3949778"/>
                <a:gd name="connsiteY10" fmla="*/ 3231620 h 5137252"/>
                <a:gd name="connsiteX11" fmla="*/ 1903445 w 3949778"/>
                <a:gd name="connsiteY11" fmla="*/ 4012352 h 5137252"/>
                <a:gd name="connsiteX12" fmla="*/ 1858290 w 3949778"/>
                <a:gd name="connsiteY12" fmla="*/ 4003279 h 5137252"/>
                <a:gd name="connsiteX13" fmla="*/ 959661 w 3949778"/>
                <a:gd name="connsiteY13" fmla="*/ 4004107 h 5137252"/>
                <a:gd name="connsiteX14" fmla="*/ 843788 w 3949778"/>
                <a:gd name="connsiteY14" fmla="*/ 4120195 h 5137252"/>
                <a:gd name="connsiteX15" fmla="*/ 959876 w 3949778"/>
                <a:gd name="connsiteY15" fmla="*/ 4236069 h 5137252"/>
                <a:gd name="connsiteX16" fmla="*/ 1858505 w 3949778"/>
                <a:gd name="connsiteY16" fmla="*/ 4235241 h 5137252"/>
                <a:gd name="connsiteX17" fmla="*/ 1974379 w 3949778"/>
                <a:gd name="connsiteY17" fmla="*/ 4119154 h 5137252"/>
                <a:gd name="connsiteX18" fmla="*/ 1903445 w 3949778"/>
                <a:gd name="connsiteY18" fmla="*/ 4012352 h 5137252"/>
                <a:gd name="connsiteX19" fmla="*/ 3479313 w 3949778"/>
                <a:gd name="connsiteY19" fmla="*/ 918916 h 5137252"/>
                <a:gd name="connsiteX20" fmla="*/ 3434158 w 3949778"/>
                <a:gd name="connsiteY20" fmla="*/ 909842 h 5137252"/>
                <a:gd name="connsiteX21" fmla="*/ 964487 w 3949778"/>
                <a:gd name="connsiteY21" fmla="*/ 912118 h 5137252"/>
                <a:gd name="connsiteX22" fmla="*/ 848613 w 3949778"/>
                <a:gd name="connsiteY22" fmla="*/ 1028206 h 5137252"/>
                <a:gd name="connsiteX23" fmla="*/ 964701 w 3949778"/>
                <a:gd name="connsiteY23" fmla="*/ 1144080 h 5137252"/>
                <a:gd name="connsiteX24" fmla="*/ 3434372 w 3949778"/>
                <a:gd name="connsiteY24" fmla="*/ 1141804 h 5137252"/>
                <a:gd name="connsiteX25" fmla="*/ 3550246 w 3949778"/>
                <a:gd name="connsiteY25" fmla="*/ 1025717 h 5137252"/>
                <a:gd name="connsiteX26" fmla="*/ 3479313 w 3949778"/>
                <a:gd name="connsiteY26" fmla="*/ 918916 h 5137252"/>
                <a:gd name="connsiteX27" fmla="*/ 3837597 w 3949778"/>
                <a:gd name="connsiteY27" fmla="*/ 41763 h 5137252"/>
                <a:gd name="connsiteX28" fmla="*/ 3945411 w 3949778"/>
                <a:gd name="connsiteY28" fmla="*/ 244537 h 5137252"/>
                <a:gd name="connsiteX29" fmla="*/ 3520923 w 3949778"/>
                <a:gd name="connsiteY29" fmla="*/ 1396482 h 5137252"/>
                <a:gd name="connsiteX30" fmla="*/ 3466178 w 3949778"/>
                <a:gd name="connsiteY30" fmla="*/ 1540909 h 5137252"/>
                <a:gd name="connsiteX31" fmla="*/ 3426988 w 3949778"/>
                <a:gd name="connsiteY31" fmla="*/ 1533034 h 5137252"/>
                <a:gd name="connsiteX32" fmla="*/ 957316 w 3949778"/>
                <a:gd name="connsiteY32" fmla="*/ 1535310 h 5137252"/>
                <a:gd name="connsiteX33" fmla="*/ 841442 w 3949778"/>
                <a:gd name="connsiteY33" fmla="*/ 1651398 h 5137252"/>
                <a:gd name="connsiteX34" fmla="*/ 957530 w 3949778"/>
                <a:gd name="connsiteY34" fmla="*/ 1767272 h 5137252"/>
                <a:gd name="connsiteX35" fmla="*/ 3381059 w 3949778"/>
                <a:gd name="connsiteY35" fmla="*/ 1765039 h 5137252"/>
                <a:gd name="connsiteX36" fmla="*/ 3335438 w 3949778"/>
                <a:gd name="connsiteY36" fmla="*/ 1884985 h 5137252"/>
                <a:gd name="connsiteX37" fmla="*/ 3234693 w 3949778"/>
                <a:gd name="connsiteY37" fmla="*/ 2149055 h 5137252"/>
                <a:gd name="connsiteX38" fmla="*/ 965662 w 3949778"/>
                <a:gd name="connsiteY38" fmla="*/ 2151146 h 5137252"/>
                <a:gd name="connsiteX39" fmla="*/ 849788 w 3949778"/>
                <a:gd name="connsiteY39" fmla="*/ 2267234 h 5137252"/>
                <a:gd name="connsiteX40" fmla="*/ 965876 w 3949778"/>
                <a:gd name="connsiteY40" fmla="*/ 2383107 h 5137252"/>
                <a:gd name="connsiteX41" fmla="*/ 3146162 w 3949778"/>
                <a:gd name="connsiteY41" fmla="*/ 2381099 h 5137252"/>
                <a:gd name="connsiteX42" fmla="*/ 3058829 w 3949778"/>
                <a:gd name="connsiteY42" fmla="*/ 2609727 h 5137252"/>
                <a:gd name="connsiteX43" fmla="*/ 2997318 w 3949778"/>
                <a:gd name="connsiteY43" fmla="*/ 2770827 h 5137252"/>
                <a:gd name="connsiteX44" fmla="*/ 965025 w 3949778"/>
                <a:gd name="connsiteY44" fmla="*/ 2772700 h 5137252"/>
                <a:gd name="connsiteX45" fmla="*/ 849151 w 3949778"/>
                <a:gd name="connsiteY45" fmla="*/ 2888787 h 5137252"/>
                <a:gd name="connsiteX46" fmla="*/ 965239 w 3949778"/>
                <a:gd name="connsiteY46" fmla="*/ 3004661 h 5137252"/>
                <a:gd name="connsiteX47" fmla="*/ 2908819 w 3949778"/>
                <a:gd name="connsiteY47" fmla="*/ 3002870 h 5137252"/>
                <a:gd name="connsiteX48" fmla="*/ 2893682 w 3949778"/>
                <a:gd name="connsiteY48" fmla="*/ 3042577 h 5137252"/>
                <a:gd name="connsiteX49" fmla="*/ 2821562 w 3949778"/>
                <a:gd name="connsiteY49" fmla="*/ 3232345 h 5137252"/>
                <a:gd name="connsiteX50" fmla="*/ 2762222 w 3949778"/>
                <a:gd name="connsiteY50" fmla="*/ 3389325 h 5137252"/>
                <a:gd name="connsiteX51" fmla="*/ 949683 w 3949778"/>
                <a:gd name="connsiteY51" fmla="*/ 3390995 h 5137252"/>
                <a:gd name="connsiteX52" fmla="*/ 833809 w 3949778"/>
                <a:gd name="connsiteY52" fmla="*/ 3507083 h 5137252"/>
                <a:gd name="connsiteX53" fmla="*/ 949897 w 3949778"/>
                <a:gd name="connsiteY53" fmla="*/ 3622957 h 5137252"/>
                <a:gd name="connsiteX54" fmla="*/ 2732014 w 3949778"/>
                <a:gd name="connsiteY54" fmla="*/ 3621315 h 5137252"/>
                <a:gd name="connsiteX55" fmla="*/ 2736830 w 3949778"/>
                <a:gd name="connsiteY55" fmla="*/ 3605524 h 5137252"/>
                <a:gd name="connsiteX56" fmla="*/ 2633061 w 3949778"/>
                <a:gd name="connsiteY56" fmla="*/ 4312952 h 5137252"/>
                <a:gd name="connsiteX57" fmla="*/ 2957180 w 3949778"/>
                <a:gd name="connsiteY57" fmla="*/ 4409562 h 5137252"/>
                <a:gd name="connsiteX58" fmla="*/ 3482402 w 3949778"/>
                <a:gd name="connsiteY58" fmla="*/ 3613885 h 5137252"/>
                <a:gd name="connsiteX59" fmla="*/ 3552044 w 3949778"/>
                <a:gd name="connsiteY59" fmla="*/ 3429821 h 5137252"/>
                <a:gd name="connsiteX60" fmla="*/ 3949778 w 3949778"/>
                <a:gd name="connsiteY60" fmla="*/ 2383707 h 5137252"/>
                <a:gd name="connsiteX61" fmla="*/ 3945411 w 3949778"/>
                <a:gd name="connsiteY61" fmla="*/ 4892715 h 5137252"/>
                <a:gd name="connsiteX62" fmla="*/ 3700874 w 3949778"/>
                <a:gd name="connsiteY62" fmla="*/ 5137252 h 5137252"/>
                <a:gd name="connsiteX63" fmla="*/ 244537 w 3949778"/>
                <a:gd name="connsiteY63" fmla="*/ 5137252 h 5137252"/>
                <a:gd name="connsiteX64" fmla="*/ 0 w 3949778"/>
                <a:gd name="connsiteY64" fmla="*/ 4892715 h 5137252"/>
                <a:gd name="connsiteX65" fmla="*/ 0 w 3949778"/>
                <a:gd name="connsiteY65" fmla="*/ 4605616 h 5137252"/>
                <a:gd name="connsiteX66" fmla="*/ 222310 w 3949778"/>
                <a:gd name="connsiteY66" fmla="*/ 4605020 h 5137252"/>
                <a:gd name="connsiteX67" fmla="*/ 223099 w 3949778"/>
                <a:gd name="connsiteY67" fmla="*/ 4606189 h 5137252"/>
                <a:gd name="connsiteX68" fmla="*/ 346112 w 3949778"/>
                <a:gd name="connsiteY68" fmla="*/ 4657010 h 5137252"/>
                <a:gd name="connsiteX69" fmla="*/ 519851 w 3949778"/>
                <a:gd name="connsiteY69" fmla="*/ 4482950 h 5137252"/>
                <a:gd name="connsiteX70" fmla="*/ 413494 w 3949778"/>
                <a:gd name="connsiteY70" fmla="*/ 4322814 h 5137252"/>
                <a:gd name="connsiteX71" fmla="*/ 345791 w 3949778"/>
                <a:gd name="connsiteY71" fmla="*/ 4309210 h 5137252"/>
                <a:gd name="connsiteX72" fmla="*/ 222872 w 3949778"/>
                <a:gd name="connsiteY72" fmla="*/ 4360257 h 5137252"/>
                <a:gd name="connsiteX73" fmla="*/ 214254 w 3949778"/>
                <a:gd name="connsiteY73" fmla="*/ 4373065 h 5137252"/>
                <a:gd name="connsiteX74" fmla="*/ 0 w 3949778"/>
                <a:gd name="connsiteY74" fmla="*/ 4376088 h 5137252"/>
                <a:gd name="connsiteX75" fmla="*/ 0 w 3949778"/>
                <a:gd name="connsiteY75" fmla="*/ 4048176 h 5137252"/>
                <a:gd name="connsiteX76" fmla="*/ 213279 w 3949778"/>
                <a:gd name="connsiteY76" fmla="*/ 4047458 h 5137252"/>
                <a:gd name="connsiteX77" fmla="*/ 227300 w 3949778"/>
                <a:gd name="connsiteY77" fmla="*/ 4068214 h 5137252"/>
                <a:gd name="connsiteX78" fmla="*/ 350312 w 3949778"/>
                <a:gd name="connsiteY78" fmla="*/ 4119034 h 5137252"/>
                <a:gd name="connsiteX79" fmla="*/ 524052 w 3949778"/>
                <a:gd name="connsiteY79" fmla="*/ 3944974 h 5137252"/>
                <a:gd name="connsiteX80" fmla="*/ 417694 w 3949778"/>
                <a:gd name="connsiteY80" fmla="*/ 3784839 h 5137252"/>
                <a:gd name="connsiteX81" fmla="*/ 349992 w 3949778"/>
                <a:gd name="connsiteY81" fmla="*/ 3771235 h 5137252"/>
                <a:gd name="connsiteX82" fmla="*/ 282315 w 3949778"/>
                <a:gd name="connsiteY82" fmla="*/ 3784963 h 5137252"/>
                <a:gd name="connsiteX83" fmla="*/ 237151 w 3949778"/>
                <a:gd name="connsiteY83" fmla="*/ 3815474 h 5137252"/>
                <a:gd name="connsiteX84" fmla="*/ 0 w 3949778"/>
                <a:gd name="connsiteY84" fmla="*/ 3818662 h 5137252"/>
                <a:gd name="connsiteX85" fmla="*/ 0 w 3949778"/>
                <a:gd name="connsiteY85" fmla="*/ 2967160 h 5137252"/>
                <a:gd name="connsiteX86" fmla="*/ 214473 w 3949778"/>
                <a:gd name="connsiteY86" fmla="*/ 2964949 h 5137252"/>
                <a:gd name="connsiteX87" fmla="*/ 222629 w 3949778"/>
                <a:gd name="connsiteY87" fmla="*/ 2977021 h 5137252"/>
                <a:gd name="connsiteX88" fmla="*/ 345641 w 3949778"/>
                <a:gd name="connsiteY88" fmla="*/ 3027842 h 5137252"/>
                <a:gd name="connsiteX89" fmla="*/ 519381 w 3949778"/>
                <a:gd name="connsiteY89" fmla="*/ 2853781 h 5137252"/>
                <a:gd name="connsiteX90" fmla="*/ 413023 w 3949778"/>
                <a:gd name="connsiteY90" fmla="*/ 2693645 h 5137252"/>
                <a:gd name="connsiteX91" fmla="*/ 345321 w 3949778"/>
                <a:gd name="connsiteY91" fmla="*/ 2680041 h 5137252"/>
                <a:gd name="connsiteX92" fmla="*/ 222402 w 3949778"/>
                <a:gd name="connsiteY92" fmla="*/ 2731089 h 5137252"/>
                <a:gd name="connsiteX93" fmla="*/ 221128 w 3949778"/>
                <a:gd name="connsiteY93" fmla="*/ 2732981 h 5137252"/>
                <a:gd name="connsiteX94" fmla="*/ 0 w 3949778"/>
                <a:gd name="connsiteY94" fmla="*/ 2735633 h 5137252"/>
                <a:gd name="connsiteX95" fmla="*/ 0 w 3949778"/>
                <a:gd name="connsiteY95" fmla="*/ 2413015 h 5137252"/>
                <a:gd name="connsiteX96" fmla="*/ 212094 w 3949778"/>
                <a:gd name="connsiteY96" fmla="*/ 2411751 h 5137252"/>
                <a:gd name="connsiteX97" fmla="*/ 224649 w 3949778"/>
                <a:gd name="connsiteY97" fmla="*/ 2430336 h 5137252"/>
                <a:gd name="connsiteX98" fmla="*/ 347662 w 3949778"/>
                <a:gd name="connsiteY98" fmla="*/ 2481156 h 5137252"/>
                <a:gd name="connsiteX99" fmla="*/ 521401 w 3949778"/>
                <a:gd name="connsiteY99" fmla="*/ 2307096 h 5137252"/>
                <a:gd name="connsiteX100" fmla="*/ 415044 w 3949778"/>
                <a:gd name="connsiteY100" fmla="*/ 2146960 h 5137252"/>
                <a:gd name="connsiteX101" fmla="*/ 347341 w 3949778"/>
                <a:gd name="connsiteY101" fmla="*/ 2133357 h 5137252"/>
                <a:gd name="connsiteX102" fmla="*/ 279664 w 3949778"/>
                <a:gd name="connsiteY102" fmla="*/ 2147085 h 5137252"/>
                <a:gd name="connsiteX103" fmla="*/ 231279 w 3949778"/>
                <a:gd name="connsiteY103" fmla="*/ 2179773 h 5137252"/>
                <a:gd name="connsiteX104" fmla="*/ 0 w 3949778"/>
                <a:gd name="connsiteY104" fmla="*/ 2178209 h 5137252"/>
                <a:gd name="connsiteX105" fmla="*/ 0 w 3949778"/>
                <a:gd name="connsiteY105" fmla="*/ 1872741 h 5137252"/>
                <a:gd name="connsiteX106" fmla="*/ 213783 w 3949778"/>
                <a:gd name="connsiteY106" fmla="*/ 1874853 h 5137252"/>
                <a:gd name="connsiteX107" fmla="*/ 223404 w 3949778"/>
                <a:gd name="connsiteY107" fmla="*/ 1889096 h 5137252"/>
                <a:gd name="connsiteX108" fmla="*/ 346417 w 3949778"/>
                <a:gd name="connsiteY108" fmla="*/ 1939916 h 5137252"/>
                <a:gd name="connsiteX109" fmla="*/ 520156 w 3949778"/>
                <a:gd name="connsiteY109" fmla="*/ 1765856 h 5137252"/>
                <a:gd name="connsiteX110" fmla="*/ 413799 w 3949778"/>
                <a:gd name="connsiteY110" fmla="*/ 1605720 h 5137252"/>
                <a:gd name="connsiteX111" fmla="*/ 346096 w 3949778"/>
                <a:gd name="connsiteY111" fmla="*/ 1592117 h 5137252"/>
                <a:gd name="connsiteX112" fmla="*/ 278419 w 3949778"/>
                <a:gd name="connsiteY112" fmla="*/ 1605845 h 5137252"/>
                <a:gd name="connsiteX113" fmla="*/ 223595 w 3949778"/>
                <a:gd name="connsiteY113" fmla="*/ 1642881 h 5137252"/>
                <a:gd name="connsiteX114" fmla="*/ 0 w 3949778"/>
                <a:gd name="connsiteY114" fmla="*/ 1642007 h 5137252"/>
                <a:gd name="connsiteX115" fmla="*/ 0 w 3949778"/>
                <a:gd name="connsiteY115" fmla="*/ 1332051 h 5137252"/>
                <a:gd name="connsiteX116" fmla="*/ 215067 w 3949778"/>
                <a:gd name="connsiteY116" fmla="*/ 1332559 h 5137252"/>
                <a:gd name="connsiteX117" fmla="*/ 227605 w 3949778"/>
                <a:gd name="connsiteY117" fmla="*/ 1351120 h 5137252"/>
                <a:gd name="connsiteX118" fmla="*/ 350618 w 3949778"/>
                <a:gd name="connsiteY118" fmla="*/ 1401940 h 5137252"/>
                <a:gd name="connsiteX119" fmla="*/ 524358 w 3949778"/>
                <a:gd name="connsiteY119" fmla="*/ 1227880 h 5137252"/>
                <a:gd name="connsiteX120" fmla="*/ 418000 w 3949778"/>
                <a:gd name="connsiteY120" fmla="*/ 1067744 h 5137252"/>
                <a:gd name="connsiteX121" fmla="*/ 350297 w 3949778"/>
                <a:gd name="connsiteY121" fmla="*/ 1054140 h 5137252"/>
                <a:gd name="connsiteX122" fmla="*/ 282620 w 3949778"/>
                <a:gd name="connsiteY122" fmla="*/ 1067869 h 5137252"/>
                <a:gd name="connsiteX123" fmla="*/ 234201 w 3949778"/>
                <a:gd name="connsiteY123" fmla="*/ 1100579 h 5137252"/>
                <a:gd name="connsiteX124" fmla="*/ 3221 w 3949778"/>
                <a:gd name="connsiteY124" fmla="*/ 1102939 h 5137252"/>
                <a:gd name="connsiteX125" fmla="*/ 0 w 3949778"/>
                <a:gd name="connsiteY125" fmla="*/ 1210259 h 5137252"/>
                <a:gd name="connsiteX126" fmla="*/ 0 w 3949778"/>
                <a:gd name="connsiteY126" fmla="*/ 797050 h 5137252"/>
                <a:gd name="connsiteX127" fmla="*/ 223677 w 3949778"/>
                <a:gd name="connsiteY127" fmla="*/ 795631 h 5137252"/>
                <a:gd name="connsiteX128" fmla="*/ 229623 w 3949778"/>
                <a:gd name="connsiteY128" fmla="*/ 804432 h 5137252"/>
                <a:gd name="connsiteX129" fmla="*/ 352636 w 3949778"/>
                <a:gd name="connsiteY129" fmla="*/ 855253 h 5137252"/>
                <a:gd name="connsiteX130" fmla="*/ 526376 w 3949778"/>
                <a:gd name="connsiteY130" fmla="*/ 681193 h 5137252"/>
                <a:gd name="connsiteX131" fmla="*/ 420018 w 3949778"/>
                <a:gd name="connsiteY131" fmla="*/ 521057 h 5137252"/>
                <a:gd name="connsiteX132" fmla="*/ 352316 w 3949778"/>
                <a:gd name="connsiteY132" fmla="*/ 507453 h 5137252"/>
                <a:gd name="connsiteX133" fmla="*/ 229397 w 3949778"/>
                <a:gd name="connsiteY133" fmla="*/ 558500 h 5137252"/>
                <a:gd name="connsiteX134" fmla="*/ 225922 w 3949778"/>
                <a:gd name="connsiteY134" fmla="*/ 563667 h 5137252"/>
                <a:gd name="connsiteX135" fmla="*/ 615 w 3949778"/>
                <a:gd name="connsiteY135" fmla="*/ 565510 h 5137252"/>
                <a:gd name="connsiteX136" fmla="*/ 0 w 3949778"/>
                <a:gd name="connsiteY136" fmla="*/ 616517 h 5137252"/>
                <a:gd name="connsiteX137" fmla="*/ 0 w 3949778"/>
                <a:gd name="connsiteY137" fmla="*/ 244537 h 5137252"/>
                <a:gd name="connsiteX138" fmla="*/ 244537 w 3949778"/>
                <a:gd name="connsiteY138" fmla="*/ 0 h 5137252"/>
                <a:gd name="connsiteX139" fmla="*/ 3700874 w 3949778"/>
                <a:gd name="connsiteY139" fmla="*/ 0 h 5137252"/>
                <a:gd name="connsiteX140" fmla="*/ 3837597 w 3949778"/>
                <a:gd name="connsiteY140" fmla="*/ 41763 h 5137252"/>
                <a:gd name="connsiteX0" fmla="*/ 408823 w 3949778"/>
                <a:gd name="connsiteY0" fmla="*/ 3231620 h 5137252"/>
                <a:gd name="connsiteX1" fmla="*/ 341120 w 3949778"/>
                <a:gd name="connsiteY1" fmla="*/ 3218017 h 5137252"/>
                <a:gd name="connsiteX2" fmla="*/ 218202 w 3949778"/>
                <a:gd name="connsiteY2" fmla="*/ 3269064 h 5137252"/>
                <a:gd name="connsiteX3" fmla="*/ 213987 w 3949778"/>
                <a:gd name="connsiteY3" fmla="*/ 3275327 h 5137252"/>
                <a:gd name="connsiteX4" fmla="*/ 2216 w 3949778"/>
                <a:gd name="connsiteY4" fmla="*/ 3276343 h 5137252"/>
                <a:gd name="connsiteX5" fmla="*/ 1466 w 3949778"/>
                <a:gd name="connsiteY5" fmla="*/ 3509122 h 5137252"/>
                <a:gd name="connsiteX6" fmla="*/ 213223 w 3949778"/>
                <a:gd name="connsiteY6" fmla="*/ 3507290 h 5137252"/>
                <a:gd name="connsiteX7" fmla="*/ 218428 w 3949778"/>
                <a:gd name="connsiteY7" fmla="*/ 3514996 h 5137252"/>
                <a:gd name="connsiteX8" fmla="*/ 341441 w 3949778"/>
                <a:gd name="connsiteY8" fmla="*/ 3565816 h 5137252"/>
                <a:gd name="connsiteX9" fmla="*/ 515181 w 3949778"/>
                <a:gd name="connsiteY9" fmla="*/ 3391757 h 5137252"/>
                <a:gd name="connsiteX10" fmla="*/ 408823 w 3949778"/>
                <a:gd name="connsiteY10" fmla="*/ 3231620 h 5137252"/>
                <a:gd name="connsiteX11" fmla="*/ 1903445 w 3949778"/>
                <a:gd name="connsiteY11" fmla="*/ 4012352 h 5137252"/>
                <a:gd name="connsiteX12" fmla="*/ 1858290 w 3949778"/>
                <a:gd name="connsiteY12" fmla="*/ 4003279 h 5137252"/>
                <a:gd name="connsiteX13" fmla="*/ 959661 w 3949778"/>
                <a:gd name="connsiteY13" fmla="*/ 4004107 h 5137252"/>
                <a:gd name="connsiteX14" fmla="*/ 843788 w 3949778"/>
                <a:gd name="connsiteY14" fmla="*/ 4120195 h 5137252"/>
                <a:gd name="connsiteX15" fmla="*/ 959876 w 3949778"/>
                <a:gd name="connsiteY15" fmla="*/ 4236069 h 5137252"/>
                <a:gd name="connsiteX16" fmla="*/ 1858505 w 3949778"/>
                <a:gd name="connsiteY16" fmla="*/ 4235241 h 5137252"/>
                <a:gd name="connsiteX17" fmla="*/ 1974379 w 3949778"/>
                <a:gd name="connsiteY17" fmla="*/ 4119154 h 5137252"/>
                <a:gd name="connsiteX18" fmla="*/ 1903445 w 3949778"/>
                <a:gd name="connsiteY18" fmla="*/ 4012352 h 5137252"/>
                <a:gd name="connsiteX19" fmla="*/ 3479313 w 3949778"/>
                <a:gd name="connsiteY19" fmla="*/ 918916 h 5137252"/>
                <a:gd name="connsiteX20" fmla="*/ 3434158 w 3949778"/>
                <a:gd name="connsiteY20" fmla="*/ 909842 h 5137252"/>
                <a:gd name="connsiteX21" fmla="*/ 964487 w 3949778"/>
                <a:gd name="connsiteY21" fmla="*/ 912118 h 5137252"/>
                <a:gd name="connsiteX22" fmla="*/ 848613 w 3949778"/>
                <a:gd name="connsiteY22" fmla="*/ 1028206 h 5137252"/>
                <a:gd name="connsiteX23" fmla="*/ 964701 w 3949778"/>
                <a:gd name="connsiteY23" fmla="*/ 1144080 h 5137252"/>
                <a:gd name="connsiteX24" fmla="*/ 3434372 w 3949778"/>
                <a:gd name="connsiteY24" fmla="*/ 1141804 h 5137252"/>
                <a:gd name="connsiteX25" fmla="*/ 3550246 w 3949778"/>
                <a:gd name="connsiteY25" fmla="*/ 1025717 h 5137252"/>
                <a:gd name="connsiteX26" fmla="*/ 3479313 w 3949778"/>
                <a:gd name="connsiteY26" fmla="*/ 918916 h 5137252"/>
                <a:gd name="connsiteX27" fmla="*/ 3837597 w 3949778"/>
                <a:gd name="connsiteY27" fmla="*/ 41763 h 5137252"/>
                <a:gd name="connsiteX28" fmla="*/ 3945411 w 3949778"/>
                <a:gd name="connsiteY28" fmla="*/ 244537 h 5137252"/>
                <a:gd name="connsiteX29" fmla="*/ 3520923 w 3949778"/>
                <a:gd name="connsiteY29" fmla="*/ 1396482 h 5137252"/>
                <a:gd name="connsiteX30" fmla="*/ 3466178 w 3949778"/>
                <a:gd name="connsiteY30" fmla="*/ 1540909 h 5137252"/>
                <a:gd name="connsiteX31" fmla="*/ 3426988 w 3949778"/>
                <a:gd name="connsiteY31" fmla="*/ 1533034 h 5137252"/>
                <a:gd name="connsiteX32" fmla="*/ 957316 w 3949778"/>
                <a:gd name="connsiteY32" fmla="*/ 1535310 h 5137252"/>
                <a:gd name="connsiteX33" fmla="*/ 841442 w 3949778"/>
                <a:gd name="connsiteY33" fmla="*/ 1651398 h 5137252"/>
                <a:gd name="connsiteX34" fmla="*/ 957530 w 3949778"/>
                <a:gd name="connsiteY34" fmla="*/ 1767272 h 5137252"/>
                <a:gd name="connsiteX35" fmla="*/ 3381059 w 3949778"/>
                <a:gd name="connsiteY35" fmla="*/ 1765039 h 5137252"/>
                <a:gd name="connsiteX36" fmla="*/ 3335438 w 3949778"/>
                <a:gd name="connsiteY36" fmla="*/ 1884985 h 5137252"/>
                <a:gd name="connsiteX37" fmla="*/ 3234693 w 3949778"/>
                <a:gd name="connsiteY37" fmla="*/ 2149055 h 5137252"/>
                <a:gd name="connsiteX38" fmla="*/ 965662 w 3949778"/>
                <a:gd name="connsiteY38" fmla="*/ 2151146 h 5137252"/>
                <a:gd name="connsiteX39" fmla="*/ 849788 w 3949778"/>
                <a:gd name="connsiteY39" fmla="*/ 2267234 h 5137252"/>
                <a:gd name="connsiteX40" fmla="*/ 965876 w 3949778"/>
                <a:gd name="connsiteY40" fmla="*/ 2383107 h 5137252"/>
                <a:gd name="connsiteX41" fmla="*/ 3146162 w 3949778"/>
                <a:gd name="connsiteY41" fmla="*/ 2381099 h 5137252"/>
                <a:gd name="connsiteX42" fmla="*/ 3058829 w 3949778"/>
                <a:gd name="connsiteY42" fmla="*/ 2609727 h 5137252"/>
                <a:gd name="connsiteX43" fmla="*/ 2997318 w 3949778"/>
                <a:gd name="connsiteY43" fmla="*/ 2770827 h 5137252"/>
                <a:gd name="connsiteX44" fmla="*/ 965025 w 3949778"/>
                <a:gd name="connsiteY44" fmla="*/ 2772700 h 5137252"/>
                <a:gd name="connsiteX45" fmla="*/ 849151 w 3949778"/>
                <a:gd name="connsiteY45" fmla="*/ 2888787 h 5137252"/>
                <a:gd name="connsiteX46" fmla="*/ 965239 w 3949778"/>
                <a:gd name="connsiteY46" fmla="*/ 3004661 h 5137252"/>
                <a:gd name="connsiteX47" fmla="*/ 2908819 w 3949778"/>
                <a:gd name="connsiteY47" fmla="*/ 3002870 h 5137252"/>
                <a:gd name="connsiteX48" fmla="*/ 2893682 w 3949778"/>
                <a:gd name="connsiteY48" fmla="*/ 3042577 h 5137252"/>
                <a:gd name="connsiteX49" fmla="*/ 2821562 w 3949778"/>
                <a:gd name="connsiteY49" fmla="*/ 3232345 h 5137252"/>
                <a:gd name="connsiteX50" fmla="*/ 2762222 w 3949778"/>
                <a:gd name="connsiteY50" fmla="*/ 3389325 h 5137252"/>
                <a:gd name="connsiteX51" fmla="*/ 949683 w 3949778"/>
                <a:gd name="connsiteY51" fmla="*/ 3390995 h 5137252"/>
                <a:gd name="connsiteX52" fmla="*/ 833809 w 3949778"/>
                <a:gd name="connsiteY52" fmla="*/ 3507083 h 5137252"/>
                <a:gd name="connsiteX53" fmla="*/ 949897 w 3949778"/>
                <a:gd name="connsiteY53" fmla="*/ 3622957 h 5137252"/>
                <a:gd name="connsiteX54" fmla="*/ 2732014 w 3949778"/>
                <a:gd name="connsiteY54" fmla="*/ 3621315 h 5137252"/>
                <a:gd name="connsiteX55" fmla="*/ 2633061 w 3949778"/>
                <a:gd name="connsiteY55" fmla="*/ 4312952 h 5137252"/>
                <a:gd name="connsiteX56" fmla="*/ 2957180 w 3949778"/>
                <a:gd name="connsiteY56" fmla="*/ 4409562 h 5137252"/>
                <a:gd name="connsiteX57" fmla="*/ 3482402 w 3949778"/>
                <a:gd name="connsiteY57" fmla="*/ 3613885 h 5137252"/>
                <a:gd name="connsiteX58" fmla="*/ 3552044 w 3949778"/>
                <a:gd name="connsiteY58" fmla="*/ 3429821 h 5137252"/>
                <a:gd name="connsiteX59" fmla="*/ 3949778 w 3949778"/>
                <a:gd name="connsiteY59" fmla="*/ 2383707 h 5137252"/>
                <a:gd name="connsiteX60" fmla="*/ 3945411 w 3949778"/>
                <a:gd name="connsiteY60" fmla="*/ 4892715 h 5137252"/>
                <a:gd name="connsiteX61" fmla="*/ 3700874 w 3949778"/>
                <a:gd name="connsiteY61" fmla="*/ 5137252 h 5137252"/>
                <a:gd name="connsiteX62" fmla="*/ 244537 w 3949778"/>
                <a:gd name="connsiteY62" fmla="*/ 5137252 h 5137252"/>
                <a:gd name="connsiteX63" fmla="*/ 0 w 3949778"/>
                <a:gd name="connsiteY63" fmla="*/ 4892715 h 5137252"/>
                <a:gd name="connsiteX64" fmla="*/ 0 w 3949778"/>
                <a:gd name="connsiteY64" fmla="*/ 4605616 h 5137252"/>
                <a:gd name="connsiteX65" fmla="*/ 222310 w 3949778"/>
                <a:gd name="connsiteY65" fmla="*/ 4605020 h 5137252"/>
                <a:gd name="connsiteX66" fmla="*/ 223099 w 3949778"/>
                <a:gd name="connsiteY66" fmla="*/ 4606189 h 5137252"/>
                <a:gd name="connsiteX67" fmla="*/ 346112 w 3949778"/>
                <a:gd name="connsiteY67" fmla="*/ 4657010 h 5137252"/>
                <a:gd name="connsiteX68" fmla="*/ 519851 w 3949778"/>
                <a:gd name="connsiteY68" fmla="*/ 4482950 h 5137252"/>
                <a:gd name="connsiteX69" fmla="*/ 413494 w 3949778"/>
                <a:gd name="connsiteY69" fmla="*/ 4322814 h 5137252"/>
                <a:gd name="connsiteX70" fmla="*/ 345791 w 3949778"/>
                <a:gd name="connsiteY70" fmla="*/ 4309210 h 5137252"/>
                <a:gd name="connsiteX71" fmla="*/ 222872 w 3949778"/>
                <a:gd name="connsiteY71" fmla="*/ 4360257 h 5137252"/>
                <a:gd name="connsiteX72" fmla="*/ 214254 w 3949778"/>
                <a:gd name="connsiteY72" fmla="*/ 4373065 h 5137252"/>
                <a:gd name="connsiteX73" fmla="*/ 0 w 3949778"/>
                <a:gd name="connsiteY73" fmla="*/ 4376088 h 5137252"/>
                <a:gd name="connsiteX74" fmla="*/ 0 w 3949778"/>
                <a:gd name="connsiteY74" fmla="*/ 4048176 h 5137252"/>
                <a:gd name="connsiteX75" fmla="*/ 213279 w 3949778"/>
                <a:gd name="connsiteY75" fmla="*/ 4047458 h 5137252"/>
                <a:gd name="connsiteX76" fmla="*/ 227300 w 3949778"/>
                <a:gd name="connsiteY76" fmla="*/ 4068214 h 5137252"/>
                <a:gd name="connsiteX77" fmla="*/ 350312 w 3949778"/>
                <a:gd name="connsiteY77" fmla="*/ 4119034 h 5137252"/>
                <a:gd name="connsiteX78" fmla="*/ 524052 w 3949778"/>
                <a:gd name="connsiteY78" fmla="*/ 3944974 h 5137252"/>
                <a:gd name="connsiteX79" fmla="*/ 417694 w 3949778"/>
                <a:gd name="connsiteY79" fmla="*/ 3784839 h 5137252"/>
                <a:gd name="connsiteX80" fmla="*/ 349992 w 3949778"/>
                <a:gd name="connsiteY80" fmla="*/ 3771235 h 5137252"/>
                <a:gd name="connsiteX81" fmla="*/ 282315 w 3949778"/>
                <a:gd name="connsiteY81" fmla="*/ 3784963 h 5137252"/>
                <a:gd name="connsiteX82" fmla="*/ 237151 w 3949778"/>
                <a:gd name="connsiteY82" fmla="*/ 3815474 h 5137252"/>
                <a:gd name="connsiteX83" fmla="*/ 0 w 3949778"/>
                <a:gd name="connsiteY83" fmla="*/ 3818662 h 5137252"/>
                <a:gd name="connsiteX84" fmla="*/ 0 w 3949778"/>
                <a:gd name="connsiteY84" fmla="*/ 2967160 h 5137252"/>
                <a:gd name="connsiteX85" fmla="*/ 214473 w 3949778"/>
                <a:gd name="connsiteY85" fmla="*/ 2964949 h 5137252"/>
                <a:gd name="connsiteX86" fmla="*/ 222629 w 3949778"/>
                <a:gd name="connsiteY86" fmla="*/ 2977021 h 5137252"/>
                <a:gd name="connsiteX87" fmla="*/ 345641 w 3949778"/>
                <a:gd name="connsiteY87" fmla="*/ 3027842 h 5137252"/>
                <a:gd name="connsiteX88" fmla="*/ 519381 w 3949778"/>
                <a:gd name="connsiteY88" fmla="*/ 2853781 h 5137252"/>
                <a:gd name="connsiteX89" fmla="*/ 413023 w 3949778"/>
                <a:gd name="connsiteY89" fmla="*/ 2693645 h 5137252"/>
                <a:gd name="connsiteX90" fmla="*/ 345321 w 3949778"/>
                <a:gd name="connsiteY90" fmla="*/ 2680041 h 5137252"/>
                <a:gd name="connsiteX91" fmla="*/ 222402 w 3949778"/>
                <a:gd name="connsiteY91" fmla="*/ 2731089 h 5137252"/>
                <a:gd name="connsiteX92" fmla="*/ 221128 w 3949778"/>
                <a:gd name="connsiteY92" fmla="*/ 2732981 h 5137252"/>
                <a:gd name="connsiteX93" fmla="*/ 0 w 3949778"/>
                <a:gd name="connsiteY93" fmla="*/ 2735633 h 5137252"/>
                <a:gd name="connsiteX94" fmla="*/ 0 w 3949778"/>
                <a:gd name="connsiteY94" fmla="*/ 2413015 h 5137252"/>
                <a:gd name="connsiteX95" fmla="*/ 212094 w 3949778"/>
                <a:gd name="connsiteY95" fmla="*/ 2411751 h 5137252"/>
                <a:gd name="connsiteX96" fmla="*/ 224649 w 3949778"/>
                <a:gd name="connsiteY96" fmla="*/ 2430336 h 5137252"/>
                <a:gd name="connsiteX97" fmla="*/ 347662 w 3949778"/>
                <a:gd name="connsiteY97" fmla="*/ 2481156 h 5137252"/>
                <a:gd name="connsiteX98" fmla="*/ 521401 w 3949778"/>
                <a:gd name="connsiteY98" fmla="*/ 2307096 h 5137252"/>
                <a:gd name="connsiteX99" fmla="*/ 415044 w 3949778"/>
                <a:gd name="connsiteY99" fmla="*/ 2146960 h 5137252"/>
                <a:gd name="connsiteX100" fmla="*/ 347341 w 3949778"/>
                <a:gd name="connsiteY100" fmla="*/ 2133357 h 5137252"/>
                <a:gd name="connsiteX101" fmla="*/ 279664 w 3949778"/>
                <a:gd name="connsiteY101" fmla="*/ 2147085 h 5137252"/>
                <a:gd name="connsiteX102" fmla="*/ 231279 w 3949778"/>
                <a:gd name="connsiteY102" fmla="*/ 2179773 h 5137252"/>
                <a:gd name="connsiteX103" fmla="*/ 0 w 3949778"/>
                <a:gd name="connsiteY103" fmla="*/ 2178209 h 5137252"/>
                <a:gd name="connsiteX104" fmla="*/ 0 w 3949778"/>
                <a:gd name="connsiteY104" fmla="*/ 1872741 h 5137252"/>
                <a:gd name="connsiteX105" fmla="*/ 213783 w 3949778"/>
                <a:gd name="connsiteY105" fmla="*/ 1874853 h 5137252"/>
                <a:gd name="connsiteX106" fmla="*/ 223404 w 3949778"/>
                <a:gd name="connsiteY106" fmla="*/ 1889096 h 5137252"/>
                <a:gd name="connsiteX107" fmla="*/ 346417 w 3949778"/>
                <a:gd name="connsiteY107" fmla="*/ 1939916 h 5137252"/>
                <a:gd name="connsiteX108" fmla="*/ 520156 w 3949778"/>
                <a:gd name="connsiteY108" fmla="*/ 1765856 h 5137252"/>
                <a:gd name="connsiteX109" fmla="*/ 413799 w 3949778"/>
                <a:gd name="connsiteY109" fmla="*/ 1605720 h 5137252"/>
                <a:gd name="connsiteX110" fmla="*/ 346096 w 3949778"/>
                <a:gd name="connsiteY110" fmla="*/ 1592117 h 5137252"/>
                <a:gd name="connsiteX111" fmla="*/ 278419 w 3949778"/>
                <a:gd name="connsiteY111" fmla="*/ 1605845 h 5137252"/>
                <a:gd name="connsiteX112" fmla="*/ 223595 w 3949778"/>
                <a:gd name="connsiteY112" fmla="*/ 1642881 h 5137252"/>
                <a:gd name="connsiteX113" fmla="*/ 0 w 3949778"/>
                <a:gd name="connsiteY113" fmla="*/ 1642007 h 5137252"/>
                <a:gd name="connsiteX114" fmla="*/ 0 w 3949778"/>
                <a:gd name="connsiteY114" fmla="*/ 1332051 h 5137252"/>
                <a:gd name="connsiteX115" fmla="*/ 215067 w 3949778"/>
                <a:gd name="connsiteY115" fmla="*/ 1332559 h 5137252"/>
                <a:gd name="connsiteX116" fmla="*/ 227605 w 3949778"/>
                <a:gd name="connsiteY116" fmla="*/ 1351120 h 5137252"/>
                <a:gd name="connsiteX117" fmla="*/ 350618 w 3949778"/>
                <a:gd name="connsiteY117" fmla="*/ 1401940 h 5137252"/>
                <a:gd name="connsiteX118" fmla="*/ 524358 w 3949778"/>
                <a:gd name="connsiteY118" fmla="*/ 1227880 h 5137252"/>
                <a:gd name="connsiteX119" fmla="*/ 418000 w 3949778"/>
                <a:gd name="connsiteY119" fmla="*/ 1067744 h 5137252"/>
                <a:gd name="connsiteX120" fmla="*/ 350297 w 3949778"/>
                <a:gd name="connsiteY120" fmla="*/ 1054140 h 5137252"/>
                <a:gd name="connsiteX121" fmla="*/ 282620 w 3949778"/>
                <a:gd name="connsiteY121" fmla="*/ 1067869 h 5137252"/>
                <a:gd name="connsiteX122" fmla="*/ 234201 w 3949778"/>
                <a:gd name="connsiteY122" fmla="*/ 1100579 h 5137252"/>
                <a:gd name="connsiteX123" fmla="*/ 3221 w 3949778"/>
                <a:gd name="connsiteY123" fmla="*/ 1102939 h 5137252"/>
                <a:gd name="connsiteX124" fmla="*/ 0 w 3949778"/>
                <a:gd name="connsiteY124" fmla="*/ 1210259 h 5137252"/>
                <a:gd name="connsiteX125" fmla="*/ 0 w 3949778"/>
                <a:gd name="connsiteY125" fmla="*/ 797050 h 5137252"/>
                <a:gd name="connsiteX126" fmla="*/ 223677 w 3949778"/>
                <a:gd name="connsiteY126" fmla="*/ 795631 h 5137252"/>
                <a:gd name="connsiteX127" fmla="*/ 229623 w 3949778"/>
                <a:gd name="connsiteY127" fmla="*/ 804432 h 5137252"/>
                <a:gd name="connsiteX128" fmla="*/ 352636 w 3949778"/>
                <a:gd name="connsiteY128" fmla="*/ 855253 h 5137252"/>
                <a:gd name="connsiteX129" fmla="*/ 526376 w 3949778"/>
                <a:gd name="connsiteY129" fmla="*/ 681193 h 5137252"/>
                <a:gd name="connsiteX130" fmla="*/ 420018 w 3949778"/>
                <a:gd name="connsiteY130" fmla="*/ 521057 h 5137252"/>
                <a:gd name="connsiteX131" fmla="*/ 352316 w 3949778"/>
                <a:gd name="connsiteY131" fmla="*/ 507453 h 5137252"/>
                <a:gd name="connsiteX132" fmla="*/ 229397 w 3949778"/>
                <a:gd name="connsiteY132" fmla="*/ 558500 h 5137252"/>
                <a:gd name="connsiteX133" fmla="*/ 225922 w 3949778"/>
                <a:gd name="connsiteY133" fmla="*/ 563667 h 5137252"/>
                <a:gd name="connsiteX134" fmla="*/ 615 w 3949778"/>
                <a:gd name="connsiteY134" fmla="*/ 565510 h 5137252"/>
                <a:gd name="connsiteX135" fmla="*/ 0 w 3949778"/>
                <a:gd name="connsiteY135" fmla="*/ 616517 h 5137252"/>
                <a:gd name="connsiteX136" fmla="*/ 0 w 3949778"/>
                <a:gd name="connsiteY136" fmla="*/ 244537 h 5137252"/>
                <a:gd name="connsiteX137" fmla="*/ 244537 w 3949778"/>
                <a:gd name="connsiteY137" fmla="*/ 0 h 5137252"/>
                <a:gd name="connsiteX138" fmla="*/ 3700874 w 3949778"/>
                <a:gd name="connsiteY138" fmla="*/ 0 h 5137252"/>
                <a:gd name="connsiteX139" fmla="*/ 3837597 w 3949778"/>
                <a:gd name="connsiteY139" fmla="*/ 41763 h 5137252"/>
                <a:gd name="connsiteX0" fmla="*/ 408823 w 3949778"/>
                <a:gd name="connsiteY0" fmla="*/ 3231620 h 5137252"/>
                <a:gd name="connsiteX1" fmla="*/ 341120 w 3949778"/>
                <a:gd name="connsiteY1" fmla="*/ 3218017 h 5137252"/>
                <a:gd name="connsiteX2" fmla="*/ 218202 w 3949778"/>
                <a:gd name="connsiteY2" fmla="*/ 3269064 h 5137252"/>
                <a:gd name="connsiteX3" fmla="*/ 213987 w 3949778"/>
                <a:gd name="connsiteY3" fmla="*/ 3275327 h 5137252"/>
                <a:gd name="connsiteX4" fmla="*/ 2216 w 3949778"/>
                <a:gd name="connsiteY4" fmla="*/ 3276343 h 5137252"/>
                <a:gd name="connsiteX5" fmla="*/ 1466 w 3949778"/>
                <a:gd name="connsiteY5" fmla="*/ 3509122 h 5137252"/>
                <a:gd name="connsiteX6" fmla="*/ 213223 w 3949778"/>
                <a:gd name="connsiteY6" fmla="*/ 3507290 h 5137252"/>
                <a:gd name="connsiteX7" fmla="*/ 218428 w 3949778"/>
                <a:gd name="connsiteY7" fmla="*/ 3514996 h 5137252"/>
                <a:gd name="connsiteX8" fmla="*/ 341441 w 3949778"/>
                <a:gd name="connsiteY8" fmla="*/ 3565816 h 5137252"/>
                <a:gd name="connsiteX9" fmla="*/ 515181 w 3949778"/>
                <a:gd name="connsiteY9" fmla="*/ 3391757 h 5137252"/>
                <a:gd name="connsiteX10" fmla="*/ 408823 w 3949778"/>
                <a:gd name="connsiteY10" fmla="*/ 3231620 h 5137252"/>
                <a:gd name="connsiteX11" fmla="*/ 1903445 w 3949778"/>
                <a:gd name="connsiteY11" fmla="*/ 4012352 h 5137252"/>
                <a:gd name="connsiteX12" fmla="*/ 1858290 w 3949778"/>
                <a:gd name="connsiteY12" fmla="*/ 4003279 h 5137252"/>
                <a:gd name="connsiteX13" fmla="*/ 959661 w 3949778"/>
                <a:gd name="connsiteY13" fmla="*/ 4004107 h 5137252"/>
                <a:gd name="connsiteX14" fmla="*/ 843788 w 3949778"/>
                <a:gd name="connsiteY14" fmla="*/ 4120195 h 5137252"/>
                <a:gd name="connsiteX15" fmla="*/ 959876 w 3949778"/>
                <a:gd name="connsiteY15" fmla="*/ 4236069 h 5137252"/>
                <a:gd name="connsiteX16" fmla="*/ 1858505 w 3949778"/>
                <a:gd name="connsiteY16" fmla="*/ 4235241 h 5137252"/>
                <a:gd name="connsiteX17" fmla="*/ 1974379 w 3949778"/>
                <a:gd name="connsiteY17" fmla="*/ 4119154 h 5137252"/>
                <a:gd name="connsiteX18" fmla="*/ 1903445 w 3949778"/>
                <a:gd name="connsiteY18" fmla="*/ 4012352 h 5137252"/>
                <a:gd name="connsiteX19" fmla="*/ 3479313 w 3949778"/>
                <a:gd name="connsiteY19" fmla="*/ 918916 h 5137252"/>
                <a:gd name="connsiteX20" fmla="*/ 3434158 w 3949778"/>
                <a:gd name="connsiteY20" fmla="*/ 909842 h 5137252"/>
                <a:gd name="connsiteX21" fmla="*/ 964487 w 3949778"/>
                <a:gd name="connsiteY21" fmla="*/ 912118 h 5137252"/>
                <a:gd name="connsiteX22" fmla="*/ 848613 w 3949778"/>
                <a:gd name="connsiteY22" fmla="*/ 1028206 h 5137252"/>
                <a:gd name="connsiteX23" fmla="*/ 964701 w 3949778"/>
                <a:gd name="connsiteY23" fmla="*/ 1144080 h 5137252"/>
                <a:gd name="connsiteX24" fmla="*/ 3434372 w 3949778"/>
                <a:gd name="connsiteY24" fmla="*/ 1141804 h 5137252"/>
                <a:gd name="connsiteX25" fmla="*/ 3550246 w 3949778"/>
                <a:gd name="connsiteY25" fmla="*/ 1025717 h 5137252"/>
                <a:gd name="connsiteX26" fmla="*/ 3479313 w 3949778"/>
                <a:gd name="connsiteY26" fmla="*/ 918916 h 5137252"/>
                <a:gd name="connsiteX27" fmla="*/ 3837597 w 3949778"/>
                <a:gd name="connsiteY27" fmla="*/ 41763 h 5137252"/>
                <a:gd name="connsiteX28" fmla="*/ 3945411 w 3949778"/>
                <a:gd name="connsiteY28" fmla="*/ 244537 h 5137252"/>
                <a:gd name="connsiteX29" fmla="*/ 3520923 w 3949778"/>
                <a:gd name="connsiteY29" fmla="*/ 1396482 h 5137252"/>
                <a:gd name="connsiteX30" fmla="*/ 3466178 w 3949778"/>
                <a:gd name="connsiteY30" fmla="*/ 1540909 h 5137252"/>
                <a:gd name="connsiteX31" fmla="*/ 3426988 w 3949778"/>
                <a:gd name="connsiteY31" fmla="*/ 1533034 h 5137252"/>
                <a:gd name="connsiteX32" fmla="*/ 957316 w 3949778"/>
                <a:gd name="connsiteY32" fmla="*/ 1535310 h 5137252"/>
                <a:gd name="connsiteX33" fmla="*/ 841442 w 3949778"/>
                <a:gd name="connsiteY33" fmla="*/ 1651398 h 5137252"/>
                <a:gd name="connsiteX34" fmla="*/ 957530 w 3949778"/>
                <a:gd name="connsiteY34" fmla="*/ 1767272 h 5137252"/>
                <a:gd name="connsiteX35" fmla="*/ 3381059 w 3949778"/>
                <a:gd name="connsiteY35" fmla="*/ 1765039 h 5137252"/>
                <a:gd name="connsiteX36" fmla="*/ 3234693 w 3949778"/>
                <a:gd name="connsiteY36" fmla="*/ 2149055 h 5137252"/>
                <a:gd name="connsiteX37" fmla="*/ 965662 w 3949778"/>
                <a:gd name="connsiteY37" fmla="*/ 2151146 h 5137252"/>
                <a:gd name="connsiteX38" fmla="*/ 849788 w 3949778"/>
                <a:gd name="connsiteY38" fmla="*/ 2267234 h 5137252"/>
                <a:gd name="connsiteX39" fmla="*/ 965876 w 3949778"/>
                <a:gd name="connsiteY39" fmla="*/ 2383107 h 5137252"/>
                <a:gd name="connsiteX40" fmla="*/ 3146162 w 3949778"/>
                <a:gd name="connsiteY40" fmla="*/ 2381099 h 5137252"/>
                <a:gd name="connsiteX41" fmla="*/ 3058829 w 3949778"/>
                <a:gd name="connsiteY41" fmla="*/ 2609727 h 5137252"/>
                <a:gd name="connsiteX42" fmla="*/ 2997318 w 3949778"/>
                <a:gd name="connsiteY42" fmla="*/ 2770827 h 5137252"/>
                <a:gd name="connsiteX43" fmla="*/ 965025 w 3949778"/>
                <a:gd name="connsiteY43" fmla="*/ 2772700 h 5137252"/>
                <a:gd name="connsiteX44" fmla="*/ 849151 w 3949778"/>
                <a:gd name="connsiteY44" fmla="*/ 2888787 h 5137252"/>
                <a:gd name="connsiteX45" fmla="*/ 965239 w 3949778"/>
                <a:gd name="connsiteY45" fmla="*/ 3004661 h 5137252"/>
                <a:gd name="connsiteX46" fmla="*/ 2908819 w 3949778"/>
                <a:gd name="connsiteY46" fmla="*/ 3002870 h 5137252"/>
                <a:gd name="connsiteX47" fmla="*/ 2893682 w 3949778"/>
                <a:gd name="connsiteY47" fmla="*/ 3042577 h 5137252"/>
                <a:gd name="connsiteX48" fmla="*/ 2821562 w 3949778"/>
                <a:gd name="connsiteY48" fmla="*/ 3232345 h 5137252"/>
                <a:gd name="connsiteX49" fmla="*/ 2762222 w 3949778"/>
                <a:gd name="connsiteY49" fmla="*/ 3389325 h 5137252"/>
                <a:gd name="connsiteX50" fmla="*/ 949683 w 3949778"/>
                <a:gd name="connsiteY50" fmla="*/ 3390995 h 5137252"/>
                <a:gd name="connsiteX51" fmla="*/ 833809 w 3949778"/>
                <a:gd name="connsiteY51" fmla="*/ 3507083 h 5137252"/>
                <a:gd name="connsiteX52" fmla="*/ 949897 w 3949778"/>
                <a:gd name="connsiteY52" fmla="*/ 3622957 h 5137252"/>
                <a:gd name="connsiteX53" fmla="*/ 2732014 w 3949778"/>
                <a:gd name="connsiteY53" fmla="*/ 3621315 h 5137252"/>
                <a:gd name="connsiteX54" fmla="*/ 2633061 w 3949778"/>
                <a:gd name="connsiteY54" fmla="*/ 4312952 h 5137252"/>
                <a:gd name="connsiteX55" fmla="*/ 2957180 w 3949778"/>
                <a:gd name="connsiteY55" fmla="*/ 4409562 h 5137252"/>
                <a:gd name="connsiteX56" fmla="*/ 3482402 w 3949778"/>
                <a:gd name="connsiteY56" fmla="*/ 3613885 h 5137252"/>
                <a:gd name="connsiteX57" fmla="*/ 3552044 w 3949778"/>
                <a:gd name="connsiteY57" fmla="*/ 3429821 h 5137252"/>
                <a:gd name="connsiteX58" fmla="*/ 3949778 w 3949778"/>
                <a:gd name="connsiteY58" fmla="*/ 2383707 h 5137252"/>
                <a:gd name="connsiteX59" fmla="*/ 3945411 w 3949778"/>
                <a:gd name="connsiteY59" fmla="*/ 4892715 h 5137252"/>
                <a:gd name="connsiteX60" fmla="*/ 3700874 w 3949778"/>
                <a:gd name="connsiteY60" fmla="*/ 5137252 h 5137252"/>
                <a:gd name="connsiteX61" fmla="*/ 244537 w 3949778"/>
                <a:gd name="connsiteY61" fmla="*/ 5137252 h 5137252"/>
                <a:gd name="connsiteX62" fmla="*/ 0 w 3949778"/>
                <a:gd name="connsiteY62" fmla="*/ 4892715 h 5137252"/>
                <a:gd name="connsiteX63" fmla="*/ 0 w 3949778"/>
                <a:gd name="connsiteY63" fmla="*/ 4605616 h 5137252"/>
                <a:gd name="connsiteX64" fmla="*/ 222310 w 3949778"/>
                <a:gd name="connsiteY64" fmla="*/ 4605020 h 5137252"/>
                <a:gd name="connsiteX65" fmla="*/ 223099 w 3949778"/>
                <a:gd name="connsiteY65" fmla="*/ 4606189 h 5137252"/>
                <a:gd name="connsiteX66" fmla="*/ 346112 w 3949778"/>
                <a:gd name="connsiteY66" fmla="*/ 4657010 h 5137252"/>
                <a:gd name="connsiteX67" fmla="*/ 519851 w 3949778"/>
                <a:gd name="connsiteY67" fmla="*/ 4482950 h 5137252"/>
                <a:gd name="connsiteX68" fmla="*/ 413494 w 3949778"/>
                <a:gd name="connsiteY68" fmla="*/ 4322814 h 5137252"/>
                <a:gd name="connsiteX69" fmla="*/ 345791 w 3949778"/>
                <a:gd name="connsiteY69" fmla="*/ 4309210 h 5137252"/>
                <a:gd name="connsiteX70" fmla="*/ 222872 w 3949778"/>
                <a:gd name="connsiteY70" fmla="*/ 4360257 h 5137252"/>
                <a:gd name="connsiteX71" fmla="*/ 214254 w 3949778"/>
                <a:gd name="connsiteY71" fmla="*/ 4373065 h 5137252"/>
                <a:gd name="connsiteX72" fmla="*/ 0 w 3949778"/>
                <a:gd name="connsiteY72" fmla="*/ 4376088 h 5137252"/>
                <a:gd name="connsiteX73" fmla="*/ 0 w 3949778"/>
                <a:gd name="connsiteY73" fmla="*/ 4048176 h 5137252"/>
                <a:gd name="connsiteX74" fmla="*/ 213279 w 3949778"/>
                <a:gd name="connsiteY74" fmla="*/ 4047458 h 5137252"/>
                <a:gd name="connsiteX75" fmla="*/ 227300 w 3949778"/>
                <a:gd name="connsiteY75" fmla="*/ 4068214 h 5137252"/>
                <a:gd name="connsiteX76" fmla="*/ 350312 w 3949778"/>
                <a:gd name="connsiteY76" fmla="*/ 4119034 h 5137252"/>
                <a:gd name="connsiteX77" fmla="*/ 524052 w 3949778"/>
                <a:gd name="connsiteY77" fmla="*/ 3944974 h 5137252"/>
                <a:gd name="connsiteX78" fmla="*/ 417694 w 3949778"/>
                <a:gd name="connsiteY78" fmla="*/ 3784839 h 5137252"/>
                <a:gd name="connsiteX79" fmla="*/ 349992 w 3949778"/>
                <a:gd name="connsiteY79" fmla="*/ 3771235 h 5137252"/>
                <a:gd name="connsiteX80" fmla="*/ 282315 w 3949778"/>
                <a:gd name="connsiteY80" fmla="*/ 3784963 h 5137252"/>
                <a:gd name="connsiteX81" fmla="*/ 237151 w 3949778"/>
                <a:gd name="connsiteY81" fmla="*/ 3815474 h 5137252"/>
                <a:gd name="connsiteX82" fmla="*/ 0 w 3949778"/>
                <a:gd name="connsiteY82" fmla="*/ 3818662 h 5137252"/>
                <a:gd name="connsiteX83" fmla="*/ 0 w 3949778"/>
                <a:gd name="connsiteY83" fmla="*/ 2967160 h 5137252"/>
                <a:gd name="connsiteX84" fmla="*/ 214473 w 3949778"/>
                <a:gd name="connsiteY84" fmla="*/ 2964949 h 5137252"/>
                <a:gd name="connsiteX85" fmla="*/ 222629 w 3949778"/>
                <a:gd name="connsiteY85" fmla="*/ 2977021 h 5137252"/>
                <a:gd name="connsiteX86" fmla="*/ 345641 w 3949778"/>
                <a:gd name="connsiteY86" fmla="*/ 3027842 h 5137252"/>
                <a:gd name="connsiteX87" fmla="*/ 519381 w 3949778"/>
                <a:gd name="connsiteY87" fmla="*/ 2853781 h 5137252"/>
                <a:gd name="connsiteX88" fmla="*/ 413023 w 3949778"/>
                <a:gd name="connsiteY88" fmla="*/ 2693645 h 5137252"/>
                <a:gd name="connsiteX89" fmla="*/ 345321 w 3949778"/>
                <a:gd name="connsiteY89" fmla="*/ 2680041 h 5137252"/>
                <a:gd name="connsiteX90" fmla="*/ 222402 w 3949778"/>
                <a:gd name="connsiteY90" fmla="*/ 2731089 h 5137252"/>
                <a:gd name="connsiteX91" fmla="*/ 221128 w 3949778"/>
                <a:gd name="connsiteY91" fmla="*/ 2732981 h 5137252"/>
                <a:gd name="connsiteX92" fmla="*/ 0 w 3949778"/>
                <a:gd name="connsiteY92" fmla="*/ 2735633 h 5137252"/>
                <a:gd name="connsiteX93" fmla="*/ 0 w 3949778"/>
                <a:gd name="connsiteY93" fmla="*/ 2413015 h 5137252"/>
                <a:gd name="connsiteX94" fmla="*/ 212094 w 3949778"/>
                <a:gd name="connsiteY94" fmla="*/ 2411751 h 5137252"/>
                <a:gd name="connsiteX95" fmla="*/ 224649 w 3949778"/>
                <a:gd name="connsiteY95" fmla="*/ 2430336 h 5137252"/>
                <a:gd name="connsiteX96" fmla="*/ 347662 w 3949778"/>
                <a:gd name="connsiteY96" fmla="*/ 2481156 h 5137252"/>
                <a:gd name="connsiteX97" fmla="*/ 521401 w 3949778"/>
                <a:gd name="connsiteY97" fmla="*/ 2307096 h 5137252"/>
                <a:gd name="connsiteX98" fmla="*/ 415044 w 3949778"/>
                <a:gd name="connsiteY98" fmla="*/ 2146960 h 5137252"/>
                <a:gd name="connsiteX99" fmla="*/ 347341 w 3949778"/>
                <a:gd name="connsiteY99" fmla="*/ 2133357 h 5137252"/>
                <a:gd name="connsiteX100" fmla="*/ 279664 w 3949778"/>
                <a:gd name="connsiteY100" fmla="*/ 2147085 h 5137252"/>
                <a:gd name="connsiteX101" fmla="*/ 231279 w 3949778"/>
                <a:gd name="connsiteY101" fmla="*/ 2179773 h 5137252"/>
                <a:gd name="connsiteX102" fmla="*/ 0 w 3949778"/>
                <a:gd name="connsiteY102" fmla="*/ 2178209 h 5137252"/>
                <a:gd name="connsiteX103" fmla="*/ 0 w 3949778"/>
                <a:gd name="connsiteY103" fmla="*/ 1872741 h 5137252"/>
                <a:gd name="connsiteX104" fmla="*/ 213783 w 3949778"/>
                <a:gd name="connsiteY104" fmla="*/ 1874853 h 5137252"/>
                <a:gd name="connsiteX105" fmla="*/ 223404 w 3949778"/>
                <a:gd name="connsiteY105" fmla="*/ 1889096 h 5137252"/>
                <a:gd name="connsiteX106" fmla="*/ 346417 w 3949778"/>
                <a:gd name="connsiteY106" fmla="*/ 1939916 h 5137252"/>
                <a:gd name="connsiteX107" fmla="*/ 520156 w 3949778"/>
                <a:gd name="connsiteY107" fmla="*/ 1765856 h 5137252"/>
                <a:gd name="connsiteX108" fmla="*/ 413799 w 3949778"/>
                <a:gd name="connsiteY108" fmla="*/ 1605720 h 5137252"/>
                <a:gd name="connsiteX109" fmla="*/ 346096 w 3949778"/>
                <a:gd name="connsiteY109" fmla="*/ 1592117 h 5137252"/>
                <a:gd name="connsiteX110" fmla="*/ 278419 w 3949778"/>
                <a:gd name="connsiteY110" fmla="*/ 1605845 h 5137252"/>
                <a:gd name="connsiteX111" fmla="*/ 223595 w 3949778"/>
                <a:gd name="connsiteY111" fmla="*/ 1642881 h 5137252"/>
                <a:gd name="connsiteX112" fmla="*/ 0 w 3949778"/>
                <a:gd name="connsiteY112" fmla="*/ 1642007 h 5137252"/>
                <a:gd name="connsiteX113" fmla="*/ 0 w 3949778"/>
                <a:gd name="connsiteY113" fmla="*/ 1332051 h 5137252"/>
                <a:gd name="connsiteX114" fmla="*/ 215067 w 3949778"/>
                <a:gd name="connsiteY114" fmla="*/ 1332559 h 5137252"/>
                <a:gd name="connsiteX115" fmla="*/ 227605 w 3949778"/>
                <a:gd name="connsiteY115" fmla="*/ 1351120 h 5137252"/>
                <a:gd name="connsiteX116" fmla="*/ 350618 w 3949778"/>
                <a:gd name="connsiteY116" fmla="*/ 1401940 h 5137252"/>
                <a:gd name="connsiteX117" fmla="*/ 524358 w 3949778"/>
                <a:gd name="connsiteY117" fmla="*/ 1227880 h 5137252"/>
                <a:gd name="connsiteX118" fmla="*/ 418000 w 3949778"/>
                <a:gd name="connsiteY118" fmla="*/ 1067744 h 5137252"/>
                <a:gd name="connsiteX119" fmla="*/ 350297 w 3949778"/>
                <a:gd name="connsiteY119" fmla="*/ 1054140 h 5137252"/>
                <a:gd name="connsiteX120" fmla="*/ 282620 w 3949778"/>
                <a:gd name="connsiteY120" fmla="*/ 1067869 h 5137252"/>
                <a:gd name="connsiteX121" fmla="*/ 234201 w 3949778"/>
                <a:gd name="connsiteY121" fmla="*/ 1100579 h 5137252"/>
                <a:gd name="connsiteX122" fmla="*/ 3221 w 3949778"/>
                <a:gd name="connsiteY122" fmla="*/ 1102939 h 5137252"/>
                <a:gd name="connsiteX123" fmla="*/ 0 w 3949778"/>
                <a:gd name="connsiteY123" fmla="*/ 1210259 h 5137252"/>
                <a:gd name="connsiteX124" fmla="*/ 0 w 3949778"/>
                <a:gd name="connsiteY124" fmla="*/ 797050 h 5137252"/>
                <a:gd name="connsiteX125" fmla="*/ 223677 w 3949778"/>
                <a:gd name="connsiteY125" fmla="*/ 795631 h 5137252"/>
                <a:gd name="connsiteX126" fmla="*/ 229623 w 3949778"/>
                <a:gd name="connsiteY126" fmla="*/ 804432 h 5137252"/>
                <a:gd name="connsiteX127" fmla="*/ 352636 w 3949778"/>
                <a:gd name="connsiteY127" fmla="*/ 855253 h 5137252"/>
                <a:gd name="connsiteX128" fmla="*/ 526376 w 3949778"/>
                <a:gd name="connsiteY128" fmla="*/ 681193 h 5137252"/>
                <a:gd name="connsiteX129" fmla="*/ 420018 w 3949778"/>
                <a:gd name="connsiteY129" fmla="*/ 521057 h 5137252"/>
                <a:gd name="connsiteX130" fmla="*/ 352316 w 3949778"/>
                <a:gd name="connsiteY130" fmla="*/ 507453 h 5137252"/>
                <a:gd name="connsiteX131" fmla="*/ 229397 w 3949778"/>
                <a:gd name="connsiteY131" fmla="*/ 558500 h 5137252"/>
                <a:gd name="connsiteX132" fmla="*/ 225922 w 3949778"/>
                <a:gd name="connsiteY132" fmla="*/ 563667 h 5137252"/>
                <a:gd name="connsiteX133" fmla="*/ 615 w 3949778"/>
                <a:gd name="connsiteY133" fmla="*/ 565510 h 5137252"/>
                <a:gd name="connsiteX134" fmla="*/ 0 w 3949778"/>
                <a:gd name="connsiteY134" fmla="*/ 616517 h 5137252"/>
                <a:gd name="connsiteX135" fmla="*/ 0 w 3949778"/>
                <a:gd name="connsiteY135" fmla="*/ 244537 h 5137252"/>
                <a:gd name="connsiteX136" fmla="*/ 244537 w 3949778"/>
                <a:gd name="connsiteY136" fmla="*/ 0 h 5137252"/>
                <a:gd name="connsiteX137" fmla="*/ 3700874 w 3949778"/>
                <a:gd name="connsiteY137" fmla="*/ 0 h 5137252"/>
                <a:gd name="connsiteX138" fmla="*/ 3837597 w 3949778"/>
                <a:gd name="connsiteY138" fmla="*/ 41763 h 5137252"/>
                <a:gd name="connsiteX0" fmla="*/ 408823 w 3949778"/>
                <a:gd name="connsiteY0" fmla="*/ 3231620 h 5137252"/>
                <a:gd name="connsiteX1" fmla="*/ 341120 w 3949778"/>
                <a:gd name="connsiteY1" fmla="*/ 3218017 h 5137252"/>
                <a:gd name="connsiteX2" fmla="*/ 218202 w 3949778"/>
                <a:gd name="connsiteY2" fmla="*/ 3269064 h 5137252"/>
                <a:gd name="connsiteX3" fmla="*/ 213987 w 3949778"/>
                <a:gd name="connsiteY3" fmla="*/ 3275327 h 5137252"/>
                <a:gd name="connsiteX4" fmla="*/ 2216 w 3949778"/>
                <a:gd name="connsiteY4" fmla="*/ 3276343 h 5137252"/>
                <a:gd name="connsiteX5" fmla="*/ 1466 w 3949778"/>
                <a:gd name="connsiteY5" fmla="*/ 3509122 h 5137252"/>
                <a:gd name="connsiteX6" fmla="*/ 213223 w 3949778"/>
                <a:gd name="connsiteY6" fmla="*/ 3507290 h 5137252"/>
                <a:gd name="connsiteX7" fmla="*/ 218428 w 3949778"/>
                <a:gd name="connsiteY7" fmla="*/ 3514996 h 5137252"/>
                <a:gd name="connsiteX8" fmla="*/ 341441 w 3949778"/>
                <a:gd name="connsiteY8" fmla="*/ 3565816 h 5137252"/>
                <a:gd name="connsiteX9" fmla="*/ 515181 w 3949778"/>
                <a:gd name="connsiteY9" fmla="*/ 3391757 h 5137252"/>
                <a:gd name="connsiteX10" fmla="*/ 408823 w 3949778"/>
                <a:gd name="connsiteY10" fmla="*/ 3231620 h 5137252"/>
                <a:gd name="connsiteX11" fmla="*/ 1903445 w 3949778"/>
                <a:gd name="connsiteY11" fmla="*/ 4012352 h 5137252"/>
                <a:gd name="connsiteX12" fmla="*/ 1858290 w 3949778"/>
                <a:gd name="connsiteY12" fmla="*/ 4003279 h 5137252"/>
                <a:gd name="connsiteX13" fmla="*/ 959661 w 3949778"/>
                <a:gd name="connsiteY13" fmla="*/ 4004107 h 5137252"/>
                <a:gd name="connsiteX14" fmla="*/ 843788 w 3949778"/>
                <a:gd name="connsiteY14" fmla="*/ 4120195 h 5137252"/>
                <a:gd name="connsiteX15" fmla="*/ 959876 w 3949778"/>
                <a:gd name="connsiteY15" fmla="*/ 4236069 h 5137252"/>
                <a:gd name="connsiteX16" fmla="*/ 1858505 w 3949778"/>
                <a:gd name="connsiteY16" fmla="*/ 4235241 h 5137252"/>
                <a:gd name="connsiteX17" fmla="*/ 1974379 w 3949778"/>
                <a:gd name="connsiteY17" fmla="*/ 4119154 h 5137252"/>
                <a:gd name="connsiteX18" fmla="*/ 1903445 w 3949778"/>
                <a:gd name="connsiteY18" fmla="*/ 4012352 h 5137252"/>
                <a:gd name="connsiteX19" fmla="*/ 3479313 w 3949778"/>
                <a:gd name="connsiteY19" fmla="*/ 918916 h 5137252"/>
                <a:gd name="connsiteX20" fmla="*/ 3434158 w 3949778"/>
                <a:gd name="connsiteY20" fmla="*/ 909842 h 5137252"/>
                <a:gd name="connsiteX21" fmla="*/ 964487 w 3949778"/>
                <a:gd name="connsiteY21" fmla="*/ 912118 h 5137252"/>
                <a:gd name="connsiteX22" fmla="*/ 848613 w 3949778"/>
                <a:gd name="connsiteY22" fmla="*/ 1028206 h 5137252"/>
                <a:gd name="connsiteX23" fmla="*/ 964701 w 3949778"/>
                <a:gd name="connsiteY23" fmla="*/ 1144080 h 5137252"/>
                <a:gd name="connsiteX24" fmla="*/ 3434372 w 3949778"/>
                <a:gd name="connsiteY24" fmla="*/ 1141804 h 5137252"/>
                <a:gd name="connsiteX25" fmla="*/ 3550246 w 3949778"/>
                <a:gd name="connsiteY25" fmla="*/ 1025717 h 5137252"/>
                <a:gd name="connsiteX26" fmla="*/ 3479313 w 3949778"/>
                <a:gd name="connsiteY26" fmla="*/ 918916 h 5137252"/>
                <a:gd name="connsiteX27" fmla="*/ 3837597 w 3949778"/>
                <a:gd name="connsiteY27" fmla="*/ 41763 h 5137252"/>
                <a:gd name="connsiteX28" fmla="*/ 3945411 w 3949778"/>
                <a:gd name="connsiteY28" fmla="*/ 244537 h 5137252"/>
                <a:gd name="connsiteX29" fmla="*/ 3520923 w 3949778"/>
                <a:gd name="connsiteY29" fmla="*/ 1396482 h 5137252"/>
                <a:gd name="connsiteX30" fmla="*/ 3466178 w 3949778"/>
                <a:gd name="connsiteY30" fmla="*/ 1540909 h 5137252"/>
                <a:gd name="connsiteX31" fmla="*/ 3426988 w 3949778"/>
                <a:gd name="connsiteY31" fmla="*/ 1533034 h 5137252"/>
                <a:gd name="connsiteX32" fmla="*/ 957316 w 3949778"/>
                <a:gd name="connsiteY32" fmla="*/ 1535310 h 5137252"/>
                <a:gd name="connsiteX33" fmla="*/ 841442 w 3949778"/>
                <a:gd name="connsiteY33" fmla="*/ 1651398 h 5137252"/>
                <a:gd name="connsiteX34" fmla="*/ 957530 w 3949778"/>
                <a:gd name="connsiteY34" fmla="*/ 1767272 h 5137252"/>
                <a:gd name="connsiteX35" fmla="*/ 3365544 w 3949778"/>
                <a:gd name="connsiteY35" fmla="*/ 1772395 h 5137252"/>
                <a:gd name="connsiteX36" fmla="*/ 3234693 w 3949778"/>
                <a:gd name="connsiteY36" fmla="*/ 2149055 h 5137252"/>
                <a:gd name="connsiteX37" fmla="*/ 965662 w 3949778"/>
                <a:gd name="connsiteY37" fmla="*/ 2151146 h 5137252"/>
                <a:gd name="connsiteX38" fmla="*/ 849788 w 3949778"/>
                <a:gd name="connsiteY38" fmla="*/ 2267234 h 5137252"/>
                <a:gd name="connsiteX39" fmla="*/ 965876 w 3949778"/>
                <a:gd name="connsiteY39" fmla="*/ 2383107 h 5137252"/>
                <a:gd name="connsiteX40" fmla="*/ 3146162 w 3949778"/>
                <a:gd name="connsiteY40" fmla="*/ 2381099 h 5137252"/>
                <a:gd name="connsiteX41" fmla="*/ 3058829 w 3949778"/>
                <a:gd name="connsiteY41" fmla="*/ 2609727 h 5137252"/>
                <a:gd name="connsiteX42" fmla="*/ 2997318 w 3949778"/>
                <a:gd name="connsiteY42" fmla="*/ 2770827 h 5137252"/>
                <a:gd name="connsiteX43" fmla="*/ 965025 w 3949778"/>
                <a:gd name="connsiteY43" fmla="*/ 2772700 h 5137252"/>
                <a:gd name="connsiteX44" fmla="*/ 849151 w 3949778"/>
                <a:gd name="connsiteY44" fmla="*/ 2888787 h 5137252"/>
                <a:gd name="connsiteX45" fmla="*/ 965239 w 3949778"/>
                <a:gd name="connsiteY45" fmla="*/ 3004661 h 5137252"/>
                <a:gd name="connsiteX46" fmla="*/ 2908819 w 3949778"/>
                <a:gd name="connsiteY46" fmla="*/ 3002870 h 5137252"/>
                <a:gd name="connsiteX47" fmla="*/ 2893682 w 3949778"/>
                <a:gd name="connsiteY47" fmla="*/ 3042577 h 5137252"/>
                <a:gd name="connsiteX48" fmla="*/ 2821562 w 3949778"/>
                <a:gd name="connsiteY48" fmla="*/ 3232345 h 5137252"/>
                <a:gd name="connsiteX49" fmla="*/ 2762222 w 3949778"/>
                <a:gd name="connsiteY49" fmla="*/ 3389325 h 5137252"/>
                <a:gd name="connsiteX50" fmla="*/ 949683 w 3949778"/>
                <a:gd name="connsiteY50" fmla="*/ 3390995 h 5137252"/>
                <a:gd name="connsiteX51" fmla="*/ 833809 w 3949778"/>
                <a:gd name="connsiteY51" fmla="*/ 3507083 h 5137252"/>
                <a:gd name="connsiteX52" fmla="*/ 949897 w 3949778"/>
                <a:gd name="connsiteY52" fmla="*/ 3622957 h 5137252"/>
                <a:gd name="connsiteX53" fmla="*/ 2732014 w 3949778"/>
                <a:gd name="connsiteY53" fmla="*/ 3621315 h 5137252"/>
                <a:gd name="connsiteX54" fmla="*/ 2633061 w 3949778"/>
                <a:gd name="connsiteY54" fmla="*/ 4312952 h 5137252"/>
                <a:gd name="connsiteX55" fmla="*/ 2957180 w 3949778"/>
                <a:gd name="connsiteY55" fmla="*/ 4409562 h 5137252"/>
                <a:gd name="connsiteX56" fmla="*/ 3482402 w 3949778"/>
                <a:gd name="connsiteY56" fmla="*/ 3613885 h 5137252"/>
                <a:gd name="connsiteX57" fmla="*/ 3552044 w 3949778"/>
                <a:gd name="connsiteY57" fmla="*/ 3429821 h 5137252"/>
                <a:gd name="connsiteX58" fmla="*/ 3949778 w 3949778"/>
                <a:gd name="connsiteY58" fmla="*/ 2383707 h 5137252"/>
                <a:gd name="connsiteX59" fmla="*/ 3945411 w 3949778"/>
                <a:gd name="connsiteY59" fmla="*/ 4892715 h 5137252"/>
                <a:gd name="connsiteX60" fmla="*/ 3700874 w 3949778"/>
                <a:gd name="connsiteY60" fmla="*/ 5137252 h 5137252"/>
                <a:gd name="connsiteX61" fmla="*/ 244537 w 3949778"/>
                <a:gd name="connsiteY61" fmla="*/ 5137252 h 5137252"/>
                <a:gd name="connsiteX62" fmla="*/ 0 w 3949778"/>
                <a:gd name="connsiteY62" fmla="*/ 4892715 h 5137252"/>
                <a:gd name="connsiteX63" fmla="*/ 0 w 3949778"/>
                <a:gd name="connsiteY63" fmla="*/ 4605616 h 5137252"/>
                <a:gd name="connsiteX64" fmla="*/ 222310 w 3949778"/>
                <a:gd name="connsiteY64" fmla="*/ 4605020 h 5137252"/>
                <a:gd name="connsiteX65" fmla="*/ 223099 w 3949778"/>
                <a:gd name="connsiteY65" fmla="*/ 4606189 h 5137252"/>
                <a:gd name="connsiteX66" fmla="*/ 346112 w 3949778"/>
                <a:gd name="connsiteY66" fmla="*/ 4657010 h 5137252"/>
                <a:gd name="connsiteX67" fmla="*/ 519851 w 3949778"/>
                <a:gd name="connsiteY67" fmla="*/ 4482950 h 5137252"/>
                <a:gd name="connsiteX68" fmla="*/ 413494 w 3949778"/>
                <a:gd name="connsiteY68" fmla="*/ 4322814 h 5137252"/>
                <a:gd name="connsiteX69" fmla="*/ 345791 w 3949778"/>
                <a:gd name="connsiteY69" fmla="*/ 4309210 h 5137252"/>
                <a:gd name="connsiteX70" fmla="*/ 222872 w 3949778"/>
                <a:gd name="connsiteY70" fmla="*/ 4360257 h 5137252"/>
                <a:gd name="connsiteX71" fmla="*/ 214254 w 3949778"/>
                <a:gd name="connsiteY71" fmla="*/ 4373065 h 5137252"/>
                <a:gd name="connsiteX72" fmla="*/ 0 w 3949778"/>
                <a:gd name="connsiteY72" fmla="*/ 4376088 h 5137252"/>
                <a:gd name="connsiteX73" fmla="*/ 0 w 3949778"/>
                <a:gd name="connsiteY73" fmla="*/ 4048176 h 5137252"/>
                <a:gd name="connsiteX74" fmla="*/ 213279 w 3949778"/>
                <a:gd name="connsiteY74" fmla="*/ 4047458 h 5137252"/>
                <a:gd name="connsiteX75" fmla="*/ 227300 w 3949778"/>
                <a:gd name="connsiteY75" fmla="*/ 4068214 h 5137252"/>
                <a:gd name="connsiteX76" fmla="*/ 350312 w 3949778"/>
                <a:gd name="connsiteY76" fmla="*/ 4119034 h 5137252"/>
                <a:gd name="connsiteX77" fmla="*/ 524052 w 3949778"/>
                <a:gd name="connsiteY77" fmla="*/ 3944974 h 5137252"/>
                <a:gd name="connsiteX78" fmla="*/ 417694 w 3949778"/>
                <a:gd name="connsiteY78" fmla="*/ 3784839 h 5137252"/>
                <a:gd name="connsiteX79" fmla="*/ 349992 w 3949778"/>
                <a:gd name="connsiteY79" fmla="*/ 3771235 h 5137252"/>
                <a:gd name="connsiteX80" fmla="*/ 282315 w 3949778"/>
                <a:gd name="connsiteY80" fmla="*/ 3784963 h 5137252"/>
                <a:gd name="connsiteX81" fmla="*/ 237151 w 3949778"/>
                <a:gd name="connsiteY81" fmla="*/ 3815474 h 5137252"/>
                <a:gd name="connsiteX82" fmla="*/ 0 w 3949778"/>
                <a:gd name="connsiteY82" fmla="*/ 3818662 h 5137252"/>
                <a:gd name="connsiteX83" fmla="*/ 0 w 3949778"/>
                <a:gd name="connsiteY83" fmla="*/ 2967160 h 5137252"/>
                <a:gd name="connsiteX84" fmla="*/ 214473 w 3949778"/>
                <a:gd name="connsiteY84" fmla="*/ 2964949 h 5137252"/>
                <a:gd name="connsiteX85" fmla="*/ 222629 w 3949778"/>
                <a:gd name="connsiteY85" fmla="*/ 2977021 h 5137252"/>
                <a:gd name="connsiteX86" fmla="*/ 345641 w 3949778"/>
                <a:gd name="connsiteY86" fmla="*/ 3027842 h 5137252"/>
                <a:gd name="connsiteX87" fmla="*/ 519381 w 3949778"/>
                <a:gd name="connsiteY87" fmla="*/ 2853781 h 5137252"/>
                <a:gd name="connsiteX88" fmla="*/ 413023 w 3949778"/>
                <a:gd name="connsiteY88" fmla="*/ 2693645 h 5137252"/>
                <a:gd name="connsiteX89" fmla="*/ 345321 w 3949778"/>
                <a:gd name="connsiteY89" fmla="*/ 2680041 h 5137252"/>
                <a:gd name="connsiteX90" fmla="*/ 222402 w 3949778"/>
                <a:gd name="connsiteY90" fmla="*/ 2731089 h 5137252"/>
                <a:gd name="connsiteX91" fmla="*/ 221128 w 3949778"/>
                <a:gd name="connsiteY91" fmla="*/ 2732981 h 5137252"/>
                <a:gd name="connsiteX92" fmla="*/ 0 w 3949778"/>
                <a:gd name="connsiteY92" fmla="*/ 2735633 h 5137252"/>
                <a:gd name="connsiteX93" fmla="*/ 0 w 3949778"/>
                <a:gd name="connsiteY93" fmla="*/ 2413015 h 5137252"/>
                <a:gd name="connsiteX94" fmla="*/ 212094 w 3949778"/>
                <a:gd name="connsiteY94" fmla="*/ 2411751 h 5137252"/>
                <a:gd name="connsiteX95" fmla="*/ 224649 w 3949778"/>
                <a:gd name="connsiteY95" fmla="*/ 2430336 h 5137252"/>
                <a:gd name="connsiteX96" fmla="*/ 347662 w 3949778"/>
                <a:gd name="connsiteY96" fmla="*/ 2481156 h 5137252"/>
                <a:gd name="connsiteX97" fmla="*/ 521401 w 3949778"/>
                <a:gd name="connsiteY97" fmla="*/ 2307096 h 5137252"/>
                <a:gd name="connsiteX98" fmla="*/ 415044 w 3949778"/>
                <a:gd name="connsiteY98" fmla="*/ 2146960 h 5137252"/>
                <a:gd name="connsiteX99" fmla="*/ 347341 w 3949778"/>
                <a:gd name="connsiteY99" fmla="*/ 2133357 h 5137252"/>
                <a:gd name="connsiteX100" fmla="*/ 279664 w 3949778"/>
                <a:gd name="connsiteY100" fmla="*/ 2147085 h 5137252"/>
                <a:gd name="connsiteX101" fmla="*/ 231279 w 3949778"/>
                <a:gd name="connsiteY101" fmla="*/ 2179773 h 5137252"/>
                <a:gd name="connsiteX102" fmla="*/ 0 w 3949778"/>
                <a:gd name="connsiteY102" fmla="*/ 2178209 h 5137252"/>
                <a:gd name="connsiteX103" fmla="*/ 0 w 3949778"/>
                <a:gd name="connsiteY103" fmla="*/ 1872741 h 5137252"/>
                <a:gd name="connsiteX104" fmla="*/ 213783 w 3949778"/>
                <a:gd name="connsiteY104" fmla="*/ 1874853 h 5137252"/>
                <a:gd name="connsiteX105" fmla="*/ 223404 w 3949778"/>
                <a:gd name="connsiteY105" fmla="*/ 1889096 h 5137252"/>
                <a:gd name="connsiteX106" fmla="*/ 346417 w 3949778"/>
                <a:gd name="connsiteY106" fmla="*/ 1939916 h 5137252"/>
                <a:gd name="connsiteX107" fmla="*/ 520156 w 3949778"/>
                <a:gd name="connsiteY107" fmla="*/ 1765856 h 5137252"/>
                <a:gd name="connsiteX108" fmla="*/ 413799 w 3949778"/>
                <a:gd name="connsiteY108" fmla="*/ 1605720 h 5137252"/>
                <a:gd name="connsiteX109" fmla="*/ 346096 w 3949778"/>
                <a:gd name="connsiteY109" fmla="*/ 1592117 h 5137252"/>
                <a:gd name="connsiteX110" fmla="*/ 278419 w 3949778"/>
                <a:gd name="connsiteY110" fmla="*/ 1605845 h 5137252"/>
                <a:gd name="connsiteX111" fmla="*/ 223595 w 3949778"/>
                <a:gd name="connsiteY111" fmla="*/ 1642881 h 5137252"/>
                <a:gd name="connsiteX112" fmla="*/ 0 w 3949778"/>
                <a:gd name="connsiteY112" fmla="*/ 1642007 h 5137252"/>
                <a:gd name="connsiteX113" fmla="*/ 0 w 3949778"/>
                <a:gd name="connsiteY113" fmla="*/ 1332051 h 5137252"/>
                <a:gd name="connsiteX114" fmla="*/ 215067 w 3949778"/>
                <a:gd name="connsiteY114" fmla="*/ 1332559 h 5137252"/>
                <a:gd name="connsiteX115" fmla="*/ 227605 w 3949778"/>
                <a:gd name="connsiteY115" fmla="*/ 1351120 h 5137252"/>
                <a:gd name="connsiteX116" fmla="*/ 350618 w 3949778"/>
                <a:gd name="connsiteY116" fmla="*/ 1401940 h 5137252"/>
                <a:gd name="connsiteX117" fmla="*/ 524358 w 3949778"/>
                <a:gd name="connsiteY117" fmla="*/ 1227880 h 5137252"/>
                <a:gd name="connsiteX118" fmla="*/ 418000 w 3949778"/>
                <a:gd name="connsiteY118" fmla="*/ 1067744 h 5137252"/>
                <a:gd name="connsiteX119" fmla="*/ 350297 w 3949778"/>
                <a:gd name="connsiteY119" fmla="*/ 1054140 h 5137252"/>
                <a:gd name="connsiteX120" fmla="*/ 282620 w 3949778"/>
                <a:gd name="connsiteY120" fmla="*/ 1067869 h 5137252"/>
                <a:gd name="connsiteX121" fmla="*/ 234201 w 3949778"/>
                <a:gd name="connsiteY121" fmla="*/ 1100579 h 5137252"/>
                <a:gd name="connsiteX122" fmla="*/ 3221 w 3949778"/>
                <a:gd name="connsiteY122" fmla="*/ 1102939 h 5137252"/>
                <a:gd name="connsiteX123" fmla="*/ 0 w 3949778"/>
                <a:gd name="connsiteY123" fmla="*/ 1210259 h 5137252"/>
                <a:gd name="connsiteX124" fmla="*/ 0 w 3949778"/>
                <a:gd name="connsiteY124" fmla="*/ 797050 h 5137252"/>
                <a:gd name="connsiteX125" fmla="*/ 223677 w 3949778"/>
                <a:gd name="connsiteY125" fmla="*/ 795631 h 5137252"/>
                <a:gd name="connsiteX126" fmla="*/ 229623 w 3949778"/>
                <a:gd name="connsiteY126" fmla="*/ 804432 h 5137252"/>
                <a:gd name="connsiteX127" fmla="*/ 352636 w 3949778"/>
                <a:gd name="connsiteY127" fmla="*/ 855253 h 5137252"/>
                <a:gd name="connsiteX128" fmla="*/ 526376 w 3949778"/>
                <a:gd name="connsiteY128" fmla="*/ 681193 h 5137252"/>
                <a:gd name="connsiteX129" fmla="*/ 420018 w 3949778"/>
                <a:gd name="connsiteY129" fmla="*/ 521057 h 5137252"/>
                <a:gd name="connsiteX130" fmla="*/ 352316 w 3949778"/>
                <a:gd name="connsiteY130" fmla="*/ 507453 h 5137252"/>
                <a:gd name="connsiteX131" fmla="*/ 229397 w 3949778"/>
                <a:gd name="connsiteY131" fmla="*/ 558500 h 5137252"/>
                <a:gd name="connsiteX132" fmla="*/ 225922 w 3949778"/>
                <a:gd name="connsiteY132" fmla="*/ 563667 h 5137252"/>
                <a:gd name="connsiteX133" fmla="*/ 615 w 3949778"/>
                <a:gd name="connsiteY133" fmla="*/ 565510 h 5137252"/>
                <a:gd name="connsiteX134" fmla="*/ 0 w 3949778"/>
                <a:gd name="connsiteY134" fmla="*/ 616517 h 5137252"/>
                <a:gd name="connsiteX135" fmla="*/ 0 w 3949778"/>
                <a:gd name="connsiteY135" fmla="*/ 244537 h 5137252"/>
                <a:gd name="connsiteX136" fmla="*/ 244537 w 3949778"/>
                <a:gd name="connsiteY136" fmla="*/ 0 h 5137252"/>
                <a:gd name="connsiteX137" fmla="*/ 3700874 w 3949778"/>
                <a:gd name="connsiteY137" fmla="*/ 0 h 5137252"/>
                <a:gd name="connsiteX138" fmla="*/ 3837597 w 3949778"/>
                <a:gd name="connsiteY138" fmla="*/ 41763 h 5137252"/>
                <a:gd name="connsiteX0" fmla="*/ 408823 w 3949778"/>
                <a:gd name="connsiteY0" fmla="*/ 3231620 h 5137252"/>
                <a:gd name="connsiteX1" fmla="*/ 341120 w 3949778"/>
                <a:gd name="connsiteY1" fmla="*/ 3218017 h 5137252"/>
                <a:gd name="connsiteX2" fmla="*/ 218202 w 3949778"/>
                <a:gd name="connsiteY2" fmla="*/ 3269064 h 5137252"/>
                <a:gd name="connsiteX3" fmla="*/ 213987 w 3949778"/>
                <a:gd name="connsiteY3" fmla="*/ 3275327 h 5137252"/>
                <a:gd name="connsiteX4" fmla="*/ 2216 w 3949778"/>
                <a:gd name="connsiteY4" fmla="*/ 3276343 h 5137252"/>
                <a:gd name="connsiteX5" fmla="*/ 1466 w 3949778"/>
                <a:gd name="connsiteY5" fmla="*/ 3509122 h 5137252"/>
                <a:gd name="connsiteX6" fmla="*/ 213223 w 3949778"/>
                <a:gd name="connsiteY6" fmla="*/ 3507290 h 5137252"/>
                <a:gd name="connsiteX7" fmla="*/ 218428 w 3949778"/>
                <a:gd name="connsiteY7" fmla="*/ 3514996 h 5137252"/>
                <a:gd name="connsiteX8" fmla="*/ 341441 w 3949778"/>
                <a:gd name="connsiteY8" fmla="*/ 3565816 h 5137252"/>
                <a:gd name="connsiteX9" fmla="*/ 515181 w 3949778"/>
                <a:gd name="connsiteY9" fmla="*/ 3391757 h 5137252"/>
                <a:gd name="connsiteX10" fmla="*/ 408823 w 3949778"/>
                <a:gd name="connsiteY10" fmla="*/ 3231620 h 5137252"/>
                <a:gd name="connsiteX11" fmla="*/ 1903445 w 3949778"/>
                <a:gd name="connsiteY11" fmla="*/ 4012352 h 5137252"/>
                <a:gd name="connsiteX12" fmla="*/ 1858290 w 3949778"/>
                <a:gd name="connsiteY12" fmla="*/ 4003279 h 5137252"/>
                <a:gd name="connsiteX13" fmla="*/ 959661 w 3949778"/>
                <a:gd name="connsiteY13" fmla="*/ 4004107 h 5137252"/>
                <a:gd name="connsiteX14" fmla="*/ 843788 w 3949778"/>
                <a:gd name="connsiteY14" fmla="*/ 4120195 h 5137252"/>
                <a:gd name="connsiteX15" fmla="*/ 959876 w 3949778"/>
                <a:gd name="connsiteY15" fmla="*/ 4236069 h 5137252"/>
                <a:gd name="connsiteX16" fmla="*/ 1858505 w 3949778"/>
                <a:gd name="connsiteY16" fmla="*/ 4235241 h 5137252"/>
                <a:gd name="connsiteX17" fmla="*/ 1974379 w 3949778"/>
                <a:gd name="connsiteY17" fmla="*/ 4119154 h 5137252"/>
                <a:gd name="connsiteX18" fmla="*/ 1903445 w 3949778"/>
                <a:gd name="connsiteY18" fmla="*/ 4012352 h 5137252"/>
                <a:gd name="connsiteX19" fmla="*/ 3479313 w 3949778"/>
                <a:gd name="connsiteY19" fmla="*/ 918916 h 5137252"/>
                <a:gd name="connsiteX20" fmla="*/ 3434158 w 3949778"/>
                <a:gd name="connsiteY20" fmla="*/ 909842 h 5137252"/>
                <a:gd name="connsiteX21" fmla="*/ 964487 w 3949778"/>
                <a:gd name="connsiteY21" fmla="*/ 912118 h 5137252"/>
                <a:gd name="connsiteX22" fmla="*/ 848613 w 3949778"/>
                <a:gd name="connsiteY22" fmla="*/ 1028206 h 5137252"/>
                <a:gd name="connsiteX23" fmla="*/ 964701 w 3949778"/>
                <a:gd name="connsiteY23" fmla="*/ 1144080 h 5137252"/>
                <a:gd name="connsiteX24" fmla="*/ 3434372 w 3949778"/>
                <a:gd name="connsiteY24" fmla="*/ 1141804 h 5137252"/>
                <a:gd name="connsiteX25" fmla="*/ 3550246 w 3949778"/>
                <a:gd name="connsiteY25" fmla="*/ 1025717 h 5137252"/>
                <a:gd name="connsiteX26" fmla="*/ 3479313 w 3949778"/>
                <a:gd name="connsiteY26" fmla="*/ 918916 h 5137252"/>
                <a:gd name="connsiteX27" fmla="*/ 3837597 w 3949778"/>
                <a:gd name="connsiteY27" fmla="*/ 41763 h 5137252"/>
                <a:gd name="connsiteX28" fmla="*/ 3945411 w 3949778"/>
                <a:gd name="connsiteY28" fmla="*/ 244537 h 5137252"/>
                <a:gd name="connsiteX29" fmla="*/ 3520923 w 3949778"/>
                <a:gd name="connsiteY29" fmla="*/ 1396482 h 5137252"/>
                <a:gd name="connsiteX30" fmla="*/ 3466178 w 3949778"/>
                <a:gd name="connsiteY30" fmla="*/ 1540909 h 5137252"/>
                <a:gd name="connsiteX31" fmla="*/ 3426988 w 3949778"/>
                <a:gd name="connsiteY31" fmla="*/ 1533034 h 5137252"/>
                <a:gd name="connsiteX32" fmla="*/ 957316 w 3949778"/>
                <a:gd name="connsiteY32" fmla="*/ 1535310 h 5137252"/>
                <a:gd name="connsiteX33" fmla="*/ 841442 w 3949778"/>
                <a:gd name="connsiteY33" fmla="*/ 1651398 h 5137252"/>
                <a:gd name="connsiteX34" fmla="*/ 957530 w 3949778"/>
                <a:gd name="connsiteY34" fmla="*/ 1767272 h 5137252"/>
                <a:gd name="connsiteX35" fmla="*/ 3365544 w 3949778"/>
                <a:gd name="connsiteY35" fmla="*/ 1772395 h 5137252"/>
                <a:gd name="connsiteX36" fmla="*/ 3234693 w 3949778"/>
                <a:gd name="connsiteY36" fmla="*/ 2149055 h 5137252"/>
                <a:gd name="connsiteX37" fmla="*/ 965662 w 3949778"/>
                <a:gd name="connsiteY37" fmla="*/ 2151146 h 5137252"/>
                <a:gd name="connsiteX38" fmla="*/ 849788 w 3949778"/>
                <a:gd name="connsiteY38" fmla="*/ 2267234 h 5137252"/>
                <a:gd name="connsiteX39" fmla="*/ 965876 w 3949778"/>
                <a:gd name="connsiteY39" fmla="*/ 2383107 h 5137252"/>
                <a:gd name="connsiteX40" fmla="*/ 3146162 w 3949778"/>
                <a:gd name="connsiteY40" fmla="*/ 2381099 h 5137252"/>
                <a:gd name="connsiteX41" fmla="*/ 3058829 w 3949778"/>
                <a:gd name="connsiteY41" fmla="*/ 2609727 h 5137252"/>
                <a:gd name="connsiteX42" fmla="*/ 2997318 w 3949778"/>
                <a:gd name="connsiteY42" fmla="*/ 2770827 h 5137252"/>
                <a:gd name="connsiteX43" fmla="*/ 965025 w 3949778"/>
                <a:gd name="connsiteY43" fmla="*/ 2772700 h 5137252"/>
                <a:gd name="connsiteX44" fmla="*/ 849151 w 3949778"/>
                <a:gd name="connsiteY44" fmla="*/ 2888787 h 5137252"/>
                <a:gd name="connsiteX45" fmla="*/ 965239 w 3949778"/>
                <a:gd name="connsiteY45" fmla="*/ 3004661 h 5137252"/>
                <a:gd name="connsiteX46" fmla="*/ 2908819 w 3949778"/>
                <a:gd name="connsiteY46" fmla="*/ 3002870 h 5137252"/>
                <a:gd name="connsiteX47" fmla="*/ 2893682 w 3949778"/>
                <a:gd name="connsiteY47" fmla="*/ 3042577 h 5137252"/>
                <a:gd name="connsiteX48" fmla="*/ 2821562 w 3949778"/>
                <a:gd name="connsiteY48" fmla="*/ 3232345 h 5137252"/>
                <a:gd name="connsiteX49" fmla="*/ 2762222 w 3949778"/>
                <a:gd name="connsiteY49" fmla="*/ 3389325 h 5137252"/>
                <a:gd name="connsiteX50" fmla="*/ 949683 w 3949778"/>
                <a:gd name="connsiteY50" fmla="*/ 3390995 h 5137252"/>
                <a:gd name="connsiteX51" fmla="*/ 833809 w 3949778"/>
                <a:gd name="connsiteY51" fmla="*/ 3507083 h 5137252"/>
                <a:gd name="connsiteX52" fmla="*/ 949897 w 3949778"/>
                <a:gd name="connsiteY52" fmla="*/ 3622957 h 5137252"/>
                <a:gd name="connsiteX53" fmla="*/ 2732014 w 3949778"/>
                <a:gd name="connsiteY53" fmla="*/ 3621315 h 5137252"/>
                <a:gd name="connsiteX54" fmla="*/ 2633061 w 3949778"/>
                <a:gd name="connsiteY54" fmla="*/ 4312952 h 5137252"/>
                <a:gd name="connsiteX55" fmla="*/ 2957180 w 3949778"/>
                <a:gd name="connsiteY55" fmla="*/ 4409562 h 5137252"/>
                <a:gd name="connsiteX56" fmla="*/ 3482402 w 3949778"/>
                <a:gd name="connsiteY56" fmla="*/ 3613885 h 5137252"/>
                <a:gd name="connsiteX57" fmla="*/ 3552044 w 3949778"/>
                <a:gd name="connsiteY57" fmla="*/ 3429821 h 5137252"/>
                <a:gd name="connsiteX58" fmla="*/ 3949778 w 3949778"/>
                <a:gd name="connsiteY58" fmla="*/ 2383707 h 5137252"/>
                <a:gd name="connsiteX59" fmla="*/ 3945411 w 3949778"/>
                <a:gd name="connsiteY59" fmla="*/ 4892715 h 5137252"/>
                <a:gd name="connsiteX60" fmla="*/ 3700874 w 3949778"/>
                <a:gd name="connsiteY60" fmla="*/ 5137252 h 5137252"/>
                <a:gd name="connsiteX61" fmla="*/ 244537 w 3949778"/>
                <a:gd name="connsiteY61" fmla="*/ 5137252 h 5137252"/>
                <a:gd name="connsiteX62" fmla="*/ 0 w 3949778"/>
                <a:gd name="connsiteY62" fmla="*/ 4892715 h 5137252"/>
                <a:gd name="connsiteX63" fmla="*/ 0 w 3949778"/>
                <a:gd name="connsiteY63" fmla="*/ 4605616 h 5137252"/>
                <a:gd name="connsiteX64" fmla="*/ 222310 w 3949778"/>
                <a:gd name="connsiteY64" fmla="*/ 4605020 h 5137252"/>
                <a:gd name="connsiteX65" fmla="*/ 223099 w 3949778"/>
                <a:gd name="connsiteY65" fmla="*/ 4606189 h 5137252"/>
                <a:gd name="connsiteX66" fmla="*/ 346112 w 3949778"/>
                <a:gd name="connsiteY66" fmla="*/ 4657010 h 5137252"/>
                <a:gd name="connsiteX67" fmla="*/ 519851 w 3949778"/>
                <a:gd name="connsiteY67" fmla="*/ 4482950 h 5137252"/>
                <a:gd name="connsiteX68" fmla="*/ 413494 w 3949778"/>
                <a:gd name="connsiteY68" fmla="*/ 4322814 h 5137252"/>
                <a:gd name="connsiteX69" fmla="*/ 345791 w 3949778"/>
                <a:gd name="connsiteY69" fmla="*/ 4309210 h 5137252"/>
                <a:gd name="connsiteX70" fmla="*/ 222872 w 3949778"/>
                <a:gd name="connsiteY70" fmla="*/ 4360257 h 5137252"/>
                <a:gd name="connsiteX71" fmla="*/ 214254 w 3949778"/>
                <a:gd name="connsiteY71" fmla="*/ 4373065 h 5137252"/>
                <a:gd name="connsiteX72" fmla="*/ 0 w 3949778"/>
                <a:gd name="connsiteY72" fmla="*/ 4376088 h 5137252"/>
                <a:gd name="connsiteX73" fmla="*/ 0 w 3949778"/>
                <a:gd name="connsiteY73" fmla="*/ 4048176 h 5137252"/>
                <a:gd name="connsiteX74" fmla="*/ 213279 w 3949778"/>
                <a:gd name="connsiteY74" fmla="*/ 4047458 h 5137252"/>
                <a:gd name="connsiteX75" fmla="*/ 227300 w 3949778"/>
                <a:gd name="connsiteY75" fmla="*/ 4068214 h 5137252"/>
                <a:gd name="connsiteX76" fmla="*/ 350312 w 3949778"/>
                <a:gd name="connsiteY76" fmla="*/ 4119034 h 5137252"/>
                <a:gd name="connsiteX77" fmla="*/ 524052 w 3949778"/>
                <a:gd name="connsiteY77" fmla="*/ 3944974 h 5137252"/>
                <a:gd name="connsiteX78" fmla="*/ 417694 w 3949778"/>
                <a:gd name="connsiteY78" fmla="*/ 3784839 h 5137252"/>
                <a:gd name="connsiteX79" fmla="*/ 349992 w 3949778"/>
                <a:gd name="connsiteY79" fmla="*/ 3771235 h 5137252"/>
                <a:gd name="connsiteX80" fmla="*/ 282315 w 3949778"/>
                <a:gd name="connsiteY80" fmla="*/ 3784963 h 5137252"/>
                <a:gd name="connsiteX81" fmla="*/ 237151 w 3949778"/>
                <a:gd name="connsiteY81" fmla="*/ 3815474 h 5137252"/>
                <a:gd name="connsiteX82" fmla="*/ 0 w 3949778"/>
                <a:gd name="connsiteY82" fmla="*/ 3818662 h 5137252"/>
                <a:gd name="connsiteX83" fmla="*/ 0 w 3949778"/>
                <a:gd name="connsiteY83" fmla="*/ 2967160 h 5137252"/>
                <a:gd name="connsiteX84" fmla="*/ 214473 w 3949778"/>
                <a:gd name="connsiteY84" fmla="*/ 2964949 h 5137252"/>
                <a:gd name="connsiteX85" fmla="*/ 222629 w 3949778"/>
                <a:gd name="connsiteY85" fmla="*/ 2977021 h 5137252"/>
                <a:gd name="connsiteX86" fmla="*/ 345641 w 3949778"/>
                <a:gd name="connsiteY86" fmla="*/ 3027842 h 5137252"/>
                <a:gd name="connsiteX87" fmla="*/ 519381 w 3949778"/>
                <a:gd name="connsiteY87" fmla="*/ 2853781 h 5137252"/>
                <a:gd name="connsiteX88" fmla="*/ 413023 w 3949778"/>
                <a:gd name="connsiteY88" fmla="*/ 2693645 h 5137252"/>
                <a:gd name="connsiteX89" fmla="*/ 345321 w 3949778"/>
                <a:gd name="connsiteY89" fmla="*/ 2680041 h 5137252"/>
                <a:gd name="connsiteX90" fmla="*/ 222402 w 3949778"/>
                <a:gd name="connsiteY90" fmla="*/ 2731089 h 5137252"/>
                <a:gd name="connsiteX91" fmla="*/ 221128 w 3949778"/>
                <a:gd name="connsiteY91" fmla="*/ 2732981 h 5137252"/>
                <a:gd name="connsiteX92" fmla="*/ 0 w 3949778"/>
                <a:gd name="connsiteY92" fmla="*/ 2735633 h 5137252"/>
                <a:gd name="connsiteX93" fmla="*/ 0 w 3949778"/>
                <a:gd name="connsiteY93" fmla="*/ 2413015 h 5137252"/>
                <a:gd name="connsiteX94" fmla="*/ 212094 w 3949778"/>
                <a:gd name="connsiteY94" fmla="*/ 2411751 h 5137252"/>
                <a:gd name="connsiteX95" fmla="*/ 224649 w 3949778"/>
                <a:gd name="connsiteY95" fmla="*/ 2430336 h 5137252"/>
                <a:gd name="connsiteX96" fmla="*/ 347662 w 3949778"/>
                <a:gd name="connsiteY96" fmla="*/ 2481156 h 5137252"/>
                <a:gd name="connsiteX97" fmla="*/ 521401 w 3949778"/>
                <a:gd name="connsiteY97" fmla="*/ 2307096 h 5137252"/>
                <a:gd name="connsiteX98" fmla="*/ 415044 w 3949778"/>
                <a:gd name="connsiteY98" fmla="*/ 2146960 h 5137252"/>
                <a:gd name="connsiteX99" fmla="*/ 347341 w 3949778"/>
                <a:gd name="connsiteY99" fmla="*/ 2133357 h 5137252"/>
                <a:gd name="connsiteX100" fmla="*/ 279664 w 3949778"/>
                <a:gd name="connsiteY100" fmla="*/ 2147085 h 5137252"/>
                <a:gd name="connsiteX101" fmla="*/ 231279 w 3949778"/>
                <a:gd name="connsiteY101" fmla="*/ 2179773 h 5137252"/>
                <a:gd name="connsiteX102" fmla="*/ 0 w 3949778"/>
                <a:gd name="connsiteY102" fmla="*/ 2178209 h 5137252"/>
                <a:gd name="connsiteX103" fmla="*/ 0 w 3949778"/>
                <a:gd name="connsiteY103" fmla="*/ 1872741 h 5137252"/>
                <a:gd name="connsiteX104" fmla="*/ 213783 w 3949778"/>
                <a:gd name="connsiteY104" fmla="*/ 1874853 h 5137252"/>
                <a:gd name="connsiteX105" fmla="*/ 223404 w 3949778"/>
                <a:gd name="connsiteY105" fmla="*/ 1889096 h 5137252"/>
                <a:gd name="connsiteX106" fmla="*/ 346417 w 3949778"/>
                <a:gd name="connsiteY106" fmla="*/ 1939916 h 5137252"/>
                <a:gd name="connsiteX107" fmla="*/ 520156 w 3949778"/>
                <a:gd name="connsiteY107" fmla="*/ 1765856 h 5137252"/>
                <a:gd name="connsiteX108" fmla="*/ 413799 w 3949778"/>
                <a:gd name="connsiteY108" fmla="*/ 1605720 h 5137252"/>
                <a:gd name="connsiteX109" fmla="*/ 346096 w 3949778"/>
                <a:gd name="connsiteY109" fmla="*/ 1592117 h 5137252"/>
                <a:gd name="connsiteX110" fmla="*/ 278419 w 3949778"/>
                <a:gd name="connsiteY110" fmla="*/ 1605845 h 5137252"/>
                <a:gd name="connsiteX111" fmla="*/ 223595 w 3949778"/>
                <a:gd name="connsiteY111" fmla="*/ 1642881 h 5137252"/>
                <a:gd name="connsiteX112" fmla="*/ 0 w 3949778"/>
                <a:gd name="connsiteY112" fmla="*/ 1642007 h 5137252"/>
                <a:gd name="connsiteX113" fmla="*/ 0 w 3949778"/>
                <a:gd name="connsiteY113" fmla="*/ 1332051 h 5137252"/>
                <a:gd name="connsiteX114" fmla="*/ 215067 w 3949778"/>
                <a:gd name="connsiteY114" fmla="*/ 1332559 h 5137252"/>
                <a:gd name="connsiteX115" fmla="*/ 227605 w 3949778"/>
                <a:gd name="connsiteY115" fmla="*/ 1351120 h 5137252"/>
                <a:gd name="connsiteX116" fmla="*/ 350618 w 3949778"/>
                <a:gd name="connsiteY116" fmla="*/ 1401940 h 5137252"/>
                <a:gd name="connsiteX117" fmla="*/ 524358 w 3949778"/>
                <a:gd name="connsiteY117" fmla="*/ 1227880 h 5137252"/>
                <a:gd name="connsiteX118" fmla="*/ 418000 w 3949778"/>
                <a:gd name="connsiteY118" fmla="*/ 1067744 h 5137252"/>
                <a:gd name="connsiteX119" fmla="*/ 350297 w 3949778"/>
                <a:gd name="connsiteY119" fmla="*/ 1054140 h 5137252"/>
                <a:gd name="connsiteX120" fmla="*/ 282620 w 3949778"/>
                <a:gd name="connsiteY120" fmla="*/ 1067869 h 5137252"/>
                <a:gd name="connsiteX121" fmla="*/ 234201 w 3949778"/>
                <a:gd name="connsiteY121" fmla="*/ 1100579 h 5137252"/>
                <a:gd name="connsiteX122" fmla="*/ 3221 w 3949778"/>
                <a:gd name="connsiteY122" fmla="*/ 1102939 h 5137252"/>
                <a:gd name="connsiteX123" fmla="*/ 0 w 3949778"/>
                <a:gd name="connsiteY123" fmla="*/ 1210259 h 5137252"/>
                <a:gd name="connsiteX124" fmla="*/ 0 w 3949778"/>
                <a:gd name="connsiteY124" fmla="*/ 797050 h 5137252"/>
                <a:gd name="connsiteX125" fmla="*/ 223677 w 3949778"/>
                <a:gd name="connsiteY125" fmla="*/ 795631 h 5137252"/>
                <a:gd name="connsiteX126" fmla="*/ 229623 w 3949778"/>
                <a:gd name="connsiteY126" fmla="*/ 804432 h 5137252"/>
                <a:gd name="connsiteX127" fmla="*/ 352636 w 3949778"/>
                <a:gd name="connsiteY127" fmla="*/ 855253 h 5137252"/>
                <a:gd name="connsiteX128" fmla="*/ 526376 w 3949778"/>
                <a:gd name="connsiteY128" fmla="*/ 681193 h 5137252"/>
                <a:gd name="connsiteX129" fmla="*/ 420018 w 3949778"/>
                <a:gd name="connsiteY129" fmla="*/ 521057 h 5137252"/>
                <a:gd name="connsiteX130" fmla="*/ 352316 w 3949778"/>
                <a:gd name="connsiteY130" fmla="*/ 507453 h 5137252"/>
                <a:gd name="connsiteX131" fmla="*/ 229397 w 3949778"/>
                <a:gd name="connsiteY131" fmla="*/ 558500 h 5137252"/>
                <a:gd name="connsiteX132" fmla="*/ 225922 w 3949778"/>
                <a:gd name="connsiteY132" fmla="*/ 563667 h 5137252"/>
                <a:gd name="connsiteX133" fmla="*/ 615 w 3949778"/>
                <a:gd name="connsiteY133" fmla="*/ 565510 h 5137252"/>
                <a:gd name="connsiteX134" fmla="*/ 0 w 3949778"/>
                <a:gd name="connsiteY134" fmla="*/ 616517 h 5137252"/>
                <a:gd name="connsiteX135" fmla="*/ 0 w 3949778"/>
                <a:gd name="connsiteY135" fmla="*/ 244537 h 5137252"/>
                <a:gd name="connsiteX136" fmla="*/ 244537 w 3949778"/>
                <a:gd name="connsiteY136" fmla="*/ 0 h 5137252"/>
                <a:gd name="connsiteX137" fmla="*/ 3700874 w 3949778"/>
                <a:gd name="connsiteY137" fmla="*/ 0 h 5137252"/>
                <a:gd name="connsiteX138" fmla="*/ 3837597 w 3949778"/>
                <a:gd name="connsiteY138" fmla="*/ 41763 h 5137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3949778" h="5137252">
                  <a:moveTo>
                    <a:pt x="408823" y="3231620"/>
                  </a:moveTo>
                  <a:cubicBezTo>
                    <a:pt x="388009" y="3222840"/>
                    <a:pt x="365131" y="3217995"/>
                    <a:pt x="341120" y="3218017"/>
                  </a:cubicBezTo>
                  <a:cubicBezTo>
                    <a:pt x="293100" y="3218061"/>
                    <a:pt x="249643" y="3237566"/>
                    <a:pt x="218202" y="3269064"/>
                  </a:cubicBezTo>
                  <a:lnTo>
                    <a:pt x="213987" y="3275327"/>
                  </a:lnTo>
                  <a:lnTo>
                    <a:pt x="2216" y="3276343"/>
                  </a:lnTo>
                  <a:lnTo>
                    <a:pt x="1466" y="3509122"/>
                  </a:lnTo>
                  <a:lnTo>
                    <a:pt x="213223" y="3507290"/>
                  </a:lnTo>
                  <a:lnTo>
                    <a:pt x="218428" y="3514996"/>
                  </a:lnTo>
                  <a:cubicBezTo>
                    <a:pt x="249927" y="3546437"/>
                    <a:pt x="293420" y="3565861"/>
                    <a:pt x="341441" y="3565816"/>
                  </a:cubicBezTo>
                  <a:cubicBezTo>
                    <a:pt x="437483" y="3565728"/>
                    <a:pt x="515269" y="3487799"/>
                    <a:pt x="515181" y="3391757"/>
                  </a:cubicBezTo>
                  <a:cubicBezTo>
                    <a:pt x="515114" y="3319725"/>
                    <a:pt x="471262" y="3257964"/>
                    <a:pt x="408823" y="3231620"/>
                  </a:cubicBezTo>
                  <a:close/>
                  <a:moveTo>
                    <a:pt x="1903445" y="4012352"/>
                  </a:moveTo>
                  <a:cubicBezTo>
                    <a:pt x="1889563" y="4006496"/>
                    <a:pt x="1874304" y="4003265"/>
                    <a:pt x="1858290" y="4003279"/>
                  </a:cubicBezTo>
                  <a:lnTo>
                    <a:pt x="959661" y="4004107"/>
                  </a:lnTo>
                  <a:cubicBezTo>
                    <a:pt x="895607" y="4004166"/>
                    <a:pt x="843729" y="4056141"/>
                    <a:pt x="843788" y="4120195"/>
                  </a:cubicBezTo>
                  <a:cubicBezTo>
                    <a:pt x="843847" y="4184250"/>
                    <a:pt x="895821" y="4236128"/>
                    <a:pt x="959876" y="4236069"/>
                  </a:cubicBezTo>
                  <a:lnTo>
                    <a:pt x="1858505" y="4235241"/>
                  </a:lnTo>
                  <a:cubicBezTo>
                    <a:pt x="1922559" y="4235182"/>
                    <a:pt x="1974438" y="4183208"/>
                    <a:pt x="1974379" y="4119154"/>
                  </a:cubicBezTo>
                  <a:cubicBezTo>
                    <a:pt x="1974334" y="4071112"/>
                    <a:pt x="1945088" y="4029920"/>
                    <a:pt x="1903445" y="4012352"/>
                  </a:cubicBezTo>
                  <a:close/>
                  <a:moveTo>
                    <a:pt x="3479313" y="918916"/>
                  </a:moveTo>
                  <a:cubicBezTo>
                    <a:pt x="3465431" y="913059"/>
                    <a:pt x="3450172" y="909827"/>
                    <a:pt x="3434158" y="909842"/>
                  </a:cubicBezTo>
                  <a:lnTo>
                    <a:pt x="964487" y="912118"/>
                  </a:lnTo>
                  <a:cubicBezTo>
                    <a:pt x="900432" y="912177"/>
                    <a:pt x="848554" y="964151"/>
                    <a:pt x="848613" y="1028206"/>
                  </a:cubicBezTo>
                  <a:cubicBezTo>
                    <a:pt x="848672" y="1092261"/>
                    <a:pt x="900646" y="1144139"/>
                    <a:pt x="964701" y="1144080"/>
                  </a:cubicBezTo>
                  <a:lnTo>
                    <a:pt x="3434372" y="1141804"/>
                  </a:lnTo>
                  <a:cubicBezTo>
                    <a:pt x="3498427" y="1141745"/>
                    <a:pt x="3550305" y="1089771"/>
                    <a:pt x="3550246" y="1025717"/>
                  </a:cubicBezTo>
                  <a:cubicBezTo>
                    <a:pt x="3550202" y="977675"/>
                    <a:pt x="3520956" y="936483"/>
                    <a:pt x="3479313" y="918916"/>
                  </a:cubicBezTo>
                  <a:close/>
                  <a:moveTo>
                    <a:pt x="3837597" y="41763"/>
                  </a:moveTo>
                  <a:cubicBezTo>
                    <a:pt x="3902644" y="85708"/>
                    <a:pt x="3945411" y="160128"/>
                    <a:pt x="3945411" y="244537"/>
                  </a:cubicBezTo>
                  <a:cubicBezTo>
                    <a:pt x="3861841" y="488455"/>
                    <a:pt x="3701644" y="918692"/>
                    <a:pt x="3520923" y="1396482"/>
                  </a:cubicBezTo>
                  <a:lnTo>
                    <a:pt x="3466178" y="1540909"/>
                  </a:lnTo>
                  <a:lnTo>
                    <a:pt x="3426988" y="1533034"/>
                  </a:lnTo>
                  <a:lnTo>
                    <a:pt x="957316" y="1535310"/>
                  </a:lnTo>
                  <a:cubicBezTo>
                    <a:pt x="893261" y="1535369"/>
                    <a:pt x="841383" y="1587343"/>
                    <a:pt x="841442" y="1651398"/>
                  </a:cubicBezTo>
                  <a:cubicBezTo>
                    <a:pt x="841501" y="1715453"/>
                    <a:pt x="893475" y="1767331"/>
                    <a:pt x="957530" y="1767272"/>
                  </a:cubicBezTo>
                  <a:lnTo>
                    <a:pt x="3365544" y="1772395"/>
                  </a:lnTo>
                  <a:lnTo>
                    <a:pt x="3234693" y="2149055"/>
                  </a:lnTo>
                  <a:lnTo>
                    <a:pt x="965662" y="2151146"/>
                  </a:lnTo>
                  <a:cubicBezTo>
                    <a:pt x="901607" y="2151205"/>
                    <a:pt x="849729" y="2203178"/>
                    <a:pt x="849788" y="2267234"/>
                  </a:cubicBezTo>
                  <a:cubicBezTo>
                    <a:pt x="849847" y="2331289"/>
                    <a:pt x="901821" y="2383167"/>
                    <a:pt x="965876" y="2383107"/>
                  </a:cubicBezTo>
                  <a:lnTo>
                    <a:pt x="3146162" y="2381099"/>
                  </a:lnTo>
                  <a:lnTo>
                    <a:pt x="3058829" y="2609727"/>
                  </a:lnTo>
                  <a:lnTo>
                    <a:pt x="2997318" y="2770827"/>
                  </a:lnTo>
                  <a:lnTo>
                    <a:pt x="965025" y="2772700"/>
                  </a:lnTo>
                  <a:cubicBezTo>
                    <a:pt x="900970" y="2772758"/>
                    <a:pt x="849092" y="2824733"/>
                    <a:pt x="849151" y="2888787"/>
                  </a:cubicBezTo>
                  <a:cubicBezTo>
                    <a:pt x="849210" y="2952842"/>
                    <a:pt x="901184" y="3004721"/>
                    <a:pt x="965239" y="3004661"/>
                  </a:cubicBezTo>
                  <a:lnTo>
                    <a:pt x="2908819" y="3002870"/>
                  </a:lnTo>
                  <a:lnTo>
                    <a:pt x="2893682" y="3042577"/>
                  </a:lnTo>
                  <a:lnTo>
                    <a:pt x="2821562" y="3232345"/>
                  </a:lnTo>
                  <a:lnTo>
                    <a:pt x="2762222" y="3389325"/>
                  </a:lnTo>
                  <a:lnTo>
                    <a:pt x="949683" y="3390995"/>
                  </a:lnTo>
                  <a:cubicBezTo>
                    <a:pt x="885628" y="3391054"/>
                    <a:pt x="833750" y="3443028"/>
                    <a:pt x="833809" y="3507083"/>
                  </a:cubicBezTo>
                  <a:cubicBezTo>
                    <a:pt x="833868" y="3571138"/>
                    <a:pt x="885842" y="3623016"/>
                    <a:pt x="949897" y="3622957"/>
                  </a:cubicBezTo>
                  <a:lnTo>
                    <a:pt x="2732014" y="3621315"/>
                  </a:lnTo>
                  <a:lnTo>
                    <a:pt x="2633061" y="4312952"/>
                  </a:lnTo>
                  <a:cubicBezTo>
                    <a:pt x="2614350" y="4495163"/>
                    <a:pt x="2846947" y="4575704"/>
                    <a:pt x="2957180" y="4409562"/>
                  </a:cubicBezTo>
                  <a:cubicBezTo>
                    <a:pt x="3061973" y="4258667"/>
                    <a:pt x="3375183" y="3783440"/>
                    <a:pt x="3482402" y="3613885"/>
                  </a:cubicBezTo>
                  <a:cubicBezTo>
                    <a:pt x="3573528" y="3588685"/>
                    <a:pt x="3578210" y="3534359"/>
                    <a:pt x="3552044" y="3429821"/>
                  </a:cubicBezTo>
                  <a:cubicBezTo>
                    <a:pt x="3649015" y="3219940"/>
                    <a:pt x="3852657" y="2523870"/>
                    <a:pt x="3949778" y="2383707"/>
                  </a:cubicBezTo>
                  <a:cubicBezTo>
                    <a:pt x="3948322" y="3220043"/>
                    <a:pt x="3946867" y="4056379"/>
                    <a:pt x="3945411" y="4892715"/>
                  </a:cubicBezTo>
                  <a:cubicBezTo>
                    <a:pt x="3945411" y="5027769"/>
                    <a:pt x="3835928" y="5137252"/>
                    <a:pt x="3700874" y="5137252"/>
                  </a:cubicBezTo>
                  <a:lnTo>
                    <a:pt x="244537" y="5137252"/>
                  </a:lnTo>
                  <a:cubicBezTo>
                    <a:pt x="109483" y="5137252"/>
                    <a:pt x="0" y="5027769"/>
                    <a:pt x="0" y="4892715"/>
                  </a:cubicBezTo>
                  <a:lnTo>
                    <a:pt x="0" y="4605616"/>
                  </a:lnTo>
                  <a:lnTo>
                    <a:pt x="222310" y="4605020"/>
                  </a:lnTo>
                  <a:lnTo>
                    <a:pt x="223099" y="4606189"/>
                  </a:lnTo>
                  <a:cubicBezTo>
                    <a:pt x="254598" y="4637630"/>
                    <a:pt x="298091" y="4657054"/>
                    <a:pt x="346112" y="4657010"/>
                  </a:cubicBezTo>
                  <a:cubicBezTo>
                    <a:pt x="442154" y="4656921"/>
                    <a:pt x="519940" y="4578992"/>
                    <a:pt x="519851" y="4482950"/>
                  </a:cubicBezTo>
                  <a:cubicBezTo>
                    <a:pt x="519785" y="4410919"/>
                    <a:pt x="475933" y="4349156"/>
                    <a:pt x="413494" y="4322814"/>
                  </a:cubicBezTo>
                  <a:cubicBezTo>
                    <a:pt x="392680" y="4314033"/>
                    <a:pt x="369801" y="4309188"/>
                    <a:pt x="345791" y="4309210"/>
                  </a:cubicBezTo>
                  <a:cubicBezTo>
                    <a:pt x="297770" y="4309254"/>
                    <a:pt x="254313" y="4328759"/>
                    <a:pt x="222872" y="4360257"/>
                  </a:cubicBezTo>
                  <a:lnTo>
                    <a:pt x="214254" y="4373065"/>
                  </a:lnTo>
                  <a:lnTo>
                    <a:pt x="0" y="4376088"/>
                  </a:lnTo>
                  <a:lnTo>
                    <a:pt x="0" y="4048176"/>
                  </a:lnTo>
                  <a:lnTo>
                    <a:pt x="213279" y="4047458"/>
                  </a:lnTo>
                  <a:lnTo>
                    <a:pt x="227300" y="4068214"/>
                  </a:lnTo>
                  <a:cubicBezTo>
                    <a:pt x="258799" y="4099655"/>
                    <a:pt x="302292" y="4119079"/>
                    <a:pt x="350312" y="4119034"/>
                  </a:cubicBezTo>
                  <a:cubicBezTo>
                    <a:pt x="446355" y="4118946"/>
                    <a:pt x="524140" y="4041017"/>
                    <a:pt x="524052" y="3944974"/>
                  </a:cubicBezTo>
                  <a:cubicBezTo>
                    <a:pt x="523985" y="3872944"/>
                    <a:pt x="480133" y="3811181"/>
                    <a:pt x="417694" y="3784839"/>
                  </a:cubicBezTo>
                  <a:cubicBezTo>
                    <a:pt x="396881" y="3776058"/>
                    <a:pt x="374003" y="3771213"/>
                    <a:pt x="349992" y="3771235"/>
                  </a:cubicBezTo>
                  <a:cubicBezTo>
                    <a:pt x="325982" y="3771257"/>
                    <a:pt x="303112" y="3776144"/>
                    <a:pt x="282315" y="3784963"/>
                  </a:cubicBezTo>
                  <a:lnTo>
                    <a:pt x="237151" y="3815474"/>
                  </a:lnTo>
                  <a:lnTo>
                    <a:pt x="0" y="3818662"/>
                  </a:lnTo>
                  <a:lnTo>
                    <a:pt x="0" y="2967160"/>
                  </a:lnTo>
                  <a:lnTo>
                    <a:pt x="214473" y="2964949"/>
                  </a:lnTo>
                  <a:lnTo>
                    <a:pt x="222629" y="2977021"/>
                  </a:lnTo>
                  <a:cubicBezTo>
                    <a:pt x="254127" y="3008462"/>
                    <a:pt x="297620" y="3027886"/>
                    <a:pt x="345641" y="3027842"/>
                  </a:cubicBezTo>
                  <a:cubicBezTo>
                    <a:pt x="441683" y="3027753"/>
                    <a:pt x="519469" y="2949823"/>
                    <a:pt x="519381" y="2853781"/>
                  </a:cubicBezTo>
                  <a:cubicBezTo>
                    <a:pt x="519314" y="2781750"/>
                    <a:pt x="475463" y="2719988"/>
                    <a:pt x="413023" y="2693645"/>
                  </a:cubicBezTo>
                  <a:cubicBezTo>
                    <a:pt x="392209" y="2684864"/>
                    <a:pt x="369331" y="2680019"/>
                    <a:pt x="345321" y="2680041"/>
                  </a:cubicBezTo>
                  <a:cubicBezTo>
                    <a:pt x="297300" y="2680086"/>
                    <a:pt x="253843" y="2699591"/>
                    <a:pt x="222402" y="2731089"/>
                  </a:cubicBezTo>
                  <a:lnTo>
                    <a:pt x="221128" y="2732981"/>
                  </a:lnTo>
                  <a:lnTo>
                    <a:pt x="0" y="2735633"/>
                  </a:lnTo>
                  <a:lnTo>
                    <a:pt x="0" y="2413015"/>
                  </a:lnTo>
                  <a:lnTo>
                    <a:pt x="212094" y="2411751"/>
                  </a:lnTo>
                  <a:lnTo>
                    <a:pt x="224649" y="2430336"/>
                  </a:lnTo>
                  <a:cubicBezTo>
                    <a:pt x="256148" y="2461776"/>
                    <a:pt x="299641" y="2481201"/>
                    <a:pt x="347662" y="2481156"/>
                  </a:cubicBezTo>
                  <a:cubicBezTo>
                    <a:pt x="443703" y="2481068"/>
                    <a:pt x="521490" y="2403138"/>
                    <a:pt x="521401" y="2307096"/>
                  </a:cubicBezTo>
                  <a:cubicBezTo>
                    <a:pt x="521335" y="2235064"/>
                    <a:pt x="477483" y="2173303"/>
                    <a:pt x="415044" y="2146960"/>
                  </a:cubicBezTo>
                  <a:cubicBezTo>
                    <a:pt x="394231" y="2138179"/>
                    <a:pt x="371352" y="2133334"/>
                    <a:pt x="347341" y="2133357"/>
                  </a:cubicBezTo>
                  <a:cubicBezTo>
                    <a:pt x="323331" y="2133379"/>
                    <a:pt x="300460" y="2138266"/>
                    <a:pt x="279664" y="2147085"/>
                  </a:cubicBezTo>
                  <a:lnTo>
                    <a:pt x="231279" y="2179773"/>
                  </a:lnTo>
                  <a:lnTo>
                    <a:pt x="0" y="2178209"/>
                  </a:lnTo>
                  <a:lnTo>
                    <a:pt x="0" y="1872741"/>
                  </a:lnTo>
                  <a:lnTo>
                    <a:pt x="213783" y="1874853"/>
                  </a:lnTo>
                  <a:lnTo>
                    <a:pt x="223404" y="1889096"/>
                  </a:lnTo>
                  <a:cubicBezTo>
                    <a:pt x="254903" y="1920536"/>
                    <a:pt x="298396" y="1939961"/>
                    <a:pt x="346417" y="1939916"/>
                  </a:cubicBezTo>
                  <a:cubicBezTo>
                    <a:pt x="442459" y="1939828"/>
                    <a:pt x="520245" y="1861898"/>
                    <a:pt x="520156" y="1765856"/>
                  </a:cubicBezTo>
                  <a:cubicBezTo>
                    <a:pt x="520090" y="1693824"/>
                    <a:pt x="476238" y="1632062"/>
                    <a:pt x="413799" y="1605720"/>
                  </a:cubicBezTo>
                  <a:cubicBezTo>
                    <a:pt x="392986" y="1596939"/>
                    <a:pt x="370107" y="1592095"/>
                    <a:pt x="346096" y="1592117"/>
                  </a:cubicBezTo>
                  <a:cubicBezTo>
                    <a:pt x="322086" y="1592138"/>
                    <a:pt x="299216" y="1597026"/>
                    <a:pt x="278419" y="1605845"/>
                  </a:cubicBezTo>
                  <a:lnTo>
                    <a:pt x="223595" y="1642881"/>
                  </a:lnTo>
                  <a:lnTo>
                    <a:pt x="0" y="1642007"/>
                  </a:lnTo>
                  <a:lnTo>
                    <a:pt x="0" y="1332051"/>
                  </a:lnTo>
                  <a:lnTo>
                    <a:pt x="215067" y="1332559"/>
                  </a:lnTo>
                  <a:lnTo>
                    <a:pt x="227605" y="1351120"/>
                  </a:lnTo>
                  <a:cubicBezTo>
                    <a:pt x="259104" y="1382560"/>
                    <a:pt x="302597" y="1401984"/>
                    <a:pt x="350618" y="1401940"/>
                  </a:cubicBezTo>
                  <a:cubicBezTo>
                    <a:pt x="446660" y="1401852"/>
                    <a:pt x="524446" y="1323922"/>
                    <a:pt x="524358" y="1227880"/>
                  </a:cubicBezTo>
                  <a:cubicBezTo>
                    <a:pt x="524291" y="1155848"/>
                    <a:pt x="480439" y="1094086"/>
                    <a:pt x="418000" y="1067744"/>
                  </a:cubicBezTo>
                  <a:cubicBezTo>
                    <a:pt x="397187" y="1058963"/>
                    <a:pt x="374308" y="1054118"/>
                    <a:pt x="350297" y="1054140"/>
                  </a:cubicBezTo>
                  <a:cubicBezTo>
                    <a:pt x="326287" y="1054162"/>
                    <a:pt x="303417" y="1059050"/>
                    <a:pt x="282620" y="1067869"/>
                  </a:cubicBezTo>
                  <a:lnTo>
                    <a:pt x="234201" y="1100579"/>
                  </a:lnTo>
                  <a:lnTo>
                    <a:pt x="3221" y="1102939"/>
                  </a:lnTo>
                  <a:cubicBezTo>
                    <a:pt x="2147" y="1138712"/>
                    <a:pt x="1074" y="1174486"/>
                    <a:pt x="0" y="1210259"/>
                  </a:cubicBezTo>
                  <a:lnTo>
                    <a:pt x="0" y="797050"/>
                  </a:lnTo>
                  <a:lnTo>
                    <a:pt x="223677" y="795631"/>
                  </a:lnTo>
                  <a:lnTo>
                    <a:pt x="229623" y="804432"/>
                  </a:lnTo>
                  <a:cubicBezTo>
                    <a:pt x="261122" y="835873"/>
                    <a:pt x="304615" y="855298"/>
                    <a:pt x="352636" y="855253"/>
                  </a:cubicBezTo>
                  <a:cubicBezTo>
                    <a:pt x="448678" y="855164"/>
                    <a:pt x="526464" y="777235"/>
                    <a:pt x="526376" y="681193"/>
                  </a:cubicBezTo>
                  <a:cubicBezTo>
                    <a:pt x="526309" y="609161"/>
                    <a:pt x="482458" y="547399"/>
                    <a:pt x="420018" y="521057"/>
                  </a:cubicBezTo>
                  <a:cubicBezTo>
                    <a:pt x="399205" y="512276"/>
                    <a:pt x="376327" y="507431"/>
                    <a:pt x="352316" y="507453"/>
                  </a:cubicBezTo>
                  <a:cubicBezTo>
                    <a:pt x="304295" y="507496"/>
                    <a:pt x="260838" y="527003"/>
                    <a:pt x="229397" y="558500"/>
                  </a:cubicBezTo>
                  <a:lnTo>
                    <a:pt x="225922" y="563667"/>
                  </a:lnTo>
                  <a:lnTo>
                    <a:pt x="615" y="565510"/>
                  </a:lnTo>
                  <a:lnTo>
                    <a:pt x="0" y="616517"/>
                  </a:lnTo>
                  <a:lnTo>
                    <a:pt x="0" y="244537"/>
                  </a:lnTo>
                  <a:cubicBezTo>
                    <a:pt x="0" y="109483"/>
                    <a:pt x="109483" y="0"/>
                    <a:pt x="244537" y="0"/>
                  </a:cubicBezTo>
                  <a:lnTo>
                    <a:pt x="3700874" y="0"/>
                  </a:lnTo>
                  <a:cubicBezTo>
                    <a:pt x="3751519" y="0"/>
                    <a:pt x="3798569" y="15396"/>
                    <a:pt x="3837597" y="41763"/>
                  </a:cubicBezTo>
                  <a:close/>
                </a:path>
              </a:pathLst>
            </a:custGeom>
            <a:solidFill>
              <a:srgbClr val="0091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350">
                <a:solidFill>
                  <a:schemeClr val="accent1"/>
                </a:solidFill>
                <a:latin typeface="Arial" panose="020B0604020202020204" pitchFamily="34" charset="0"/>
                <a:cs typeface="Arial" panose="020B0604020202020204" pitchFamily="34" charset="0"/>
              </a:endParaRPr>
            </a:p>
          </p:txBody>
        </p:sp>
        <p:sp>
          <p:nvSpPr>
            <p:cNvPr id="77" name="Oval Callout 83"/>
            <p:cNvSpPr/>
            <p:nvPr/>
          </p:nvSpPr>
          <p:spPr>
            <a:xfrm flipV="1">
              <a:off x="8225071" y="3505982"/>
              <a:ext cx="744578" cy="728228"/>
            </a:xfrm>
            <a:prstGeom prst="wedgeEllipseCallout">
              <a:avLst>
                <a:gd name="adj1" fmla="val 740"/>
                <a:gd name="adj2" fmla="val 93698"/>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78" name="Oval 84"/>
            <p:cNvSpPr/>
            <p:nvPr/>
          </p:nvSpPr>
          <p:spPr>
            <a:xfrm flipV="1">
              <a:off x="8275300" y="3556539"/>
              <a:ext cx="644120" cy="627109"/>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58" name="Freeform 378"/>
            <p:cNvSpPr/>
            <p:nvPr/>
          </p:nvSpPr>
          <p:spPr>
            <a:xfrm>
              <a:off x="8412464" y="3676246"/>
              <a:ext cx="372491" cy="143402"/>
            </a:xfrm>
            <a:custGeom>
              <a:avLst/>
              <a:gdLst>
                <a:gd name="connsiteX0" fmla="*/ 1869116 w 3738227"/>
                <a:gd name="connsiteY0" fmla="*/ 193921 h 1478173"/>
                <a:gd name="connsiteX1" fmla="*/ 645153 w 3738227"/>
                <a:gd name="connsiteY1" fmla="*/ 1145481 h 1478173"/>
                <a:gd name="connsiteX2" fmla="*/ 3093078 w 3738227"/>
                <a:gd name="connsiteY2" fmla="*/ 1145481 h 1478173"/>
                <a:gd name="connsiteX3" fmla="*/ 1869114 w 3738227"/>
                <a:gd name="connsiteY3" fmla="*/ 0 h 1478173"/>
                <a:gd name="connsiteX4" fmla="*/ 3736083 w 3738227"/>
                <a:gd name="connsiteY4" fmla="*/ 1334465 h 1478173"/>
                <a:gd name="connsiteX5" fmla="*/ 3737302 w 3738227"/>
                <a:gd name="connsiteY5" fmla="*/ 1334465 h 1478173"/>
                <a:gd name="connsiteX6" fmla="*/ 3737338 w 3738227"/>
                <a:gd name="connsiteY6" fmla="*/ 1335362 h 1478173"/>
                <a:gd name="connsiteX7" fmla="*/ 3737498 w 3738227"/>
                <a:gd name="connsiteY7" fmla="*/ 1339402 h 1478173"/>
                <a:gd name="connsiteX8" fmla="*/ 3738227 w 3738227"/>
                <a:gd name="connsiteY8" fmla="*/ 1478173 h 1478173"/>
                <a:gd name="connsiteX9" fmla="*/ 0 w 3738227"/>
                <a:gd name="connsiteY9" fmla="*/ 1478172 h 1478173"/>
                <a:gd name="connsiteX10" fmla="*/ 731 w 3738227"/>
                <a:gd name="connsiteY10" fmla="*/ 1339402 h 1478173"/>
                <a:gd name="connsiteX11" fmla="*/ 891 w 3738227"/>
                <a:gd name="connsiteY11" fmla="*/ 1335362 h 1478173"/>
                <a:gd name="connsiteX12" fmla="*/ 926 w 3738227"/>
                <a:gd name="connsiteY12" fmla="*/ 1334465 h 1478173"/>
                <a:gd name="connsiteX13" fmla="*/ 2145 w 3738227"/>
                <a:gd name="connsiteY13" fmla="*/ 1334465 h 1478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38227" h="1478173">
                  <a:moveTo>
                    <a:pt x="1869116" y="193921"/>
                  </a:moveTo>
                  <a:lnTo>
                    <a:pt x="645153" y="1145481"/>
                  </a:lnTo>
                  <a:lnTo>
                    <a:pt x="3093078" y="1145481"/>
                  </a:lnTo>
                  <a:close/>
                  <a:moveTo>
                    <a:pt x="1869114" y="0"/>
                  </a:moveTo>
                  <a:lnTo>
                    <a:pt x="3736083" y="1334465"/>
                  </a:lnTo>
                  <a:lnTo>
                    <a:pt x="3737302" y="1334465"/>
                  </a:lnTo>
                  <a:lnTo>
                    <a:pt x="3737338" y="1335362"/>
                  </a:lnTo>
                  <a:cubicBezTo>
                    <a:pt x="3737391" y="1336709"/>
                    <a:pt x="3737445" y="1338055"/>
                    <a:pt x="3737498" y="1339402"/>
                  </a:cubicBezTo>
                  <a:lnTo>
                    <a:pt x="3738227" y="1478173"/>
                  </a:lnTo>
                  <a:lnTo>
                    <a:pt x="0" y="1478172"/>
                  </a:lnTo>
                  <a:cubicBezTo>
                    <a:pt x="244" y="1431915"/>
                    <a:pt x="487" y="1385659"/>
                    <a:pt x="731" y="1339402"/>
                  </a:cubicBezTo>
                  <a:cubicBezTo>
                    <a:pt x="784" y="1338055"/>
                    <a:pt x="838" y="1336709"/>
                    <a:pt x="891" y="1335362"/>
                  </a:cubicBezTo>
                  <a:cubicBezTo>
                    <a:pt x="903" y="1335063"/>
                    <a:pt x="914" y="1334764"/>
                    <a:pt x="926" y="1334465"/>
                  </a:cubicBezTo>
                  <a:lnTo>
                    <a:pt x="2145" y="1334465"/>
                  </a:lnTo>
                  <a:close/>
                </a:path>
              </a:pathLst>
            </a:custGeom>
            <a:solidFill>
              <a:srgbClr val="009A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72" name="Rectangle 392"/>
            <p:cNvSpPr/>
            <p:nvPr/>
          </p:nvSpPr>
          <p:spPr>
            <a:xfrm>
              <a:off x="8416711" y="4018975"/>
              <a:ext cx="362559" cy="17248"/>
            </a:xfrm>
            <a:prstGeom prst="rect">
              <a:avLst/>
            </a:prstGeom>
            <a:solidFill>
              <a:srgbClr val="009A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73" name="Rectangle 393"/>
            <p:cNvSpPr/>
            <p:nvPr/>
          </p:nvSpPr>
          <p:spPr>
            <a:xfrm>
              <a:off x="8395832" y="4046698"/>
              <a:ext cx="403054" cy="17248"/>
            </a:xfrm>
            <a:prstGeom prst="rect">
              <a:avLst/>
            </a:prstGeom>
            <a:solidFill>
              <a:srgbClr val="009A4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grpSp>
          <p:nvGrpSpPr>
            <p:cNvPr id="170" name="Gruppieren 169"/>
            <p:cNvGrpSpPr/>
            <p:nvPr/>
          </p:nvGrpSpPr>
          <p:grpSpPr>
            <a:xfrm>
              <a:off x="8445818" y="3712513"/>
              <a:ext cx="302132" cy="295634"/>
              <a:chOff x="6946674" y="3375794"/>
              <a:chExt cx="262558" cy="243984"/>
            </a:xfrm>
            <a:solidFill>
              <a:srgbClr val="009A44"/>
            </a:solidFill>
          </p:grpSpPr>
          <p:sp>
            <p:nvSpPr>
              <p:cNvPr id="59" name="Trapezoid 58"/>
              <p:cNvSpPr/>
              <p:nvPr/>
            </p:nvSpPr>
            <p:spPr>
              <a:xfrm>
                <a:off x="7002492" y="3375794"/>
                <a:ext cx="154094" cy="51915"/>
              </a:xfrm>
              <a:prstGeom prst="trapezoid">
                <a:avLst>
                  <a:gd name="adj" fmla="val 190649"/>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60" name="Rectangle 380"/>
              <p:cNvSpPr/>
              <p:nvPr/>
            </p:nvSpPr>
            <p:spPr>
              <a:xfrm>
                <a:off x="6946674" y="3471628"/>
                <a:ext cx="51687" cy="889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61" name="Rectangle 381"/>
              <p:cNvSpPr/>
              <p:nvPr/>
            </p:nvSpPr>
            <p:spPr>
              <a:xfrm>
                <a:off x="6955197" y="3487643"/>
                <a:ext cx="33816" cy="889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62" name="Rectangle 382"/>
              <p:cNvSpPr/>
              <p:nvPr/>
            </p:nvSpPr>
            <p:spPr>
              <a:xfrm>
                <a:off x="7052110" y="3471883"/>
                <a:ext cx="51687" cy="889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63" name="Rectangle 383"/>
              <p:cNvSpPr/>
              <p:nvPr/>
            </p:nvSpPr>
            <p:spPr>
              <a:xfrm>
                <a:off x="7060632" y="3487643"/>
                <a:ext cx="33816" cy="889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64" name="Rectangle 384"/>
              <p:cNvSpPr/>
              <p:nvPr/>
            </p:nvSpPr>
            <p:spPr>
              <a:xfrm>
                <a:off x="7157545" y="3471374"/>
                <a:ext cx="51687" cy="889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65" name="Rectangle 385"/>
              <p:cNvSpPr/>
              <p:nvPr/>
            </p:nvSpPr>
            <p:spPr>
              <a:xfrm>
                <a:off x="7166068" y="3487643"/>
                <a:ext cx="33816" cy="889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66" name="Rectangle 386"/>
              <p:cNvSpPr/>
              <p:nvPr/>
            </p:nvSpPr>
            <p:spPr>
              <a:xfrm flipV="1">
                <a:off x="6946674" y="3610627"/>
                <a:ext cx="51687" cy="889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67" name="Rectangle 387"/>
              <p:cNvSpPr/>
              <p:nvPr/>
            </p:nvSpPr>
            <p:spPr>
              <a:xfrm flipV="1">
                <a:off x="6955197" y="3594612"/>
                <a:ext cx="33816" cy="889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68" name="Rectangle 388"/>
              <p:cNvSpPr/>
              <p:nvPr/>
            </p:nvSpPr>
            <p:spPr>
              <a:xfrm flipV="1">
                <a:off x="7052110" y="3610373"/>
                <a:ext cx="51687" cy="889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69" name="Rectangle 389"/>
              <p:cNvSpPr/>
              <p:nvPr/>
            </p:nvSpPr>
            <p:spPr>
              <a:xfrm flipV="1">
                <a:off x="7060632" y="3594612"/>
                <a:ext cx="33816" cy="889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70" name="Rectangle 390"/>
              <p:cNvSpPr/>
              <p:nvPr/>
            </p:nvSpPr>
            <p:spPr>
              <a:xfrm flipV="1">
                <a:off x="7157545" y="3610881"/>
                <a:ext cx="51687" cy="889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71" name="Rectangle 391"/>
              <p:cNvSpPr/>
              <p:nvPr/>
            </p:nvSpPr>
            <p:spPr>
              <a:xfrm flipV="1">
                <a:off x="7166068" y="3594612"/>
                <a:ext cx="33816" cy="8897"/>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74" name="Rectangle 28"/>
              <p:cNvSpPr/>
              <p:nvPr/>
            </p:nvSpPr>
            <p:spPr>
              <a:xfrm>
                <a:off x="6946773" y="3505183"/>
                <a:ext cx="49773" cy="81091"/>
              </a:xfrm>
              <a:custGeom>
                <a:avLst/>
                <a:gdLst>
                  <a:gd name="connsiteX0" fmla="*/ 0 w 425450"/>
                  <a:gd name="connsiteY0" fmla="*/ 0 h 1012825"/>
                  <a:gd name="connsiteX1" fmla="*/ 425450 w 425450"/>
                  <a:gd name="connsiteY1" fmla="*/ 0 h 1012825"/>
                  <a:gd name="connsiteX2" fmla="*/ 425450 w 425450"/>
                  <a:gd name="connsiteY2" fmla="*/ 1012825 h 1012825"/>
                  <a:gd name="connsiteX3" fmla="*/ 0 w 425450"/>
                  <a:gd name="connsiteY3" fmla="*/ 1012825 h 1012825"/>
                  <a:gd name="connsiteX4" fmla="*/ 0 w 425450"/>
                  <a:gd name="connsiteY4" fmla="*/ 0 h 1012825"/>
                  <a:gd name="connsiteX0" fmla="*/ 46566 w 472016"/>
                  <a:gd name="connsiteY0" fmla="*/ 0 h 1012825"/>
                  <a:gd name="connsiteX1" fmla="*/ 472016 w 472016"/>
                  <a:gd name="connsiteY1" fmla="*/ 0 h 1012825"/>
                  <a:gd name="connsiteX2" fmla="*/ 472016 w 472016"/>
                  <a:gd name="connsiteY2" fmla="*/ 1012825 h 1012825"/>
                  <a:gd name="connsiteX3" fmla="*/ 46566 w 472016"/>
                  <a:gd name="connsiteY3" fmla="*/ 1012825 h 1012825"/>
                  <a:gd name="connsiteX4" fmla="*/ 46566 w 472016"/>
                  <a:gd name="connsiteY4" fmla="*/ 0 h 1012825"/>
                  <a:gd name="connsiteX0" fmla="*/ 75051 w 500501"/>
                  <a:gd name="connsiteY0" fmla="*/ 0 h 1012825"/>
                  <a:gd name="connsiteX1" fmla="*/ 500501 w 500501"/>
                  <a:gd name="connsiteY1" fmla="*/ 0 h 1012825"/>
                  <a:gd name="connsiteX2" fmla="*/ 500501 w 500501"/>
                  <a:gd name="connsiteY2" fmla="*/ 1012825 h 1012825"/>
                  <a:gd name="connsiteX3" fmla="*/ 75051 w 500501"/>
                  <a:gd name="connsiteY3" fmla="*/ 1012825 h 1012825"/>
                  <a:gd name="connsiteX4" fmla="*/ 75051 w 500501"/>
                  <a:gd name="connsiteY4" fmla="*/ 0 h 1012825"/>
                  <a:gd name="connsiteX0" fmla="*/ 75051 w 551301"/>
                  <a:gd name="connsiteY0" fmla="*/ 0 h 1012825"/>
                  <a:gd name="connsiteX1" fmla="*/ 500501 w 551301"/>
                  <a:gd name="connsiteY1" fmla="*/ 0 h 1012825"/>
                  <a:gd name="connsiteX2" fmla="*/ 500501 w 551301"/>
                  <a:gd name="connsiteY2" fmla="*/ 1012825 h 1012825"/>
                  <a:gd name="connsiteX3" fmla="*/ 75051 w 551301"/>
                  <a:gd name="connsiteY3" fmla="*/ 1012825 h 1012825"/>
                  <a:gd name="connsiteX4" fmla="*/ 75051 w 551301"/>
                  <a:gd name="connsiteY4" fmla="*/ 0 h 1012825"/>
                  <a:gd name="connsiteX0" fmla="*/ 75051 w 574793"/>
                  <a:gd name="connsiteY0" fmla="*/ 0 h 1012825"/>
                  <a:gd name="connsiteX1" fmla="*/ 500501 w 574793"/>
                  <a:gd name="connsiteY1" fmla="*/ 0 h 1012825"/>
                  <a:gd name="connsiteX2" fmla="*/ 500501 w 574793"/>
                  <a:gd name="connsiteY2" fmla="*/ 1012825 h 1012825"/>
                  <a:gd name="connsiteX3" fmla="*/ 75051 w 574793"/>
                  <a:gd name="connsiteY3" fmla="*/ 1012825 h 1012825"/>
                  <a:gd name="connsiteX4" fmla="*/ 75051 w 574793"/>
                  <a:gd name="connsiteY4" fmla="*/ 0 h 1012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793" h="1012825">
                    <a:moveTo>
                      <a:pt x="75051" y="0"/>
                    </a:moveTo>
                    <a:lnTo>
                      <a:pt x="500501" y="0"/>
                    </a:lnTo>
                    <a:cubicBezTo>
                      <a:pt x="614801" y="337608"/>
                      <a:pt x="583051" y="764117"/>
                      <a:pt x="500501" y="1012825"/>
                    </a:cubicBezTo>
                    <a:lnTo>
                      <a:pt x="75051" y="1012825"/>
                    </a:lnTo>
                    <a:cubicBezTo>
                      <a:pt x="-20199" y="760942"/>
                      <a:pt x="-29724" y="318558"/>
                      <a:pt x="75051"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75" name="Rectangle 28"/>
              <p:cNvSpPr/>
              <p:nvPr/>
            </p:nvSpPr>
            <p:spPr>
              <a:xfrm>
                <a:off x="7052896" y="3505183"/>
                <a:ext cx="49773" cy="81091"/>
              </a:xfrm>
              <a:custGeom>
                <a:avLst/>
                <a:gdLst>
                  <a:gd name="connsiteX0" fmla="*/ 0 w 425450"/>
                  <a:gd name="connsiteY0" fmla="*/ 0 h 1012825"/>
                  <a:gd name="connsiteX1" fmla="*/ 425450 w 425450"/>
                  <a:gd name="connsiteY1" fmla="*/ 0 h 1012825"/>
                  <a:gd name="connsiteX2" fmla="*/ 425450 w 425450"/>
                  <a:gd name="connsiteY2" fmla="*/ 1012825 h 1012825"/>
                  <a:gd name="connsiteX3" fmla="*/ 0 w 425450"/>
                  <a:gd name="connsiteY3" fmla="*/ 1012825 h 1012825"/>
                  <a:gd name="connsiteX4" fmla="*/ 0 w 425450"/>
                  <a:gd name="connsiteY4" fmla="*/ 0 h 1012825"/>
                  <a:gd name="connsiteX0" fmla="*/ 46566 w 472016"/>
                  <a:gd name="connsiteY0" fmla="*/ 0 h 1012825"/>
                  <a:gd name="connsiteX1" fmla="*/ 472016 w 472016"/>
                  <a:gd name="connsiteY1" fmla="*/ 0 h 1012825"/>
                  <a:gd name="connsiteX2" fmla="*/ 472016 w 472016"/>
                  <a:gd name="connsiteY2" fmla="*/ 1012825 h 1012825"/>
                  <a:gd name="connsiteX3" fmla="*/ 46566 w 472016"/>
                  <a:gd name="connsiteY3" fmla="*/ 1012825 h 1012825"/>
                  <a:gd name="connsiteX4" fmla="*/ 46566 w 472016"/>
                  <a:gd name="connsiteY4" fmla="*/ 0 h 1012825"/>
                  <a:gd name="connsiteX0" fmla="*/ 75051 w 500501"/>
                  <a:gd name="connsiteY0" fmla="*/ 0 h 1012825"/>
                  <a:gd name="connsiteX1" fmla="*/ 500501 w 500501"/>
                  <a:gd name="connsiteY1" fmla="*/ 0 h 1012825"/>
                  <a:gd name="connsiteX2" fmla="*/ 500501 w 500501"/>
                  <a:gd name="connsiteY2" fmla="*/ 1012825 h 1012825"/>
                  <a:gd name="connsiteX3" fmla="*/ 75051 w 500501"/>
                  <a:gd name="connsiteY3" fmla="*/ 1012825 h 1012825"/>
                  <a:gd name="connsiteX4" fmla="*/ 75051 w 500501"/>
                  <a:gd name="connsiteY4" fmla="*/ 0 h 1012825"/>
                  <a:gd name="connsiteX0" fmla="*/ 75051 w 551301"/>
                  <a:gd name="connsiteY0" fmla="*/ 0 h 1012825"/>
                  <a:gd name="connsiteX1" fmla="*/ 500501 w 551301"/>
                  <a:gd name="connsiteY1" fmla="*/ 0 h 1012825"/>
                  <a:gd name="connsiteX2" fmla="*/ 500501 w 551301"/>
                  <a:gd name="connsiteY2" fmla="*/ 1012825 h 1012825"/>
                  <a:gd name="connsiteX3" fmla="*/ 75051 w 551301"/>
                  <a:gd name="connsiteY3" fmla="*/ 1012825 h 1012825"/>
                  <a:gd name="connsiteX4" fmla="*/ 75051 w 551301"/>
                  <a:gd name="connsiteY4" fmla="*/ 0 h 1012825"/>
                  <a:gd name="connsiteX0" fmla="*/ 75051 w 574793"/>
                  <a:gd name="connsiteY0" fmla="*/ 0 h 1012825"/>
                  <a:gd name="connsiteX1" fmla="*/ 500501 w 574793"/>
                  <a:gd name="connsiteY1" fmla="*/ 0 h 1012825"/>
                  <a:gd name="connsiteX2" fmla="*/ 500501 w 574793"/>
                  <a:gd name="connsiteY2" fmla="*/ 1012825 h 1012825"/>
                  <a:gd name="connsiteX3" fmla="*/ 75051 w 574793"/>
                  <a:gd name="connsiteY3" fmla="*/ 1012825 h 1012825"/>
                  <a:gd name="connsiteX4" fmla="*/ 75051 w 574793"/>
                  <a:gd name="connsiteY4" fmla="*/ 0 h 1012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793" h="1012825">
                    <a:moveTo>
                      <a:pt x="75051" y="0"/>
                    </a:moveTo>
                    <a:lnTo>
                      <a:pt x="500501" y="0"/>
                    </a:lnTo>
                    <a:cubicBezTo>
                      <a:pt x="614801" y="337608"/>
                      <a:pt x="583051" y="764117"/>
                      <a:pt x="500501" y="1012825"/>
                    </a:cubicBezTo>
                    <a:lnTo>
                      <a:pt x="75051" y="1012825"/>
                    </a:lnTo>
                    <a:cubicBezTo>
                      <a:pt x="-20199" y="760942"/>
                      <a:pt x="-29724" y="318558"/>
                      <a:pt x="75051"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sp>
            <p:nvSpPr>
              <p:cNvPr id="76" name="Rectangle 28"/>
              <p:cNvSpPr/>
              <p:nvPr/>
            </p:nvSpPr>
            <p:spPr>
              <a:xfrm>
                <a:off x="7159019" y="3505183"/>
                <a:ext cx="49773" cy="81091"/>
              </a:xfrm>
              <a:custGeom>
                <a:avLst/>
                <a:gdLst>
                  <a:gd name="connsiteX0" fmla="*/ 0 w 425450"/>
                  <a:gd name="connsiteY0" fmla="*/ 0 h 1012825"/>
                  <a:gd name="connsiteX1" fmla="*/ 425450 w 425450"/>
                  <a:gd name="connsiteY1" fmla="*/ 0 h 1012825"/>
                  <a:gd name="connsiteX2" fmla="*/ 425450 w 425450"/>
                  <a:gd name="connsiteY2" fmla="*/ 1012825 h 1012825"/>
                  <a:gd name="connsiteX3" fmla="*/ 0 w 425450"/>
                  <a:gd name="connsiteY3" fmla="*/ 1012825 h 1012825"/>
                  <a:gd name="connsiteX4" fmla="*/ 0 w 425450"/>
                  <a:gd name="connsiteY4" fmla="*/ 0 h 1012825"/>
                  <a:gd name="connsiteX0" fmla="*/ 46566 w 472016"/>
                  <a:gd name="connsiteY0" fmla="*/ 0 h 1012825"/>
                  <a:gd name="connsiteX1" fmla="*/ 472016 w 472016"/>
                  <a:gd name="connsiteY1" fmla="*/ 0 h 1012825"/>
                  <a:gd name="connsiteX2" fmla="*/ 472016 w 472016"/>
                  <a:gd name="connsiteY2" fmla="*/ 1012825 h 1012825"/>
                  <a:gd name="connsiteX3" fmla="*/ 46566 w 472016"/>
                  <a:gd name="connsiteY3" fmla="*/ 1012825 h 1012825"/>
                  <a:gd name="connsiteX4" fmla="*/ 46566 w 472016"/>
                  <a:gd name="connsiteY4" fmla="*/ 0 h 1012825"/>
                  <a:gd name="connsiteX0" fmla="*/ 75051 w 500501"/>
                  <a:gd name="connsiteY0" fmla="*/ 0 h 1012825"/>
                  <a:gd name="connsiteX1" fmla="*/ 500501 w 500501"/>
                  <a:gd name="connsiteY1" fmla="*/ 0 h 1012825"/>
                  <a:gd name="connsiteX2" fmla="*/ 500501 w 500501"/>
                  <a:gd name="connsiteY2" fmla="*/ 1012825 h 1012825"/>
                  <a:gd name="connsiteX3" fmla="*/ 75051 w 500501"/>
                  <a:gd name="connsiteY3" fmla="*/ 1012825 h 1012825"/>
                  <a:gd name="connsiteX4" fmla="*/ 75051 w 500501"/>
                  <a:gd name="connsiteY4" fmla="*/ 0 h 1012825"/>
                  <a:gd name="connsiteX0" fmla="*/ 75051 w 551301"/>
                  <a:gd name="connsiteY0" fmla="*/ 0 h 1012825"/>
                  <a:gd name="connsiteX1" fmla="*/ 500501 w 551301"/>
                  <a:gd name="connsiteY1" fmla="*/ 0 h 1012825"/>
                  <a:gd name="connsiteX2" fmla="*/ 500501 w 551301"/>
                  <a:gd name="connsiteY2" fmla="*/ 1012825 h 1012825"/>
                  <a:gd name="connsiteX3" fmla="*/ 75051 w 551301"/>
                  <a:gd name="connsiteY3" fmla="*/ 1012825 h 1012825"/>
                  <a:gd name="connsiteX4" fmla="*/ 75051 w 551301"/>
                  <a:gd name="connsiteY4" fmla="*/ 0 h 1012825"/>
                  <a:gd name="connsiteX0" fmla="*/ 75051 w 574793"/>
                  <a:gd name="connsiteY0" fmla="*/ 0 h 1012825"/>
                  <a:gd name="connsiteX1" fmla="*/ 500501 w 574793"/>
                  <a:gd name="connsiteY1" fmla="*/ 0 h 1012825"/>
                  <a:gd name="connsiteX2" fmla="*/ 500501 w 574793"/>
                  <a:gd name="connsiteY2" fmla="*/ 1012825 h 1012825"/>
                  <a:gd name="connsiteX3" fmla="*/ 75051 w 574793"/>
                  <a:gd name="connsiteY3" fmla="*/ 1012825 h 1012825"/>
                  <a:gd name="connsiteX4" fmla="*/ 75051 w 574793"/>
                  <a:gd name="connsiteY4" fmla="*/ 0 h 1012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793" h="1012825">
                    <a:moveTo>
                      <a:pt x="75051" y="0"/>
                    </a:moveTo>
                    <a:lnTo>
                      <a:pt x="500501" y="0"/>
                    </a:lnTo>
                    <a:cubicBezTo>
                      <a:pt x="614801" y="337608"/>
                      <a:pt x="583051" y="764117"/>
                      <a:pt x="500501" y="1012825"/>
                    </a:cubicBezTo>
                    <a:lnTo>
                      <a:pt x="75051" y="1012825"/>
                    </a:lnTo>
                    <a:cubicBezTo>
                      <a:pt x="-20199" y="760942"/>
                      <a:pt x="-29724" y="318558"/>
                      <a:pt x="75051"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Arial" panose="020B0604020202020204" pitchFamily="34" charset="0"/>
                  <a:cs typeface="Arial" panose="020B0604020202020204" pitchFamily="34" charset="0"/>
                </a:endParaRPr>
              </a:p>
            </p:txBody>
          </p:sp>
        </p:grpSp>
        <p:sp>
          <p:nvSpPr>
            <p:cNvPr id="23" name="Freeform 6"/>
            <p:cNvSpPr/>
            <p:nvPr/>
          </p:nvSpPr>
          <p:spPr>
            <a:xfrm>
              <a:off x="1627355" y="2466615"/>
              <a:ext cx="7717248" cy="2629371"/>
            </a:xfrm>
            <a:custGeom>
              <a:avLst/>
              <a:gdLst>
                <a:gd name="connsiteX0" fmla="*/ 0 w 7409329"/>
                <a:gd name="connsiteY0" fmla="*/ 2756647 h 2756647"/>
                <a:gd name="connsiteX1" fmla="*/ 1344706 w 7409329"/>
                <a:gd name="connsiteY1" fmla="*/ 1775012 h 2756647"/>
                <a:gd name="connsiteX2" fmla="*/ 2084294 w 7409329"/>
                <a:gd name="connsiteY2" fmla="*/ 2017059 h 2756647"/>
                <a:gd name="connsiteX3" fmla="*/ 2675965 w 7409329"/>
                <a:gd name="connsiteY3" fmla="*/ 1788459 h 2756647"/>
                <a:gd name="connsiteX4" fmla="*/ 3563470 w 7409329"/>
                <a:gd name="connsiteY4" fmla="*/ 1062318 h 2756647"/>
                <a:gd name="connsiteX5" fmla="*/ 4222376 w 7409329"/>
                <a:gd name="connsiteY5" fmla="*/ 1250577 h 2756647"/>
                <a:gd name="connsiteX6" fmla="*/ 4894729 w 7409329"/>
                <a:gd name="connsiteY6" fmla="*/ 968188 h 2756647"/>
                <a:gd name="connsiteX7" fmla="*/ 5230906 w 7409329"/>
                <a:gd name="connsiteY7" fmla="*/ 389965 h 2756647"/>
                <a:gd name="connsiteX8" fmla="*/ 5983941 w 7409329"/>
                <a:gd name="connsiteY8" fmla="*/ 403412 h 2756647"/>
                <a:gd name="connsiteX9" fmla="*/ 6629400 w 7409329"/>
                <a:gd name="connsiteY9" fmla="*/ 551330 h 2756647"/>
                <a:gd name="connsiteX10" fmla="*/ 7409329 w 7409329"/>
                <a:gd name="connsiteY10" fmla="*/ 0 h 2756647"/>
                <a:gd name="connsiteX0" fmla="*/ 0 w 7409329"/>
                <a:gd name="connsiteY0" fmla="*/ 2756647 h 2756647"/>
                <a:gd name="connsiteX1" fmla="*/ 1311369 w 7409329"/>
                <a:gd name="connsiteY1" fmla="*/ 1822637 h 2756647"/>
                <a:gd name="connsiteX2" fmla="*/ 2084294 w 7409329"/>
                <a:gd name="connsiteY2" fmla="*/ 2017059 h 2756647"/>
                <a:gd name="connsiteX3" fmla="*/ 2675965 w 7409329"/>
                <a:gd name="connsiteY3" fmla="*/ 1788459 h 2756647"/>
                <a:gd name="connsiteX4" fmla="*/ 3563470 w 7409329"/>
                <a:gd name="connsiteY4" fmla="*/ 1062318 h 2756647"/>
                <a:gd name="connsiteX5" fmla="*/ 4222376 w 7409329"/>
                <a:gd name="connsiteY5" fmla="*/ 1250577 h 2756647"/>
                <a:gd name="connsiteX6" fmla="*/ 4894729 w 7409329"/>
                <a:gd name="connsiteY6" fmla="*/ 968188 h 2756647"/>
                <a:gd name="connsiteX7" fmla="*/ 5230906 w 7409329"/>
                <a:gd name="connsiteY7" fmla="*/ 389965 h 2756647"/>
                <a:gd name="connsiteX8" fmla="*/ 5983941 w 7409329"/>
                <a:gd name="connsiteY8" fmla="*/ 403412 h 2756647"/>
                <a:gd name="connsiteX9" fmla="*/ 6629400 w 7409329"/>
                <a:gd name="connsiteY9" fmla="*/ 551330 h 2756647"/>
                <a:gd name="connsiteX10" fmla="*/ 7409329 w 7409329"/>
                <a:gd name="connsiteY10" fmla="*/ 0 h 2756647"/>
                <a:gd name="connsiteX0" fmla="*/ 0 w 7409329"/>
                <a:gd name="connsiteY0" fmla="*/ 2756647 h 2756647"/>
                <a:gd name="connsiteX1" fmla="*/ 1311369 w 7409329"/>
                <a:gd name="connsiteY1" fmla="*/ 1822637 h 2756647"/>
                <a:gd name="connsiteX2" fmla="*/ 2084294 w 7409329"/>
                <a:gd name="connsiteY2" fmla="*/ 2017059 h 2756647"/>
                <a:gd name="connsiteX3" fmla="*/ 2675965 w 7409329"/>
                <a:gd name="connsiteY3" fmla="*/ 1788459 h 2756647"/>
                <a:gd name="connsiteX4" fmla="*/ 3563470 w 7409329"/>
                <a:gd name="connsiteY4" fmla="*/ 1062318 h 2756647"/>
                <a:gd name="connsiteX5" fmla="*/ 4222376 w 7409329"/>
                <a:gd name="connsiteY5" fmla="*/ 1250577 h 2756647"/>
                <a:gd name="connsiteX6" fmla="*/ 4894729 w 7409329"/>
                <a:gd name="connsiteY6" fmla="*/ 968188 h 2756647"/>
                <a:gd name="connsiteX7" fmla="*/ 5230906 w 7409329"/>
                <a:gd name="connsiteY7" fmla="*/ 389965 h 2756647"/>
                <a:gd name="connsiteX8" fmla="*/ 5983941 w 7409329"/>
                <a:gd name="connsiteY8" fmla="*/ 403412 h 2756647"/>
                <a:gd name="connsiteX9" fmla="*/ 6629400 w 7409329"/>
                <a:gd name="connsiteY9" fmla="*/ 551330 h 2756647"/>
                <a:gd name="connsiteX10" fmla="*/ 7409329 w 7409329"/>
                <a:gd name="connsiteY10" fmla="*/ 0 h 2756647"/>
                <a:gd name="connsiteX0" fmla="*/ 0 w 7416473"/>
                <a:gd name="connsiteY0" fmla="*/ 2794747 h 2794747"/>
                <a:gd name="connsiteX1" fmla="*/ 1318513 w 7416473"/>
                <a:gd name="connsiteY1" fmla="*/ 1822637 h 2794747"/>
                <a:gd name="connsiteX2" fmla="*/ 2091438 w 7416473"/>
                <a:gd name="connsiteY2" fmla="*/ 2017059 h 2794747"/>
                <a:gd name="connsiteX3" fmla="*/ 2683109 w 7416473"/>
                <a:gd name="connsiteY3" fmla="*/ 1788459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91438 w 7416473"/>
                <a:gd name="connsiteY2" fmla="*/ 2017059 h 2794747"/>
                <a:gd name="connsiteX3" fmla="*/ 2683109 w 7416473"/>
                <a:gd name="connsiteY3" fmla="*/ 1788459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91438 w 7416473"/>
                <a:gd name="connsiteY2" fmla="*/ 2017059 h 2794747"/>
                <a:gd name="connsiteX3" fmla="*/ 2683109 w 7416473"/>
                <a:gd name="connsiteY3" fmla="*/ 1788459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91438 w 7416473"/>
                <a:gd name="connsiteY2" fmla="*/ 2017059 h 2794747"/>
                <a:gd name="connsiteX3" fmla="*/ 2683109 w 7416473"/>
                <a:gd name="connsiteY3" fmla="*/ 1788459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683109 w 7416473"/>
                <a:gd name="connsiteY3" fmla="*/ 1788459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683109 w 7416473"/>
                <a:gd name="connsiteY3" fmla="*/ 1788459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683109 w 7416473"/>
                <a:gd name="connsiteY3" fmla="*/ 1788459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683109 w 7416473"/>
                <a:gd name="connsiteY3" fmla="*/ 1788459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683109 w 7416473"/>
                <a:gd name="connsiteY3" fmla="*/ 1788459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683109 w 7416473"/>
                <a:gd name="connsiteY3" fmla="*/ 1788459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683109 w 7416473"/>
                <a:gd name="connsiteY3" fmla="*/ 1788459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570614 w 7416473"/>
                <a:gd name="connsiteY4" fmla="*/ 1062318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229520 w 7416473"/>
                <a:gd name="connsiteY5" fmla="*/ 1250577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62845 w 7416473"/>
                <a:gd name="connsiteY5" fmla="*/ 1141039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62845 w 7416473"/>
                <a:gd name="connsiteY5" fmla="*/ 1141039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62845 w 7416473"/>
                <a:gd name="connsiteY5" fmla="*/ 1141039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901873 w 7416473"/>
                <a:gd name="connsiteY6" fmla="*/ 968188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38050 w 7416473"/>
                <a:gd name="connsiteY7" fmla="*/ 3899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280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280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280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280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280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28065 h 2794747"/>
                <a:gd name="connsiteX8" fmla="*/ 5991085 w 7416473"/>
                <a:gd name="connsiteY8" fmla="*/ 403412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28065 h 2794747"/>
                <a:gd name="connsiteX8" fmla="*/ 5972035 w 7416473"/>
                <a:gd name="connsiteY8" fmla="*/ 370075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28065 h 2794747"/>
                <a:gd name="connsiteX8" fmla="*/ 5972035 w 7416473"/>
                <a:gd name="connsiteY8" fmla="*/ 370075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28065 h 2794747"/>
                <a:gd name="connsiteX8" fmla="*/ 5972035 w 7416473"/>
                <a:gd name="connsiteY8" fmla="*/ 370075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44734 h 2794747"/>
                <a:gd name="connsiteX8" fmla="*/ 5972035 w 7416473"/>
                <a:gd name="connsiteY8" fmla="*/ 370075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44734 h 2794747"/>
                <a:gd name="connsiteX8" fmla="*/ 5972035 w 7416473"/>
                <a:gd name="connsiteY8" fmla="*/ 370075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636544 w 7416473"/>
                <a:gd name="connsiteY9" fmla="*/ 551330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7384 w 7416473"/>
                <a:gd name="connsiteY3" fmla="*/ 1819415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1042 w 7416473"/>
                <a:gd name="connsiteY3" fmla="*/ 1884961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1042 w 7416473"/>
                <a:gd name="connsiteY3" fmla="*/ 1884961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1042 w 7416473"/>
                <a:gd name="connsiteY3" fmla="*/ 1944164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1042 w 7416473"/>
                <a:gd name="connsiteY3" fmla="*/ 1944164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1042 w 7416473"/>
                <a:gd name="connsiteY3" fmla="*/ 1944164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1042 w 7416473"/>
                <a:gd name="connsiteY3" fmla="*/ 1944164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1042 w 7416473"/>
                <a:gd name="connsiteY3" fmla="*/ 1944164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5972035 w 7416473"/>
                <a:gd name="connsiteY8" fmla="*/ 370075 h 2794747"/>
                <a:gd name="connsiteX9" fmla="*/ 6700838 w 7416473"/>
                <a:gd name="connsiteY9" fmla="*/ 598955 h 2794747"/>
                <a:gd name="connsiteX10" fmla="*/ 7416473 w 7416473"/>
                <a:gd name="connsiteY10"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1042 w 7416473"/>
                <a:gd name="connsiteY3" fmla="*/ 1944164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6700838 w 7416473"/>
                <a:gd name="connsiteY8" fmla="*/ 598955 h 2794747"/>
                <a:gd name="connsiteX9" fmla="*/ 7416473 w 7416473"/>
                <a:gd name="connsiteY9"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1042 w 7416473"/>
                <a:gd name="connsiteY3" fmla="*/ 1944164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6700838 w 7416473"/>
                <a:gd name="connsiteY8" fmla="*/ 598955 h 2794747"/>
                <a:gd name="connsiteX9" fmla="*/ 7416473 w 7416473"/>
                <a:gd name="connsiteY9"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1042 w 7416473"/>
                <a:gd name="connsiteY3" fmla="*/ 1944164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6700838 w 7416473"/>
                <a:gd name="connsiteY8" fmla="*/ 598955 h 2794747"/>
                <a:gd name="connsiteX9" fmla="*/ 7416473 w 7416473"/>
                <a:gd name="connsiteY9"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1042 w 7416473"/>
                <a:gd name="connsiteY3" fmla="*/ 1944164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6700838 w 7416473"/>
                <a:gd name="connsiteY8" fmla="*/ 598955 h 2794747"/>
                <a:gd name="connsiteX9" fmla="*/ 7416473 w 7416473"/>
                <a:gd name="connsiteY9"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1042 w 7416473"/>
                <a:gd name="connsiteY3" fmla="*/ 1944164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6700838 w 7416473"/>
                <a:gd name="connsiteY8" fmla="*/ 598955 h 2794747"/>
                <a:gd name="connsiteX9" fmla="*/ 7416473 w 7416473"/>
                <a:gd name="connsiteY9" fmla="*/ 0 h 2794747"/>
                <a:gd name="connsiteX0" fmla="*/ 0 w 7416473"/>
                <a:gd name="connsiteY0" fmla="*/ 2794747 h 2794747"/>
                <a:gd name="connsiteX1" fmla="*/ 1318513 w 7416473"/>
                <a:gd name="connsiteY1" fmla="*/ 1822637 h 2794747"/>
                <a:gd name="connsiteX2" fmla="*/ 2060482 w 7416473"/>
                <a:gd name="connsiteY2" fmla="*/ 1990865 h 2794747"/>
                <a:gd name="connsiteX3" fmla="*/ 2591042 w 7416473"/>
                <a:gd name="connsiteY3" fmla="*/ 1944164 h 2794747"/>
                <a:gd name="connsiteX4" fmla="*/ 3632527 w 7416473"/>
                <a:gd name="connsiteY4" fmla="*/ 1040886 h 2794747"/>
                <a:gd name="connsiteX5" fmla="*/ 4150939 w 7416473"/>
                <a:gd name="connsiteY5" fmla="*/ 1162470 h 2794747"/>
                <a:gd name="connsiteX6" fmla="*/ 4809004 w 7416473"/>
                <a:gd name="connsiteY6" fmla="*/ 920563 h 2794747"/>
                <a:gd name="connsiteX7" fmla="*/ 5271387 w 7416473"/>
                <a:gd name="connsiteY7" fmla="*/ 439972 h 2794747"/>
                <a:gd name="connsiteX8" fmla="*/ 6700838 w 7416473"/>
                <a:gd name="connsiteY8" fmla="*/ 598955 h 2794747"/>
                <a:gd name="connsiteX9" fmla="*/ 7416473 w 7416473"/>
                <a:gd name="connsiteY9" fmla="*/ 0 h 2794747"/>
                <a:gd name="connsiteX0" fmla="*/ 0 w 7416473"/>
                <a:gd name="connsiteY0" fmla="*/ 2794747 h 2794747"/>
                <a:gd name="connsiteX1" fmla="*/ 1318513 w 7416473"/>
                <a:gd name="connsiteY1" fmla="*/ 1822637 h 2794747"/>
                <a:gd name="connsiteX2" fmla="*/ 2591042 w 7416473"/>
                <a:gd name="connsiteY2" fmla="*/ 1944164 h 2794747"/>
                <a:gd name="connsiteX3" fmla="*/ 3632527 w 7416473"/>
                <a:gd name="connsiteY3" fmla="*/ 1040886 h 2794747"/>
                <a:gd name="connsiteX4" fmla="*/ 4150939 w 7416473"/>
                <a:gd name="connsiteY4" fmla="*/ 1162470 h 2794747"/>
                <a:gd name="connsiteX5" fmla="*/ 4809004 w 7416473"/>
                <a:gd name="connsiteY5" fmla="*/ 920563 h 2794747"/>
                <a:gd name="connsiteX6" fmla="*/ 5271387 w 7416473"/>
                <a:gd name="connsiteY6" fmla="*/ 439972 h 2794747"/>
                <a:gd name="connsiteX7" fmla="*/ 6700838 w 7416473"/>
                <a:gd name="connsiteY7" fmla="*/ 598955 h 2794747"/>
                <a:gd name="connsiteX8" fmla="*/ 7416473 w 7416473"/>
                <a:gd name="connsiteY8" fmla="*/ 0 h 2794747"/>
                <a:gd name="connsiteX0" fmla="*/ 0 w 7416473"/>
                <a:gd name="connsiteY0" fmla="*/ 2794747 h 2794747"/>
                <a:gd name="connsiteX1" fmla="*/ 1318513 w 7416473"/>
                <a:gd name="connsiteY1" fmla="*/ 1822637 h 2794747"/>
                <a:gd name="connsiteX2" fmla="*/ 2591042 w 7416473"/>
                <a:gd name="connsiteY2" fmla="*/ 1944164 h 2794747"/>
                <a:gd name="connsiteX3" fmla="*/ 3632527 w 7416473"/>
                <a:gd name="connsiteY3" fmla="*/ 1040886 h 2794747"/>
                <a:gd name="connsiteX4" fmla="*/ 4150939 w 7416473"/>
                <a:gd name="connsiteY4" fmla="*/ 1162470 h 2794747"/>
                <a:gd name="connsiteX5" fmla="*/ 4809004 w 7416473"/>
                <a:gd name="connsiteY5" fmla="*/ 920563 h 2794747"/>
                <a:gd name="connsiteX6" fmla="*/ 5271387 w 7416473"/>
                <a:gd name="connsiteY6" fmla="*/ 439972 h 2794747"/>
                <a:gd name="connsiteX7" fmla="*/ 6700838 w 7416473"/>
                <a:gd name="connsiteY7" fmla="*/ 598955 h 2794747"/>
                <a:gd name="connsiteX8" fmla="*/ 7416473 w 7416473"/>
                <a:gd name="connsiteY8" fmla="*/ 0 h 2794747"/>
                <a:gd name="connsiteX0" fmla="*/ 0 w 7416473"/>
                <a:gd name="connsiteY0" fmla="*/ 2794747 h 2794747"/>
                <a:gd name="connsiteX1" fmla="*/ 1318513 w 7416473"/>
                <a:gd name="connsiteY1" fmla="*/ 1822637 h 2794747"/>
                <a:gd name="connsiteX2" fmla="*/ 2591042 w 7416473"/>
                <a:gd name="connsiteY2" fmla="*/ 1944164 h 2794747"/>
                <a:gd name="connsiteX3" fmla="*/ 3632527 w 7416473"/>
                <a:gd name="connsiteY3" fmla="*/ 1040886 h 2794747"/>
                <a:gd name="connsiteX4" fmla="*/ 4150939 w 7416473"/>
                <a:gd name="connsiteY4" fmla="*/ 1162470 h 2794747"/>
                <a:gd name="connsiteX5" fmla="*/ 4809004 w 7416473"/>
                <a:gd name="connsiteY5" fmla="*/ 920563 h 2794747"/>
                <a:gd name="connsiteX6" fmla="*/ 5271387 w 7416473"/>
                <a:gd name="connsiteY6" fmla="*/ 439972 h 2794747"/>
                <a:gd name="connsiteX7" fmla="*/ 6700838 w 7416473"/>
                <a:gd name="connsiteY7" fmla="*/ 598955 h 2794747"/>
                <a:gd name="connsiteX8" fmla="*/ 7416473 w 7416473"/>
                <a:gd name="connsiteY8" fmla="*/ 0 h 2794747"/>
                <a:gd name="connsiteX0" fmla="*/ 0 w 7416473"/>
                <a:gd name="connsiteY0" fmla="*/ 2794747 h 2794747"/>
                <a:gd name="connsiteX1" fmla="*/ 1318513 w 7416473"/>
                <a:gd name="connsiteY1" fmla="*/ 1822637 h 2794747"/>
                <a:gd name="connsiteX2" fmla="*/ 2591042 w 7416473"/>
                <a:gd name="connsiteY2" fmla="*/ 1944164 h 2794747"/>
                <a:gd name="connsiteX3" fmla="*/ 3632527 w 7416473"/>
                <a:gd name="connsiteY3" fmla="*/ 1040886 h 2794747"/>
                <a:gd name="connsiteX4" fmla="*/ 4150939 w 7416473"/>
                <a:gd name="connsiteY4" fmla="*/ 1162470 h 2794747"/>
                <a:gd name="connsiteX5" fmla="*/ 4809004 w 7416473"/>
                <a:gd name="connsiteY5" fmla="*/ 920563 h 2794747"/>
                <a:gd name="connsiteX6" fmla="*/ 5271387 w 7416473"/>
                <a:gd name="connsiteY6" fmla="*/ 439972 h 2794747"/>
                <a:gd name="connsiteX7" fmla="*/ 6700838 w 7416473"/>
                <a:gd name="connsiteY7" fmla="*/ 598955 h 2794747"/>
                <a:gd name="connsiteX8" fmla="*/ 7416473 w 7416473"/>
                <a:gd name="connsiteY8" fmla="*/ 0 h 2794747"/>
                <a:gd name="connsiteX0" fmla="*/ 0 w 7416473"/>
                <a:gd name="connsiteY0" fmla="*/ 2794747 h 2794747"/>
                <a:gd name="connsiteX1" fmla="*/ 1318513 w 7416473"/>
                <a:gd name="connsiteY1" fmla="*/ 1822637 h 2794747"/>
                <a:gd name="connsiteX2" fmla="*/ 2591042 w 7416473"/>
                <a:gd name="connsiteY2" fmla="*/ 1944164 h 2794747"/>
                <a:gd name="connsiteX3" fmla="*/ 3632527 w 7416473"/>
                <a:gd name="connsiteY3" fmla="*/ 1040886 h 2794747"/>
                <a:gd name="connsiteX4" fmla="*/ 4150939 w 7416473"/>
                <a:gd name="connsiteY4" fmla="*/ 1162470 h 2794747"/>
                <a:gd name="connsiteX5" fmla="*/ 4809004 w 7416473"/>
                <a:gd name="connsiteY5" fmla="*/ 920563 h 2794747"/>
                <a:gd name="connsiteX6" fmla="*/ 5271387 w 7416473"/>
                <a:gd name="connsiteY6" fmla="*/ 439972 h 2794747"/>
                <a:gd name="connsiteX7" fmla="*/ 6700838 w 7416473"/>
                <a:gd name="connsiteY7" fmla="*/ 598955 h 2794747"/>
                <a:gd name="connsiteX8" fmla="*/ 7416473 w 7416473"/>
                <a:gd name="connsiteY8" fmla="*/ 0 h 2794747"/>
                <a:gd name="connsiteX0" fmla="*/ 0 w 7416473"/>
                <a:gd name="connsiteY0" fmla="*/ 2794747 h 2794747"/>
                <a:gd name="connsiteX1" fmla="*/ 1318513 w 7416473"/>
                <a:gd name="connsiteY1" fmla="*/ 1822637 h 2794747"/>
                <a:gd name="connsiteX2" fmla="*/ 2591042 w 7416473"/>
                <a:gd name="connsiteY2" fmla="*/ 1944164 h 2794747"/>
                <a:gd name="connsiteX3" fmla="*/ 3632527 w 7416473"/>
                <a:gd name="connsiteY3" fmla="*/ 1040886 h 2794747"/>
                <a:gd name="connsiteX4" fmla="*/ 4150939 w 7416473"/>
                <a:gd name="connsiteY4" fmla="*/ 1162470 h 2794747"/>
                <a:gd name="connsiteX5" fmla="*/ 4809004 w 7416473"/>
                <a:gd name="connsiteY5" fmla="*/ 920563 h 2794747"/>
                <a:gd name="connsiteX6" fmla="*/ 5271387 w 7416473"/>
                <a:gd name="connsiteY6" fmla="*/ 439972 h 2794747"/>
                <a:gd name="connsiteX7" fmla="*/ 6700838 w 7416473"/>
                <a:gd name="connsiteY7" fmla="*/ 598955 h 2794747"/>
                <a:gd name="connsiteX8" fmla="*/ 7416473 w 7416473"/>
                <a:gd name="connsiteY8" fmla="*/ 0 h 2794747"/>
                <a:gd name="connsiteX0" fmla="*/ 0 w 7416473"/>
                <a:gd name="connsiteY0" fmla="*/ 2794747 h 2794747"/>
                <a:gd name="connsiteX1" fmla="*/ 1318513 w 7416473"/>
                <a:gd name="connsiteY1" fmla="*/ 1822637 h 2794747"/>
                <a:gd name="connsiteX2" fmla="*/ 2591042 w 7416473"/>
                <a:gd name="connsiteY2" fmla="*/ 1944164 h 2794747"/>
                <a:gd name="connsiteX3" fmla="*/ 3632527 w 7416473"/>
                <a:gd name="connsiteY3" fmla="*/ 1040886 h 2794747"/>
                <a:gd name="connsiteX4" fmla="*/ 4150939 w 7416473"/>
                <a:gd name="connsiteY4" fmla="*/ 1162470 h 2794747"/>
                <a:gd name="connsiteX5" fmla="*/ 4622939 w 7416473"/>
                <a:gd name="connsiteY5" fmla="*/ 1106628 h 2794747"/>
                <a:gd name="connsiteX6" fmla="*/ 5271387 w 7416473"/>
                <a:gd name="connsiteY6" fmla="*/ 439972 h 2794747"/>
                <a:gd name="connsiteX7" fmla="*/ 6700838 w 7416473"/>
                <a:gd name="connsiteY7" fmla="*/ 598955 h 2794747"/>
                <a:gd name="connsiteX8" fmla="*/ 7416473 w 7416473"/>
                <a:gd name="connsiteY8" fmla="*/ 0 h 2794747"/>
                <a:gd name="connsiteX0" fmla="*/ 0 w 7416473"/>
                <a:gd name="connsiteY0" fmla="*/ 2794747 h 2794747"/>
                <a:gd name="connsiteX1" fmla="*/ 1318513 w 7416473"/>
                <a:gd name="connsiteY1" fmla="*/ 1822637 h 2794747"/>
                <a:gd name="connsiteX2" fmla="*/ 2591042 w 7416473"/>
                <a:gd name="connsiteY2" fmla="*/ 1944164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18513 w 7416473"/>
                <a:gd name="connsiteY1" fmla="*/ 1822637 h 2794747"/>
                <a:gd name="connsiteX2" fmla="*/ 2591042 w 7416473"/>
                <a:gd name="connsiteY2" fmla="*/ 1944164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18513 w 7416473"/>
                <a:gd name="connsiteY1" fmla="*/ 1822637 h 2794747"/>
                <a:gd name="connsiteX2" fmla="*/ 2591042 w 7416473"/>
                <a:gd name="connsiteY2" fmla="*/ 1944164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18513 w 7416473"/>
                <a:gd name="connsiteY1" fmla="*/ 1822637 h 2794747"/>
                <a:gd name="connsiteX2" fmla="*/ 2591042 w 7416473"/>
                <a:gd name="connsiteY2" fmla="*/ 1944164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18513 w 7416473"/>
                <a:gd name="connsiteY1" fmla="*/ 1822637 h 2794747"/>
                <a:gd name="connsiteX2" fmla="*/ 2591042 w 7416473"/>
                <a:gd name="connsiteY2" fmla="*/ 1944164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18513 w 7416473"/>
                <a:gd name="connsiteY1" fmla="*/ 1822637 h 2794747"/>
                <a:gd name="connsiteX2" fmla="*/ 2591042 w 7416473"/>
                <a:gd name="connsiteY2" fmla="*/ 1944164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51767 w 7416473"/>
                <a:gd name="connsiteY1" fmla="*/ 1600937 h 2794747"/>
                <a:gd name="connsiteX2" fmla="*/ 2591042 w 7416473"/>
                <a:gd name="connsiteY2" fmla="*/ 1944164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51767 w 7416473"/>
                <a:gd name="connsiteY1" fmla="*/ 1600937 h 2794747"/>
                <a:gd name="connsiteX2" fmla="*/ 2591042 w 7416473"/>
                <a:gd name="connsiteY2" fmla="*/ 1944164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51767 w 7416473"/>
                <a:gd name="connsiteY1" fmla="*/ 1600937 h 2794747"/>
                <a:gd name="connsiteX2" fmla="*/ 2591042 w 7416473"/>
                <a:gd name="connsiteY2" fmla="*/ 1944164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51767 w 7416473"/>
                <a:gd name="connsiteY1" fmla="*/ 1600937 h 2794747"/>
                <a:gd name="connsiteX2" fmla="*/ 2591042 w 7416473"/>
                <a:gd name="connsiteY2" fmla="*/ 1944164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61870 w 7416473"/>
                <a:gd name="connsiteY1" fmla="*/ 1550419 h 2794747"/>
                <a:gd name="connsiteX2" fmla="*/ 2591042 w 7416473"/>
                <a:gd name="connsiteY2" fmla="*/ 1944164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61870 w 7416473"/>
                <a:gd name="connsiteY1" fmla="*/ 1550419 h 2794747"/>
                <a:gd name="connsiteX2" fmla="*/ 2591042 w 7416473"/>
                <a:gd name="connsiteY2" fmla="*/ 1944164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61870 w 7416473"/>
                <a:gd name="connsiteY1" fmla="*/ 1550419 h 2794747"/>
                <a:gd name="connsiteX2" fmla="*/ 2582959 w 7416473"/>
                <a:gd name="connsiteY2" fmla="*/ 1948206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61870 w 7416473"/>
                <a:gd name="connsiteY1" fmla="*/ 1550419 h 2794747"/>
                <a:gd name="connsiteX2" fmla="*/ 2582959 w 7416473"/>
                <a:gd name="connsiteY2" fmla="*/ 1948206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61870 w 7416473"/>
                <a:gd name="connsiteY1" fmla="*/ 1550419 h 2794747"/>
                <a:gd name="connsiteX2" fmla="*/ 2582959 w 7416473"/>
                <a:gd name="connsiteY2" fmla="*/ 1948206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61870 w 7416473"/>
                <a:gd name="connsiteY1" fmla="*/ 1550419 h 2794747"/>
                <a:gd name="connsiteX2" fmla="*/ 2582959 w 7416473"/>
                <a:gd name="connsiteY2" fmla="*/ 1948206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61870 w 7416473"/>
                <a:gd name="connsiteY1" fmla="*/ 1550419 h 2794747"/>
                <a:gd name="connsiteX2" fmla="*/ 2582959 w 7416473"/>
                <a:gd name="connsiteY2" fmla="*/ 1948206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61870 w 7416473"/>
                <a:gd name="connsiteY1" fmla="*/ 1550419 h 2794747"/>
                <a:gd name="connsiteX2" fmla="*/ 2582959 w 7416473"/>
                <a:gd name="connsiteY2" fmla="*/ 1948206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416473"/>
                <a:gd name="connsiteY0" fmla="*/ 2794747 h 2794747"/>
                <a:gd name="connsiteX1" fmla="*/ 1361870 w 7416473"/>
                <a:gd name="connsiteY1" fmla="*/ 1550419 h 2794747"/>
                <a:gd name="connsiteX2" fmla="*/ 2582959 w 7416473"/>
                <a:gd name="connsiteY2" fmla="*/ 1948206 h 2794747"/>
                <a:gd name="connsiteX3" fmla="*/ 3632527 w 7416473"/>
                <a:gd name="connsiteY3" fmla="*/ 1040886 h 2794747"/>
                <a:gd name="connsiteX4" fmla="*/ 4622939 w 7416473"/>
                <a:gd name="connsiteY4" fmla="*/ 1106628 h 2794747"/>
                <a:gd name="connsiteX5" fmla="*/ 5271387 w 7416473"/>
                <a:gd name="connsiteY5" fmla="*/ 439972 h 2794747"/>
                <a:gd name="connsiteX6" fmla="*/ 6700838 w 7416473"/>
                <a:gd name="connsiteY6" fmla="*/ 598955 h 2794747"/>
                <a:gd name="connsiteX7" fmla="*/ 7416473 w 7416473"/>
                <a:gd name="connsiteY7" fmla="*/ 0 h 2794747"/>
                <a:gd name="connsiteX0" fmla="*/ 0 w 7626264"/>
                <a:gd name="connsiteY0" fmla="*/ 2523252 h 2523252"/>
                <a:gd name="connsiteX1" fmla="*/ 1571661 w 7626264"/>
                <a:gd name="connsiteY1" fmla="*/ 1550419 h 2523252"/>
                <a:gd name="connsiteX2" fmla="*/ 2792750 w 7626264"/>
                <a:gd name="connsiteY2" fmla="*/ 1948206 h 2523252"/>
                <a:gd name="connsiteX3" fmla="*/ 3842318 w 7626264"/>
                <a:gd name="connsiteY3" fmla="*/ 1040886 h 2523252"/>
                <a:gd name="connsiteX4" fmla="*/ 4832730 w 7626264"/>
                <a:gd name="connsiteY4" fmla="*/ 1106628 h 2523252"/>
                <a:gd name="connsiteX5" fmla="*/ 5481178 w 7626264"/>
                <a:gd name="connsiteY5" fmla="*/ 439972 h 2523252"/>
                <a:gd name="connsiteX6" fmla="*/ 6910629 w 7626264"/>
                <a:gd name="connsiteY6" fmla="*/ 598955 h 2523252"/>
                <a:gd name="connsiteX7" fmla="*/ 7626264 w 7626264"/>
                <a:gd name="connsiteY7" fmla="*/ 0 h 2523252"/>
                <a:gd name="connsiteX0" fmla="*/ 0 w 7626264"/>
                <a:gd name="connsiteY0" fmla="*/ 2523252 h 2523252"/>
                <a:gd name="connsiteX1" fmla="*/ 1571661 w 7626264"/>
                <a:gd name="connsiteY1" fmla="*/ 1550419 h 2523252"/>
                <a:gd name="connsiteX2" fmla="*/ 2792750 w 7626264"/>
                <a:gd name="connsiteY2" fmla="*/ 1948206 h 2523252"/>
                <a:gd name="connsiteX3" fmla="*/ 3842318 w 7626264"/>
                <a:gd name="connsiteY3" fmla="*/ 1040886 h 2523252"/>
                <a:gd name="connsiteX4" fmla="*/ 4832730 w 7626264"/>
                <a:gd name="connsiteY4" fmla="*/ 1106628 h 2523252"/>
                <a:gd name="connsiteX5" fmla="*/ 5481178 w 7626264"/>
                <a:gd name="connsiteY5" fmla="*/ 439972 h 2523252"/>
                <a:gd name="connsiteX6" fmla="*/ 6910629 w 7626264"/>
                <a:gd name="connsiteY6" fmla="*/ 598955 h 2523252"/>
                <a:gd name="connsiteX7" fmla="*/ 7626264 w 7626264"/>
                <a:gd name="connsiteY7" fmla="*/ 0 h 2523252"/>
                <a:gd name="connsiteX0" fmla="*/ 0 w 7626264"/>
                <a:gd name="connsiteY0" fmla="*/ 2523252 h 2523252"/>
                <a:gd name="connsiteX1" fmla="*/ 1571661 w 7626264"/>
                <a:gd name="connsiteY1" fmla="*/ 1550419 h 2523252"/>
                <a:gd name="connsiteX2" fmla="*/ 2792750 w 7626264"/>
                <a:gd name="connsiteY2" fmla="*/ 1948206 h 2523252"/>
                <a:gd name="connsiteX3" fmla="*/ 3842318 w 7626264"/>
                <a:gd name="connsiteY3" fmla="*/ 1040886 h 2523252"/>
                <a:gd name="connsiteX4" fmla="*/ 4832730 w 7626264"/>
                <a:gd name="connsiteY4" fmla="*/ 1106628 h 2523252"/>
                <a:gd name="connsiteX5" fmla="*/ 5481178 w 7626264"/>
                <a:gd name="connsiteY5" fmla="*/ 439972 h 2523252"/>
                <a:gd name="connsiteX6" fmla="*/ 6910629 w 7626264"/>
                <a:gd name="connsiteY6" fmla="*/ 598955 h 2523252"/>
                <a:gd name="connsiteX7" fmla="*/ 7626264 w 7626264"/>
                <a:gd name="connsiteY7" fmla="*/ 0 h 2523252"/>
                <a:gd name="connsiteX0" fmla="*/ 0 w 7626264"/>
                <a:gd name="connsiteY0" fmla="*/ 2523252 h 2523252"/>
                <a:gd name="connsiteX1" fmla="*/ 1571661 w 7626264"/>
                <a:gd name="connsiteY1" fmla="*/ 1550419 h 2523252"/>
                <a:gd name="connsiteX2" fmla="*/ 2792750 w 7626264"/>
                <a:gd name="connsiteY2" fmla="*/ 1948206 h 2523252"/>
                <a:gd name="connsiteX3" fmla="*/ 3842318 w 7626264"/>
                <a:gd name="connsiteY3" fmla="*/ 1040886 h 2523252"/>
                <a:gd name="connsiteX4" fmla="*/ 4832730 w 7626264"/>
                <a:gd name="connsiteY4" fmla="*/ 1106628 h 2523252"/>
                <a:gd name="connsiteX5" fmla="*/ 5481178 w 7626264"/>
                <a:gd name="connsiteY5" fmla="*/ 439972 h 2523252"/>
                <a:gd name="connsiteX6" fmla="*/ 6910629 w 7626264"/>
                <a:gd name="connsiteY6" fmla="*/ 598955 h 2523252"/>
                <a:gd name="connsiteX7" fmla="*/ 7626264 w 7626264"/>
                <a:gd name="connsiteY7" fmla="*/ 0 h 2523252"/>
                <a:gd name="connsiteX0" fmla="*/ 0 w 7626264"/>
                <a:gd name="connsiteY0" fmla="*/ 2523252 h 2523252"/>
                <a:gd name="connsiteX1" fmla="*/ 1571661 w 7626264"/>
                <a:gd name="connsiteY1" fmla="*/ 1550419 h 2523252"/>
                <a:gd name="connsiteX2" fmla="*/ 2792750 w 7626264"/>
                <a:gd name="connsiteY2" fmla="*/ 1948206 h 2523252"/>
                <a:gd name="connsiteX3" fmla="*/ 3842318 w 7626264"/>
                <a:gd name="connsiteY3" fmla="*/ 1040886 h 2523252"/>
                <a:gd name="connsiteX4" fmla="*/ 4832730 w 7626264"/>
                <a:gd name="connsiteY4" fmla="*/ 1106628 h 2523252"/>
                <a:gd name="connsiteX5" fmla="*/ 5481178 w 7626264"/>
                <a:gd name="connsiteY5" fmla="*/ 439972 h 2523252"/>
                <a:gd name="connsiteX6" fmla="*/ 6910629 w 7626264"/>
                <a:gd name="connsiteY6" fmla="*/ 598955 h 2523252"/>
                <a:gd name="connsiteX7" fmla="*/ 7626264 w 7626264"/>
                <a:gd name="connsiteY7" fmla="*/ 0 h 2523252"/>
                <a:gd name="connsiteX0" fmla="*/ 0 w 7626264"/>
                <a:gd name="connsiteY0" fmla="*/ 2523252 h 2523252"/>
                <a:gd name="connsiteX1" fmla="*/ 1571661 w 7626264"/>
                <a:gd name="connsiteY1" fmla="*/ 1550419 h 2523252"/>
                <a:gd name="connsiteX2" fmla="*/ 2792750 w 7626264"/>
                <a:gd name="connsiteY2" fmla="*/ 1948206 h 2523252"/>
                <a:gd name="connsiteX3" fmla="*/ 3842318 w 7626264"/>
                <a:gd name="connsiteY3" fmla="*/ 1040886 h 2523252"/>
                <a:gd name="connsiteX4" fmla="*/ 4832730 w 7626264"/>
                <a:gd name="connsiteY4" fmla="*/ 1106628 h 2523252"/>
                <a:gd name="connsiteX5" fmla="*/ 5481178 w 7626264"/>
                <a:gd name="connsiteY5" fmla="*/ 439972 h 2523252"/>
                <a:gd name="connsiteX6" fmla="*/ 6910629 w 7626264"/>
                <a:gd name="connsiteY6" fmla="*/ 598955 h 2523252"/>
                <a:gd name="connsiteX7" fmla="*/ 7626264 w 7626264"/>
                <a:gd name="connsiteY7" fmla="*/ 0 h 2523252"/>
                <a:gd name="connsiteX0" fmla="*/ 0 w 7280727"/>
                <a:gd name="connsiteY0" fmla="*/ 2547933 h 2547933"/>
                <a:gd name="connsiteX1" fmla="*/ 1226124 w 7280727"/>
                <a:gd name="connsiteY1" fmla="*/ 1550419 h 2547933"/>
                <a:gd name="connsiteX2" fmla="*/ 2447213 w 7280727"/>
                <a:gd name="connsiteY2" fmla="*/ 1948206 h 2547933"/>
                <a:gd name="connsiteX3" fmla="*/ 3496781 w 7280727"/>
                <a:gd name="connsiteY3" fmla="*/ 1040886 h 2547933"/>
                <a:gd name="connsiteX4" fmla="*/ 4487193 w 7280727"/>
                <a:gd name="connsiteY4" fmla="*/ 1106628 h 2547933"/>
                <a:gd name="connsiteX5" fmla="*/ 5135641 w 7280727"/>
                <a:gd name="connsiteY5" fmla="*/ 439972 h 2547933"/>
                <a:gd name="connsiteX6" fmla="*/ 6565092 w 7280727"/>
                <a:gd name="connsiteY6" fmla="*/ 598955 h 2547933"/>
                <a:gd name="connsiteX7" fmla="*/ 7280727 w 7280727"/>
                <a:gd name="connsiteY7" fmla="*/ 0 h 2547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80727" h="2547933">
                  <a:moveTo>
                    <a:pt x="0" y="2547933"/>
                  </a:moveTo>
                  <a:lnTo>
                    <a:pt x="1226124" y="1550419"/>
                  </a:lnTo>
                  <a:lnTo>
                    <a:pt x="2447213" y="1948206"/>
                  </a:lnTo>
                  <a:cubicBezTo>
                    <a:pt x="2810821" y="1681529"/>
                    <a:pt x="3195389" y="1268249"/>
                    <a:pt x="3496781" y="1040886"/>
                  </a:cubicBezTo>
                  <a:cubicBezTo>
                    <a:pt x="4148360" y="1076790"/>
                    <a:pt x="4127362" y="1077804"/>
                    <a:pt x="4487193" y="1106628"/>
                  </a:cubicBezTo>
                  <a:cubicBezTo>
                    <a:pt x="4780297" y="813571"/>
                    <a:pt x="4955297" y="645227"/>
                    <a:pt x="5135641" y="439972"/>
                  </a:cubicBezTo>
                  <a:lnTo>
                    <a:pt x="6565092" y="598955"/>
                  </a:lnTo>
                  <a:cubicBezTo>
                    <a:pt x="6984425" y="261051"/>
                    <a:pt x="6976348" y="270903"/>
                    <a:pt x="7280727" y="0"/>
                  </a:cubicBezTo>
                </a:path>
              </a:pathLst>
            </a:custGeom>
            <a:noFill/>
            <a:ln w="5080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53" name="Oval 245"/>
            <p:cNvSpPr/>
            <p:nvPr/>
          </p:nvSpPr>
          <p:spPr>
            <a:xfrm>
              <a:off x="9216084" y="2365291"/>
              <a:ext cx="242703" cy="236294"/>
            </a:xfrm>
            <a:prstGeom prst="ellipse">
              <a:avLst/>
            </a:prstGeom>
            <a:solidFill>
              <a:srgbClr val="005EB8"/>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54" name="Oval 246"/>
            <p:cNvSpPr/>
            <p:nvPr/>
          </p:nvSpPr>
          <p:spPr>
            <a:xfrm>
              <a:off x="9230568" y="2379394"/>
              <a:ext cx="213735" cy="208089"/>
            </a:xfrm>
            <a:prstGeom prst="ellipse">
              <a:avLst/>
            </a:prstGeom>
            <a:solidFill>
              <a:srgbClr val="D09A02">
                <a:alpha val="50000"/>
              </a:srgb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55" name="Oval 247"/>
            <p:cNvSpPr/>
            <p:nvPr/>
          </p:nvSpPr>
          <p:spPr>
            <a:xfrm>
              <a:off x="9245570" y="2394002"/>
              <a:ext cx="183727" cy="178876"/>
            </a:xfrm>
            <a:prstGeom prst="ellipse">
              <a:avLst/>
            </a:prstGeom>
            <a:solidFill>
              <a:srgbClr val="005EB8"/>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50" name="Oval 249"/>
            <p:cNvSpPr/>
            <p:nvPr/>
          </p:nvSpPr>
          <p:spPr>
            <a:xfrm>
              <a:off x="8472539" y="2962910"/>
              <a:ext cx="242703" cy="236294"/>
            </a:xfrm>
            <a:prstGeom prst="ellipse">
              <a:avLst/>
            </a:prstGeom>
            <a:solidFill>
              <a:srgbClr val="009A44">
                <a:alpha val="50000"/>
              </a:srgb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51" name="Oval 250"/>
            <p:cNvSpPr/>
            <p:nvPr/>
          </p:nvSpPr>
          <p:spPr>
            <a:xfrm>
              <a:off x="8487023" y="2977013"/>
              <a:ext cx="213735" cy="208089"/>
            </a:xfrm>
            <a:prstGeom prst="ellipse">
              <a:avLst/>
            </a:prstGeom>
            <a:solidFill>
              <a:srgbClr val="5D5585">
                <a:alpha val="50000"/>
              </a:srgb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52" name="Oval 251"/>
            <p:cNvSpPr/>
            <p:nvPr/>
          </p:nvSpPr>
          <p:spPr>
            <a:xfrm>
              <a:off x="8502025" y="2991621"/>
              <a:ext cx="183727" cy="178876"/>
            </a:xfrm>
            <a:prstGeom prst="ellipse">
              <a:avLst/>
            </a:prstGeom>
            <a:solidFill>
              <a:srgbClr val="009A44"/>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47" name="Oval 253"/>
            <p:cNvSpPr/>
            <p:nvPr/>
          </p:nvSpPr>
          <p:spPr>
            <a:xfrm>
              <a:off x="6964598" y="2823841"/>
              <a:ext cx="242703" cy="236294"/>
            </a:xfrm>
            <a:prstGeom prst="ellipse">
              <a:avLst/>
            </a:prstGeom>
            <a:solidFill>
              <a:srgbClr val="F88E2E">
                <a:alpha val="50000"/>
              </a:srgb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48" name="Oval 254"/>
            <p:cNvSpPr/>
            <p:nvPr/>
          </p:nvSpPr>
          <p:spPr>
            <a:xfrm>
              <a:off x="6979083" y="2837944"/>
              <a:ext cx="213735" cy="208089"/>
            </a:xfrm>
            <a:prstGeom prst="ellipse">
              <a:avLst/>
            </a:prstGeom>
            <a:solidFill>
              <a:srgbClr val="F77C0D">
                <a:alpha val="50000"/>
              </a:srgb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49" name="Oval 255"/>
            <p:cNvSpPr/>
            <p:nvPr/>
          </p:nvSpPr>
          <p:spPr>
            <a:xfrm>
              <a:off x="6994085" y="2852552"/>
              <a:ext cx="183727" cy="178876"/>
            </a:xfrm>
            <a:prstGeom prst="ellipse">
              <a:avLst/>
            </a:prstGeom>
            <a:solidFill>
              <a:srgbClr val="EAAA00"/>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44" name="Oval 257"/>
            <p:cNvSpPr/>
            <p:nvPr/>
          </p:nvSpPr>
          <p:spPr>
            <a:xfrm>
              <a:off x="6294404" y="3479344"/>
              <a:ext cx="242703" cy="236294"/>
            </a:xfrm>
            <a:prstGeom prst="ellipse">
              <a:avLst/>
            </a:prstGeom>
            <a:solidFill>
              <a:srgbClr val="16A3CE">
                <a:alpha val="50000"/>
              </a:srgb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45" name="Oval 258"/>
            <p:cNvSpPr/>
            <p:nvPr/>
          </p:nvSpPr>
          <p:spPr>
            <a:xfrm>
              <a:off x="6308888" y="3493447"/>
              <a:ext cx="213735" cy="208089"/>
            </a:xfrm>
            <a:prstGeom prst="ellipse">
              <a:avLst/>
            </a:prstGeom>
            <a:solidFill>
              <a:srgbClr val="1283A6">
                <a:alpha val="50000"/>
              </a:srgb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46" name="Oval 259"/>
            <p:cNvSpPr/>
            <p:nvPr/>
          </p:nvSpPr>
          <p:spPr>
            <a:xfrm>
              <a:off x="6323890" y="3508055"/>
              <a:ext cx="183727" cy="178876"/>
            </a:xfrm>
            <a:prstGeom prst="ellipse">
              <a:avLst/>
            </a:prstGeom>
            <a:solidFill>
              <a:srgbClr val="00A3A1"/>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41" name="Oval 261"/>
            <p:cNvSpPr/>
            <p:nvPr/>
          </p:nvSpPr>
          <p:spPr>
            <a:xfrm>
              <a:off x="5222709" y="3448522"/>
              <a:ext cx="242703" cy="236294"/>
            </a:xfrm>
            <a:prstGeom prst="ellipse">
              <a:avLst/>
            </a:prstGeom>
            <a:solidFill>
              <a:schemeClr val="accent2">
                <a:lumMod val="60000"/>
                <a:lumOff val="40000"/>
              </a:scheme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42" name="Oval 262"/>
            <p:cNvSpPr/>
            <p:nvPr/>
          </p:nvSpPr>
          <p:spPr>
            <a:xfrm>
              <a:off x="5237193" y="3462625"/>
              <a:ext cx="213735" cy="208089"/>
            </a:xfrm>
            <a:prstGeom prst="ellipse">
              <a:avLst/>
            </a:prstGeom>
            <a:solidFill>
              <a:srgbClr val="6D2077">
                <a:alpha val="50000"/>
              </a:srgb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43" name="Oval 263"/>
            <p:cNvSpPr/>
            <p:nvPr/>
          </p:nvSpPr>
          <p:spPr>
            <a:xfrm>
              <a:off x="5252195" y="3477233"/>
              <a:ext cx="183727" cy="178876"/>
            </a:xfrm>
            <a:prstGeom prst="ellipse">
              <a:avLst/>
            </a:prstGeom>
            <a:solidFill>
              <a:srgbClr val="6D2077"/>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38" name="Oval 265"/>
            <p:cNvSpPr/>
            <p:nvPr/>
          </p:nvSpPr>
          <p:spPr>
            <a:xfrm>
              <a:off x="4092205" y="4332476"/>
              <a:ext cx="242703" cy="236294"/>
            </a:xfrm>
            <a:prstGeom prst="ellipse">
              <a:avLst/>
            </a:prstGeom>
            <a:solidFill>
              <a:srgbClr val="00338D"/>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39" name="Oval 266"/>
            <p:cNvSpPr/>
            <p:nvPr/>
          </p:nvSpPr>
          <p:spPr>
            <a:xfrm>
              <a:off x="4106689" y="4346578"/>
              <a:ext cx="213735" cy="208089"/>
            </a:xfrm>
            <a:prstGeom prst="ellipse">
              <a:avLst/>
            </a:prstGeom>
            <a:solidFill>
              <a:srgbClr val="005EB8">
                <a:alpha val="50000"/>
              </a:srgb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40" name="Oval 267"/>
            <p:cNvSpPr/>
            <p:nvPr/>
          </p:nvSpPr>
          <p:spPr>
            <a:xfrm>
              <a:off x="4119039" y="4355043"/>
              <a:ext cx="183727" cy="178876"/>
            </a:xfrm>
            <a:prstGeom prst="ellipse">
              <a:avLst/>
            </a:prstGeom>
            <a:solidFill>
              <a:srgbClr val="00338D"/>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35" name="Oval 269"/>
            <p:cNvSpPr/>
            <p:nvPr/>
          </p:nvSpPr>
          <p:spPr>
            <a:xfrm>
              <a:off x="2816991" y="3971518"/>
              <a:ext cx="242703" cy="236294"/>
            </a:xfrm>
            <a:prstGeom prst="ellipse">
              <a:avLst/>
            </a:prstGeom>
            <a:solidFill>
              <a:srgbClr val="483698">
                <a:alpha val="50000"/>
              </a:srgb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36" name="Oval 270"/>
            <p:cNvSpPr/>
            <p:nvPr/>
          </p:nvSpPr>
          <p:spPr>
            <a:xfrm>
              <a:off x="2831475" y="3985621"/>
              <a:ext cx="213735" cy="208089"/>
            </a:xfrm>
            <a:prstGeom prst="ellipse">
              <a:avLst/>
            </a:prstGeom>
            <a:solidFill>
              <a:srgbClr val="483698">
                <a:alpha val="50000"/>
              </a:srgb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37" name="Oval 271"/>
            <p:cNvSpPr/>
            <p:nvPr/>
          </p:nvSpPr>
          <p:spPr>
            <a:xfrm>
              <a:off x="2846477" y="4000229"/>
              <a:ext cx="183727" cy="178876"/>
            </a:xfrm>
            <a:prstGeom prst="ellipse">
              <a:avLst/>
            </a:prstGeom>
            <a:solidFill>
              <a:srgbClr val="483698"/>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32" name="Oval 273"/>
            <p:cNvSpPr/>
            <p:nvPr/>
          </p:nvSpPr>
          <p:spPr>
            <a:xfrm>
              <a:off x="1501118" y="5007598"/>
              <a:ext cx="242703" cy="236294"/>
            </a:xfrm>
            <a:prstGeom prst="ellipse">
              <a:avLst/>
            </a:prstGeom>
            <a:solidFill>
              <a:srgbClr val="0091DA">
                <a:alpha val="50000"/>
              </a:srgb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33" name="Oval 274"/>
            <p:cNvSpPr/>
            <p:nvPr/>
          </p:nvSpPr>
          <p:spPr>
            <a:xfrm>
              <a:off x="1515603" y="5021706"/>
              <a:ext cx="213735" cy="208089"/>
            </a:xfrm>
            <a:prstGeom prst="ellipse">
              <a:avLst/>
            </a:prstGeom>
            <a:solidFill>
              <a:srgbClr val="0091DA">
                <a:alpha val="49804"/>
              </a:srgbClr>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34" name="Oval 275"/>
            <p:cNvSpPr/>
            <p:nvPr/>
          </p:nvSpPr>
          <p:spPr>
            <a:xfrm>
              <a:off x="1530606" y="5036310"/>
              <a:ext cx="183728" cy="178874"/>
            </a:xfrm>
            <a:prstGeom prst="ellipse">
              <a:avLst/>
            </a:prstGeom>
            <a:solidFill>
              <a:srgbClr val="0091DA"/>
            </a:solidFill>
            <a:ln w="12700" cap="flat" cmpd="sng" algn="ctr">
              <a:noFill/>
              <a:prstDash val="solid"/>
              <a:miter lim="800000"/>
            </a:ln>
            <a:effectLst/>
          </p:spPr>
          <p:txBody>
            <a:bodyPr rtlCol="0" anchor="ctr"/>
            <a:lstStyle/>
            <a:p>
              <a:pPr algn="ctr"/>
              <a:endParaRPr lang="en-US" sz="1350" kern="0">
                <a:solidFill>
                  <a:prstClr val="white"/>
                </a:solidFill>
                <a:latin typeface="Arial" panose="020B0604020202020204" pitchFamily="34" charset="0"/>
                <a:cs typeface="Arial" panose="020B0604020202020204" pitchFamily="34" charset="0"/>
              </a:endParaRPr>
            </a:p>
          </p:txBody>
        </p:sp>
        <p:sp>
          <p:nvSpPr>
            <p:cNvPr id="139" name="TextBox 201">
              <a:extLst>
                <a:ext uri="{FF2B5EF4-FFF2-40B4-BE49-F238E27FC236}">
                  <a16:creationId xmlns:a16="http://schemas.microsoft.com/office/drawing/2014/main" id="{0BF251E4-54A0-432F-B382-8C1417738219}"/>
                </a:ext>
              </a:extLst>
            </p:cNvPr>
            <p:cNvSpPr txBox="1"/>
            <p:nvPr/>
          </p:nvSpPr>
          <p:spPr>
            <a:xfrm>
              <a:off x="4515916" y="5606405"/>
              <a:ext cx="1753210" cy="492443"/>
            </a:xfrm>
            <a:prstGeom prst="rect">
              <a:avLst/>
            </a:prstGeom>
            <a:noFill/>
          </p:spPr>
          <p:txBody>
            <a:bodyPr wrap="square" rtlCol="0">
              <a:spAutoFit/>
            </a:bodyPr>
            <a:lstStyle/>
            <a:p>
              <a:r>
                <a:rPr lang="en-US" sz="1200" b="1" dirty="0">
                  <a:solidFill>
                    <a:schemeClr val="dk1"/>
                  </a:solidFill>
                  <a:latin typeface="Arial" panose="020B0604020202020204" pitchFamily="34" charset="0"/>
                  <a:cs typeface="Arial" panose="020B0604020202020204" pitchFamily="34" charset="0"/>
                </a:rPr>
                <a:t>8/26: </a:t>
              </a:r>
            </a:p>
            <a:p>
              <a:r>
                <a:rPr lang="en-US" sz="1200" b="1" dirty="0">
                  <a:solidFill>
                    <a:schemeClr val="dk1"/>
                  </a:solidFill>
                  <a:latin typeface="Arial" panose="020B0604020202020204" pitchFamily="34" charset="0"/>
                  <a:cs typeface="Arial" panose="020B0604020202020204" pitchFamily="34" charset="0"/>
                </a:rPr>
                <a:t>Gap Analysis</a:t>
              </a:r>
            </a:p>
          </p:txBody>
        </p:sp>
        <p:sp>
          <p:nvSpPr>
            <p:cNvPr id="8" name="Speech Bubble: Rectangle 7">
              <a:extLst>
                <a:ext uri="{FF2B5EF4-FFF2-40B4-BE49-F238E27FC236}">
                  <a16:creationId xmlns:a16="http://schemas.microsoft.com/office/drawing/2014/main" id="{35DE2B0E-AAD3-4142-BA2D-364B2FA7735E}"/>
                </a:ext>
              </a:extLst>
            </p:cNvPr>
            <p:cNvSpPr/>
            <p:nvPr/>
          </p:nvSpPr>
          <p:spPr>
            <a:xfrm>
              <a:off x="4351972" y="1180142"/>
              <a:ext cx="1384666" cy="355902"/>
            </a:xfrm>
            <a:prstGeom prst="wedgeRectCallout">
              <a:avLst>
                <a:gd name="adj1" fmla="val 50483"/>
                <a:gd name="adj2" fmla="val 12193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0958" tIns="40958" rIns="40958" bIns="40958" rtlCol="0" anchor="ctr"/>
            <a:lstStyle/>
            <a:p>
              <a:pPr algn="ctr"/>
              <a:r>
                <a:rPr lang="en-US" sz="1050" b="1">
                  <a:solidFill>
                    <a:schemeClr val="bg1"/>
                  </a:solidFill>
                </a:rPr>
                <a:t>Current Point</a:t>
              </a:r>
            </a:p>
          </p:txBody>
        </p:sp>
      </p:grpSp>
      <p:sp>
        <p:nvSpPr>
          <p:cNvPr id="147" name="TextBox 179">
            <a:extLst>
              <a:ext uri="{FF2B5EF4-FFF2-40B4-BE49-F238E27FC236}">
                <a16:creationId xmlns:a16="http://schemas.microsoft.com/office/drawing/2014/main" id="{24C8BF99-31DC-4BCE-9B14-AC7D2C3AD239}"/>
              </a:ext>
            </a:extLst>
          </p:cNvPr>
          <p:cNvSpPr txBox="1"/>
          <p:nvPr/>
        </p:nvSpPr>
        <p:spPr>
          <a:xfrm>
            <a:off x="6450620" y="4744488"/>
            <a:ext cx="920866" cy="830997"/>
          </a:xfrm>
          <a:prstGeom prst="rect">
            <a:avLst/>
          </a:prstGeom>
          <a:noFill/>
        </p:spPr>
        <p:txBody>
          <a:bodyPr wrap="square" rtlCol="0">
            <a:spAutoFit/>
          </a:bodyPr>
          <a:lstStyle/>
          <a:p>
            <a:r>
              <a:rPr lang="en-US" sz="1200" b="1" dirty="0">
                <a:solidFill>
                  <a:schemeClr val="dk1"/>
                </a:solidFill>
                <a:latin typeface="Arial" panose="020B0604020202020204" pitchFamily="34" charset="0"/>
                <a:cs typeface="Arial" panose="020B0604020202020204" pitchFamily="34" charset="0"/>
              </a:rPr>
              <a:t>10/19: Draft Strategic Plan</a:t>
            </a:r>
          </a:p>
        </p:txBody>
      </p:sp>
    </p:spTree>
    <p:custDataLst>
      <p:tags r:id="rId1"/>
    </p:custDataLst>
    <p:extLst>
      <p:ext uri="{BB962C8B-B14F-4D97-AF65-F5344CB8AC3E}">
        <p14:creationId xmlns:p14="http://schemas.microsoft.com/office/powerpoint/2010/main" val="32297055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ieren 3"/>
          <p:cNvGrpSpPr/>
          <p:nvPr/>
        </p:nvGrpSpPr>
        <p:grpSpPr>
          <a:xfrm>
            <a:off x="-68256" y="1427462"/>
            <a:ext cx="9177692" cy="5314919"/>
            <a:chOff x="407960" y="2053044"/>
            <a:chExt cx="8189223" cy="4079147"/>
          </a:xfrm>
        </p:grpSpPr>
        <p:grpSp>
          <p:nvGrpSpPr>
            <p:cNvPr id="5" name="Group 131"/>
            <p:cNvGrpSpPr/>
            <p:nvPr/>
          </p:nvGrpSpPr>
          <p:grpSpPr>
            <a:xfrm>
              <a:off x="5959484" y="2060875"/>
              <a:ext cx="2431705" cy="1230099"/>
              <a:chOff x="5959484" y="2207280"/>
              <a:chExt cx="2431705" cy="1230099"/>
            </a:xfrm>
          </p:grpSpPr>
          <p:grpSp>
            <p:nvGrpSpPr>
              <p:cNvPr id="91" name="Group 130"/>
              <p:cNvGrpSpPr/>
              <p:nvPr/>
            </p:nvGrpSpPr>
            <p:grpSpPr>
              <a:xfrm>
                <a:off x="6403237" y="2207280"/>
                <a:ext cx="1987952" cy="1230099"/>
                <a:chOff x="6403237" y="2207280"/>
                <a:chExt cx="1987952" cy="1230099"/>
              </a:xfrm>
            </p:grpSpPr>
            <p:sp>
              <p:nvSpPr>
                <p:cNvPr id="93" name="Rectangle 1"/>
                <p:cNvSpPr/>
                <p:nvPr/>
              </p:nvSpPr>
              <p:spPr>
                <a:xfrm>
                  <a:off x="6421036" y="2242629"/>
                  <a:ext cx="1956706" cy="1194750"/>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nvGrpSpPr>
                <p:cNvPr id="94" name="Group 129"/>
                <p:cNvGrpSpPr/>
                <p:nvPr/>
              </p:nvGrpSpPr>
              <p:grpSpPr>
                <a:xfrm>
                  <a:off x="6403237" y="2207280"/>
                  <a:ext cx="1987952" cy="1227195"/>
                  <a:chOff x="6403237" y="2146671"/>
                  <a:chExt cx="1987952" cy="1227195"/>
                </a:xfrm>
              </p:grpSpPr>
              <p:sp>
                <p:nvSpPr>
                  <p:cNvPr id="95" name="TextBox 154"/>
                  <p:cNvSpPr txBox="1"/>
                  <p:nvPr/>
                </p:nvSpPr>
                <p:spPr>
                  <a:xfrm flipH="1">
                    <a:off x="6403237" y="2146671"/>
                    <a:ext cx="1865172" cy="354323"/>
                  </a:xfrm>
                  <a:prstGeom prst="rect">
                    <a:avLst/>
                  </a:prstGeom>
                  <a:noFill/>
                </p:spPr>
                <p:txBody>
                  <a:bodyPr wrap="square" rtlCol="0">
                    <a:spAutoFit/>
                  </a:bodyPr>
                  <a:lstStyle/>
                  <a:p>
                    <a:pPr algn="ctr" defTabSz="685800"/>
                    <a:r>
                      <a:rPr lang="en-US" sz="1200" b="1" dirty="0">
                        <a:solidFill>
                          <a:srgbClr val="0091DA"/>
                        </a:solidFill>
                        <a:latin typeface="Arial" panose="020B0604020202020204" pitchFamily="34" charset="0"/>
                      </a:rPr>
                      <a:t>Data Collection and Performance Management</a:t>
                    </a:r>
                  </a:p>
                </p:txBody>
              </p:sp>
              <p:sp>
                <p:nvSpPr>
                  <p:cNvPr id="96" name="Rectangle 100"/>
                  <p:cNvSpPr/>
                  <p:nvPr/>
                </p:nvSpPr>
                <p:spPr>
                  <a:xfrm flipH="1">
                    <a:off x="6434483" y="2452626"/>
                    <a:ext cx="1956706" cy="921240"/>
                  </a:xfrm>
                  <a:prstGeom prst="rect">
                    <a:avLst/>
                  </a:prstGeom>
                </p:spPr>
                <p:txBody>
                  <a:bodyPr wrap="square">
                    <a:spAutoFit/>
                  </a:bodyPr>
                  <a:lstStyle/>
                  <a:p>
                    <a:pPr marL="171450" indent="-171450" defTabSz="685800">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rPr>
                      <a:t>Downstream, negative, medical outcomes are common KPIs</a:t>
                    </a:r>
                  </a:p>
                  <a:p>
                    <a:pPr marL="171450" indent="-171450" defTabSz="685800">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rPr>
                      <a:t>Most MA data is presented as static, tabular reports without qualitative data</a:t>
                    </a:r>
                  </a:p>
                </p:txBody>
              </p:sp>
            </p:grpSp>
          </p:grpSp>
          <p:cxnSp>
            <p:nvCxnSpPr>
              <p:cNvPr id="92" name="Straight Connector 95"/>
              <p:cNvCxnSpPr/>
              <p:nvPr/>
            </p:nvCxnSpPr>
            <p:spPr>
              <a:xfrm>
                <a:off x="5959484" y="2803642"/>
                <a:ext cx="457200" cy="886"/>
              </a:xfrm>
              <a:prstGeom prst="line">
                <a:avLst/>
              </a:prstGeom>
              <a:ln>
                <a:solidFill>
                  <a:srgbClr val="595959"/>
                </a:solidFill>
                <a:headEnd type="diamond"/>
              </a:ln>
            </p:spPr>
            <p:style>
              <a:lnRef idx="1">
                <a:schemeClr val="accent1"/>
              </a:lnRef>
              <a:fillRef idx="0">
                <a:schemeClr val="accent1"/>
              </a:fillRef>
              <a:effectRef idx="0">
                <a:schemeClr val="accent1"/>
              </a:effectRef>
              <a:fontRef idx="minor">
                <a:schemeClr val="tx1"/>
              </a:fontRef>
            </p:style>
          </p:cxnSp>
        </p:grpSp>
        <p:grpSp>
          <p:nvGrpSpPr>
            <p:cNvPr id="6" name="Group 134"/>
            <p:cNvGrpSpPr/>
            <p:nvPr/>
          </p:nvGrpSpPr>
          <p:grpSpPr>
            <a:xfrm>
              <a:off x="6561320" y="3449198"/>
              <a:ext cx="2035863" cy="1120821"/>
              <a:chOff x="6561320" y="3595603"/>
              <a:chExt cx="2035863" cy="1120821"/>
            </a:xfrm>
          </p:grpSpPr>
          <p:grpSp>
            <p:nvGrpSpPr>
              <p:cNvPr id="85" name="Group 133"/>
              <p:cNvGrpSpPr/>
              <p:nvPr/>
            </p:nvGrpSpPr>
            <p:grpSpPr>
              <a:xfrm>
                <a:off x="7072917" y="3595603"/>
                <a:ext cx="1524266" cy="1120821"/>
                <a:chOff x="7072917" y="3595603"/>
                <a:chExt cx="1524266" cy="1120821"/>
              </a:xfrm>
            </p:grpSpPr>
            <p:sp>
              <p:nvSpPr>
                <p:cNvPr id="87" name="Rectangle 150"/>
                <p:cNvSpPr/>
                <p:nvPr/>
              </p:nvSpPr>
              <p:spPr>
                <a:xfrm>
                  <a:off x="7079943" y="3624356"/>
                  <a:ext cx="1454150" cy="1092068"/>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nvGrpSpPr>
                <p:cNvPr id="88" name="Group 132"/>
                <p:cNvGrpSpPr/>
                <p:nvPr/>
              </p:nvGrpSpPr>
              <p:grpSpPr>
                <a:xfrm>
                  <a:off x="7072917" y="3595603"/>
                  <a:ext cx="1524266" cy="1077988"/>
                  <a:chOff x="7072917" y="3534994"/>
                  <a:chExt cx="1524266" cy="1077988"/>
                </a:xfrm>
              </p:grpSpPr>
              <p:sp>
                <p:nvSpPr>
                  <p:cNvPr id="89" name="TextBox 152"/>
                  <p:cNvSpPr txBox="1"/>
                  <p:nvPr/>
                </p:nvSpPr>
                <p:spPr>
                  <a:xfrm flipH="1">
                    <a:off x="7079943" y="3534994"/>
                    <a:ext cx="1517240" cy="354323"/>
                  </a:xfrm>
                  <a:prstGeom prst="rect">
                    <a:avLst/>
                  </a:prstGeom>
                  <a:noFill/>
                </p:spPr>
                <p:txBody>
                  <a:bodyPr wrap="square" rtlCol="0">
                    <a:spAutoFit/>
                  </a:bodyPr>
                  <a:lstStyle/>
                  <a:p>
                    <a:pPr algn="ctr" defTabSz="685800"/>
                    <a:r>
                      <a:rPr lang="en-US" sz="1200" b="1" dirty="0">
                        <a:solidFill>
                          <a:srgbClr val="483698"/>
                        </a:solidFill>
                        <a:latin typeface="Arial" panose="020B0604020202020204" pitchFamily="34" charset="0"/>
                      </a:rPr>
                      <a:t>Legislation and Regulation</a:t>
                    </a:r>
                  </a:p>
                </p:txBody>
              </p:sp>
              <p:sp>
                <p:nvSpPr>
                  <p:cNvPr id="90" name="Rectangle 153"/>
                  <p:cNvSpPr/>
                  <p:nvPr/>
                </p:nvSpPr>
                <p:spPr>
                  <a:xfrm flipH="1">
                    <a:off x="7072917" y="3833471"/>
                    <a:ext cx="1318272" cy="779511"/>
                  </a:xfrm>
                  <a:prstGeom prst="rect">
                    <a:avLst/>
                  </a:prstGeom>
                </p:spPr>
                <p:txBody>
                  <a:bodyPr wrap="square">
                    <a:spAutoFit/>
                  </a:bodyPr>
                  <a:lstStyle/>
                  <a:p>
                    <a:pPr marL="171450" indent="-171450" defTabSz="685800">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rPr>
                      <a:t>Most states are creating similar settlement funds and advisory councils as MA.</a:t>
                    </a:r>
                    <a:endParaRPr lang="en-US" sz="1200" dirty="0">
                      <a:solidFill>
                        <a:srgbClr val="878787"/>
                      </a:solidFill>
                      <a:latin typeface="Arial" panose="020B0604020202020204" pitchFamily="34" charset="0"/>
                      <a:cs typeface="Arial" panose="020B0604020202020204" pitchFamily="34" charset="0"/>
                    </a:endParaRPr>
                  </a:p>
                </p:txBody>
              </p:sp>
            </p:grpSp>
          </p:grpSp>
          <p:cxnSp>
            <p:nvCxnSpPr>
              <p:cNvPr id="86" name="Straight Connector 149"/>
              <p:cNvCxnSpPr/>
              <p:nvPr/>
            </p:nvCxnSpPr>
            <p:spPr>
              <a:xfrm>
                <a:off x="6561320" y="4035082"/>
                <a:ext cx="457200" cy="886"/>
              </a:xfrm>
              <a:prstGeom prst="line">
                <a:avLst/>
              </a:prstGeom>
              <a:ln>
                <a:solidFill>
                  <a:srgbClr val="595959"/>
                </a:solidFill>
                <a:headEnd type="diamond"/>
              </a:ln>
            </p:spPr>
            <p:style>
              <a:lnRef idx="1">
                <a:schemeClr val="accent1"/>
              </a:lnRef>
              <a:fillRef idx="0">
                <a:schemeClr val="accent1"/>
              </a:fillRef>
              <a:effectRef idx="0">
                <a:schemeClr val="accent1"/>
              </a:effectRef>
              <a:fontRef idx="minor">
                <a:schemeClr val="tx1"/>
              </a:fontRef>
            </p:style>
          </p:cxnSp>
        </p:grpSp>
        <p:grpSp>
          <p:nvGrpSpPr>
            <p:cNvPr id="7" name="Group 136"/>
            <p:cNvGrpSpPr/>
            <p:nvPr/>
          </p:nvGrpSpPr>
          <p:grpSpPr>
            <a:xfrm>
              <a:off x="5907001" y="4708357"/>
              <a:ext cx="2629630" cy="1423834"/>
              <a:chOff x="5907001" y="4854762"/>
              <a:chExt cx="2629630" cy="1423834"/>
            </a:xfrm>
          </p:grpSpPr>
          <p:grpSp>
            <p:nvGrpSpPr>
              <p:cNvPr id="79" name="Group 135"/>
              <p:cNvGrpSpPr/>
              <p:nvPr/>
            </p:nvGrpSpPr>
            <p:grpSpPr>
              <a:xfrm>
                <a:off x="6407589" y="4854762"/>
                <a:ext cx="2129042" cy="1423834"/>
                <a:chOff x="6407589" y="4854762"/>
                <a:chExt cx="2129042" cy="1423834"/>
              </a:xfrm>
            </p:grpSpPr>
            <p:sp>
              <p:nvSpPr>
                <p:cNvPr id="81" name="Rectangle 158"/>
                <p:cNvSpPr/>
                <p:nvPr/>
              </p:nvSpPr>
              <p:spPr>
                <a:xfrm>
                  <a:off x="6407589" y="4854762"/>
                  <a:ext cx="2126504" cy="1329556"/>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nvGrpSpPr>
                <p:cNvPr id="82" name="Group 159"/>
                <p:cNvGrpSpPr/>
                <p:nvPr/>
              </p:nvGrpSpPr>
              <p:grpSpPr>
                <a:xfrm>
                  <a:off x="6530374" y="4870009"/>
                  <a:ext cx="2006257" cy="1408587"/>
                  <a:chOff x="6793049" y="2523026"/>
                  <a:chExt cx="2006257" cy="1408587"/>
                </a:xfrm>
              </p:grpSpPr>
              <p:sp>
                <p:nvSpPr>
                  <p:cNvPr id="83" name="TextBox 160"/>
                  <p:cNvSpPr txBox="1"/>
                  <p:nvPr/>
                </p:nvSpPr>
                <p:spPr>
                  <a:xfrm flipH="1">
                    <a:off x="6793049" y="2523026"/>
                    <a:ext cx="1880933" cy="212594"/>
                  </a:xfrm>
                  <a:prstGeom prst="rect">
                    <a:avLst/>
                  </a:prstGeom>
                  <a:noFill/>
                </p:spPr>
                <p:txBody>
                  <a:bodyPr wrap="square" rtlCol="0">
                    <a:spAutoFit/>
                  </a:bodyPr>
                  <a:lstStyle/>
                  <a:p>
                    <a:pPr algn="ctr" defTabSz="685800"/>
                    <a:r>
                      <a:rPr lang="en-US" sz="1200" b="1" dirty="0">
                        <a:solidFill>
                          <a:srgbClr val="470A68"/>
                        </a:solidFill>
                        <a:latin typeface="Arial" panose="020B0604020202020204" pitchFamily="34" charset="0"/>
                      </a:rPr>
                      <a:t>Funding Approaches</a:t>
                    </a:r>
                  </a:p>
                </p:txBody>
              </p:sp>
              <p:sp>
                <p:nvSpPr>
                  <p:cNvPr id="84" name="Rectangle 161"/>
                  <p:cNvSpPr/>
                  <p:nvPr/>
                </p:nvSpPr>
                <p:spPr>
                  <a:xfrm flipH="1">
                    <a:off x="6831804" y="2762347"/>
                    <a:ext cx="1967502" cy="1169266"/>
                  </a:xfrm>
                  <a:prstGeom prst="rect">
                    <a:avLst/>
                  </a:prstGeom>
                </p:spPr>
                <p:txBody>
                  <a:bodyPr wrap="square">
                    <a:spAutoFit/>
                  </a:bodyPr>
                  <a:lstStyle/>
                  <a:p>
                    <a:pPr marL="171450" indent="-171450" defTabSz="685800">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rPr>
                      <a:t>All states use a multi-pronged approach</a:t>
                    </a:r>
                  </a:p>
                  <a:p>
                    <a:pPr marL="171450" indent="-171450" defTabSz="685800">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rPr>
                      <a:t>Without a central database of programs, it is difficult to determine what MA has trialed and how success was measured.</a:t>
                    </a:r>
                  </a:p>
                  <a:p>
                    <a:pPr defTabSz="685800"/>
                    <a:endParaRPr lang="en-US" sz="900" dirty="0">
                      <a:solidFill>
                        <a:srgbClr val="000000"/>
                      </a:solidFill>
                      <a:latin typeface="Arial" panose="020B0604020202020204" pitchFamily="34" charset="0"/>
                      <a:cs typeface="Arial" panose="020B0604020202020204" pitchFamily="34" charset="0"/>
                    </a:endParaRPr>
                  </a:p>
                </p:txBody>
              </p:sp>
            </p:grpSp>
          </p:grpSp>
          <p:cxnSp>
            <p:nvCxnSpPr>
              <p:cNvPr id="80" name="Straight Connector 157"/>
              <p:cNvCxnSpPr/>
              <p:nvPr/>
            </p:nvCxnSpPr>
            <p:spPr>
              <a:xfrm>
                <a:off x="5907001" y="5264454"/>
                <a:ext cx="457200" cy="886"/>
              </a:xfrm>
              <a:prstGeom prst="line">
                <a:avLst/>
              </a:prstGeom>
              <a:ln>
                <a:solidFill>
                  <a:srgbClr val="595959"/>
                </a:solidFill>
                <a:headEnd type="diamond"/>
              </a:ln>
            </p:spPr>
            <p:style>
              <a:lnRef idx="1">
                <a:schemeClr val="accent1"/>
              </a:lnRef>
              <a:fillRef idx="0">
                <a:schemeClr val="accent1"/>
              </a:fillRef>
              <a:effectRef idx="0">
                <a:schemeClr val="accent1"/>
              </a:effectRef>
              <a:fontRef idx="minor">
                <a:schemeClr val="tx1"/>
              </a:fontRef>
            </p:style>
          </p:cxnSp>
        </p:grpSp>
        <p:grpSp>
          <p:nvGrpSpPr>
            <p:cNvPr id="8" name="Group 139"/>
            <p:cNvGrpSpPr/>
            <p:nvPr/>
          </p:nvGrpSpPr>
          <p:grpSpPr>
            <a:xfrm>
              <a:off x="774421" y="2196629"/>
              <a:ext cx="2465902" cy="1104128"/>
              <a:chOff x="774421" y="2343034"/>
              <a:chExt cx="2465902" cy="1104128"/>
            </a:xfrm>
          </p:grpSpPr>
          <p:grpSp>
            <p:nvGrpSpPr>
              <p:cNvPr id="73" name="Group 138"/>
              <p:cNvGrpSpPr/>
              <p:nvPr/>
            </p:nvGrpSpPr>
            <p:grpSpPr>
              <a:xfrm>
                <a:off x="774421" y="2343034"/>
                <a:ext cx="1987144" cy="1104128"/>
                <a:chOff x="774421" y="2343034"/>
                <a:chExt cx="1987144" cy="1104128"/>
              </a:xfrm>
            </p:grpSpPr>
            <p:sp>
              <p:nvSpPr>
                <p:cNvPr id="75" name="Rectangle 200"/>
                <p:cNvSpPr/>
                <p:nvPr/>
              </p:nvSpPr>
              <p:spPr>
                <a:xfrm flipH="1">
                  <a:off x="774421" y="2352754"/>
                  <a:ext cx="1987144" cy="1079840"/>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nvGrpSpPr>
                <p:cNvPr id="76" name="Group 137"/>
                <p:cNvGrpSpPr/>
                <p:nvPr/>
              </p:nvGrpSpPr>
              <p:grpSpPr>
                <a:xfrm>
                  <a:off x="789123" y="2343034"/>
                  <a:ext cx="1887565" cy="1104128"/>
                  <a:chOff x="789123" y="2282425"/>
                  <a:chExt cx="1887565" cy="1104128"/>
                </a:xfrm>
              </p:grpSpPr>
              <p:sp>
                <p:nvSpPr>
                  <p:cNvPr id="77" name="TextBox 202"/>
                  <p:cNvSpPr txBox="1"/>
                  <p:nvPr/>
                </p:nvSpPr>
                <p:spPr>
                  <a:xfrm>
                    <a:off x="878533" y="2282425"/>
                    <a:ext cx="1798155" cy="236216"/>
                  </a:xfrm>
                  <a:prstGeom prst="rect">
                    <a:avLst/>
                  </a:prstGeom>
                  <a:noFill/>
                </p:spPr>
                <p:txBody>
                  <a:bodyPr wrap="square" rtlCol="0">
                    <a:spAutoFit/>
                  </a:bodyPr>
                  <a:lstStyle/>
                  <a:p>
                    <a:pPr algn="ctr" defTabSz="685800"/>
                    <a:r>
                      <a:rPr lang="en-US" sz="1400" b="1" dirty="0">
                        <a:solidFill>
                          <a:srgbClr val="00338D"/>
                        </a:solidFill>
                        <a:latin typeface="Arial" panose="020B0604020202020204" pitchFamily="34" charset="0"/>
                      </a:rPr>
                      <a:t>Program Design</a:t>
                    </a:r>
                  </a:p>
                </p:txBody>
              </p:sp>
              <p:sp>
                <p:nvSpPr>
                  <p:cNvPr id="78" name="Rectangle 203"/>
                  <p:cNvSpPr/>
                  <p:nvPr/>
                </p:nvSpPr>
                <p:spPr>
                  <a:xfrm>
                    <a:off x="789123" y="2465313"/>
                    <a:ext cx="1887565" cy="921240"/>
                  </a:xfrm>
                  <a:prstGeom prst="rect">
                    <a:avLst/>
                  </a:prstGeom>
                </p:spPr>
                <p:txBody>
                  <a:bodyPr wrap="square">
                    <a:spAutoFit/>
                  </a:bodyPr>
                  <a:lstStyle/>
                  <a:p>
                    <a:pPr marL="171450" indent="-171450" defTabSz="685800">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rPr>
                      <a:t>Innovative programs from other jurisdictions included methadone delivery services and overdose spike text alert systems</a:t>
                    </a:r>
                  </a:p>
                </p:txBody>
              </p:sp>
            </p:grpSp>
          </p:grpSp>
          <p:cxnSp>
            <p:nvCxnSpPr>
              <p:cNvPr id="74" name="Straight Connector 199"/>
              <p:cNvCxnSpPr/>
              <p:nvPr/>
            </p:nvCxnSpPr>
            <p:spPr>
              <a:xfrm flipH="1">
                <a:off x="2783123" y="2812544"/>
                <a:ext cx="457200" cy="886"/>
              </a:xfrm>
              <a:prstGeom prst="line">
                <a:avLst/>
              </a:prstGeom>
              <a:ln>
                <a:solidFill>
                  <a:srgbClr val="595959"/>
                </a:solidFill>
                <a:headEnd type="diamond"/>
              </a:ln>
            </p:spPr>
            <p:style>
              <a:lnRef idx="1">
                <a:schemeClr val="accent1"/>
              </a:lnRef>
              <a:fillRef idx="0">
                <a:schemeClr val="accent1"/>
              </a:fillRef>
              <a:effectRef idx="0">
                <a:schemeClr val="accent1"/>
              </a:effectRef>
              <a:fontRef idx="minor">
                <a:schemeClr val="tx1"/>
              </a:fontRef>
            </p:style>
          </p:cxnSp>
        </p:grpSp>
        <p:grpSp>
          <p:nvGrpSpPr>
            <p:cNvPr id="9" name="Group 142"/>
            <p:cNvGrpSpPr/>
            <p:nvPr/>
          </p:nvGrpSpPr>
          <p:grpSpPr>
            <a:xfrm>
              <a:off x="407960" y="3458096"/>
              <a:ext cx="2082878" cy="1019955"/>
              <a:chOff x="407960" y="3604501"/>
              <a:chExt cx="2082878" cy="1019955"/>
            </a:xfrm>
          </p:grpSpPr>
          <p:grpSp>
            <p:nvGrpSpPr>
              <p:cNvPr id="67" name="Group 141"/>
              <p:cNvGrpSpPr/>
              <p:nvPr/>
            </p:nvGrpSpPr>
            <p:grpSpPr>
              <a:xfrm>
                <a:off x="407960" y="3604501"/>
                <a:ext cx="1904182" cy="1019955"/>
                <a:chOff x="407960" y="3604501"/>
                <a:chExt cx="1904182" cy="1019955"/>
              </a:xfrm>
            </p:grpSpPr>
            <p:sp>
              <p:nvSpPr>
                <p:cNvPr id="69" name="Rectangle 194"/>
                <p:cNvSpPr/>
                <p:nvPr/>
              </p:nvSpPr>
              <p:spPr>
                <a:xfrm flipH="1">
                  <a:off x="487818" y="3624341"/>
                  <a:ext cx="1824324" cy="1000115"/>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nvGrpSpPr>
                <p:cNvPr id="70" name="Group 140"/>
                <p:cNvGrpSpPr/>
                <p:nvPr/>
              </p:nvGrpSpPr>
              <p:grpSpPr>
                <a:xfrm>
                  <a:off x="407960" y="3604501"/>
                  <a:ext cx="1834643" cy="937099"/>
                  <a:chOff x="407960" y="3543892"/>
                  <a:chExt cx="1834643" cy="937099"/>
                </a:xfrm>
              </p:grpSpPr>
              <p:sp>
                <p:nvSpPr>
                  <p:cNvPr id="71" name="TextBox 196"/>
                  <p:cNvSpPr txBox="1"/>
                  <p:nvPr/>
                </p:nvSpPr>
                <p:spPr>
                  <a:xfrm>
                    <a:off x="759427" y="3543892"/>
                    <a:ext cx="1129376" cy="236216"/>
                  </a:xfrm>
                  <a:prstGeom prst="rect">
                    <a:avLst/>
                  </a:prstGeom>
                  <a:noFill/>
                </p:spPr>
                <p:txBody>
                  <a:bodyPr wrap="square" rtlCol="0">
                    <a:spAutoFit/>
                  </a:bodyPr>
                  <a:lstStyle/>
                  <a:p>
                    <a:pPr algn="ctr" defTabSz="685800"/>
                    <a:r>
                      <a:rPr lang="en-US" sz="1400" b="1" dirty="0">
                        <a:solidFill>
                          <a:srgbClr val="6D2077"/>
                        </a:solidFill>
                        <a:latin typeface="Arial" panose="020B0604020202020204" pitchFamily="34" charset="0"/>
                      </a:rPr>
                      <a:t>Other</a:t>
                    </a:r>
                  </a:p>
                </p:txBody>
              </p:sp>
              <p:sp>
                <p:nvSpPr>
                  <p:cNvPr id="72" name="Rectangle 197"/>
                  <p:cNvSpPr/>
                  <p:nvPr/>
                </p:nvSpPr>
                <p:spPr>
                  <a:xfrm>
                    <a:off x="407960" y="3701480"/>
                    <a:ext cx="1834643" cy="779511"/>
                  </a:xfrm>
                  <a:prstGeom prst="rect">
                    <a:avLst/>
                  </a:prstGeom>
                </p:spPr>
                <p:txBody>
                  <a:bodyPr wrap="square">
                    <a:spAutoFit/>
                  </a:bodyPr>
                  <a:lstStyle/>
                  <a:p>
                    <a:pPr marL="171450" indent="-171450" defTabSz="685800">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rPr>
                      <a:t>Many innovative strategies would require legislative changes or exemptions from the federal government. </a:t>
                    </a:r>
                  </a:p>
                </p:txBody>
              </p:sp>
            </p:grpSp>
          </p:grpSp>
          <p:cxnSp>
            <p:nvCxnSpPr>
              <p:cNvPr id="68" name="Straight Connector 193"/>
              <p:cNvCxnSpPr>
                <a:cxnSpLocks/>
              </p:cNvCxnSpPr>
              <p:nvPr/>
            </p:nvCxnSpPr>
            <p:spPr>
              <a:xfrm flipH="1">
                <a:off x="2325023" y="4046651"/>
                <a:ext cx="165815" cy="0"/>
              </a:xfrm>
              <a:prstGeom prst="line">
                <a:avLst/>
              </a:prstGeom>
              <a:ln>
                <a:solidFill>
                  <a:srgbClr val="595959"/>
                </a:solidFill>
                <a:headEnd type="diamond"/>
              </a:ln>
            </p:spPr>
            <p:style>
              <a:lnRef idx="1">
                <a:schemeClr val="accent1"/>
              </a:lnRef>
              <a:fillRef idx="0">
                <a:schemeClr val="accent1"/>
              </a:fillRef>
              <a:effectRef idx="0">
                <a:schemeClr val="accent1"/>
              </a:effectRef>
              <a:fontRef idx="minor">
                <a:schemeClr val="tx1"/>
              </a:fontRef>
            </p:style>
          </p:cxnSp>
        </p:grpSp>
        <p:grpSp>
          <p:nvGrpSpPr>
            <p:cNvPr id="10" name="Group 145"/>
            <p:cNvGrpSpPr/>
            <p:nvPr/>
          </p:nvGrpSpPr>
          <p:grpSpPr>
            <a:xfrm>
              <a:off x="707206" y="4676483"/>
              <a:ext cx="2546506" cy="1365859"/>
              <a:chOff x="707206" y="4822888"/>
              <a:chExt cx="2546506" cy="1365859"/>
            </a:xfrm>
          </p:grpSpPr>
          <p:grpSp>
            <p:nvGrpSpPr>
              <p:cNvPr id="61" name="Group 144"/>
              <p:cNvGrpSpPr/>
              <p:nvPr/>
            </p:nvGrpSpPr>
            <p:grpSpPr>
              <a:xfrm>
                <a:off x="707206" y="4822888"/>
                <a:ext cx="2054358" cy="1365859"/>
                <a:chOff x="707206" y="4822888"/>
                <a:chExt cx="2054358" cy="1365859"/>
              </a:xfrm>
            </p:grpSpPr>
            <p:sp>
              <p:nvSpPr>
                <p:cNvPr id="63" name="Rectangle 188"/>
                <p:cNvSpPr/>
                <p:nvPr/>
              </p:nvSpPr>
              <p:spPr>
                <a:xfrm flipH="1">
                  <a:off x="721371" y="4854762"/>
                  <a:ext cx="2040193" cy="1333985"/>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nvGrpSpPr>
                <p:cNvPr id="64" name="Group 143"/>
                <p:cNvGrpSpPr/>
                <p:nvPr/>
              </p:nvGrpSpPr>
              <p:grpSpPr>
                <a:xfrm>
                  <a:off x="707206" y="4822888"/>
                  <a:ext cx="2054357" cy="1229024"/>
                  <a:chOff x="707206" y="4762279"/>
                  <a:chExt cx="2054357" cy="1229024"/>
                </a:xfrm>
              </p:grpSpPr>
              <p:sp>
                <p:nvSpPr>
                  <p:cNvPr id="65" name="TextBox 190"/>
                  <p:cNvSpPr txBox="1"/>
                  <p:nvPr/>
                </p:nvSpPr>
                <p:spPr>
                  <a:xfrm>
                    <a:off x="721370" y="4762279"/>
                    <a:ext cx="2040193" cy="354323"/>
                  </a:xfrm>
                  <a:prstGeom prst="rect">
                    <a:avLst/>
                  </a:prstGeom>
                  <a:noFill/>
                </p:spPr>
                <p:txBody>
                  <a:bodyPr wrap="square" rtlCol="0">
                    <a:spAutoFit/>
                  </a:bodyPr>
                  <a:lstStyle/>
                  <a:p>
                    <a:pPr algn="ctr" defTabSz="685800"/>
                    <a:r>
                      <a:rPr lang="en-US" sz="1200" b="1" dirty="0">
                        <a:solidFill>
                          <a:srgbClr val="00A3A1"/>
                        </a:solidFill>
                        <a:latin typeface="Arial" panose="020B0604020202020204" pitchFamily="34" charset="0"/>
                      </a:rPr>
                      <a:t>Community Engagement and Health Equity</a:t>
                    </a:r>
                  </a:p>
                </p:txBody>
              </p:sp>
              <p:sp>
                <p:nvSpPr>
                  <p:cNvPr id="66" name="Rectangle 191"/>
                  <p:cNvSpPr/>
                  <p:nvPr/>
                </p:nvSpPr>
                <p:spPr>
                  <a:xfrm>
                    <a:off x="707206" y="5070062"/>
                    <a:ext cx="1783633" cy="921241"/>
                  </a:xfrm>
                  <a:prstGeom prst="rect">
                    <a:avLst/>
                  </a:prstGeom>
                </p:spPr>
                <p:txBody>
                  <a:bodyPr wrap="square">
                    <a:spAutoFit/>
                  </a:bodyPr>
                  <a:lstStyle/>
                  <a:p>
                    <a:pPr marL="171450" indent="-171450" defTabSz="685800">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rPr>
                      <a:t>Hiring people with lived experience as advisors and co-researchers </a:t>
                    </a:r>
                  </a:p>
                  <a:p>
                    <a:pPr marL="171450" indent="-171450" defTabSz="685800">
                      <a:buFont typeface="Arial" panose="020B0604020202020204" pitchFamily="34" charset="0"/>
                      <a:buChar char="•"/>
                    </a:pPr>
                    <a:r>
                      <a:rPr lang="en-US" sz="1200" dirty="0">
                        <a:solidFill>
                          <a:srgbClr val="000000"/>
                        </a:solidFill>
                        <a:latin typeface="Arial" panose="020B0604020202020204" pitchFamily="34" charset="0"/>
                        <a:cs typeface="Arial" panose="020B0604020202020204" pitchFamily="34" charset="0"/>
                      </a:rPr>
                      <a:t>Integrate community engagement and equity into every program</a:t>
                    </a:r>
                  </a:p>
                </p:txBody>
              </p:sp>
            </p:grpSp>
          </p:grpSp>
          <p:cxnSp>
            <p:nvCxnSpPr>
              <p:cNvPr id="62" name="Straight Connector 187"/>
              <p:cNvCxnSpPr/>
              <p:nvPr/>
            </p:nvCxnSpPr>
            <p:spPr>
              <a:xfrm flipH="1">
                <a:off x="2796512" y="5225167"/>
                <a:ext cx="457200" cy="886"/>
              </a:xfrm>
              <a:prstGeom prst="line">
                <a:avLst/>
              </a:prstGeom>
              <a:ln>
                <a:solidFill>
                  <a:srgbClr val="595959"/>
                </a:solidFill>
                <a:headEnd type="diamond"/>
              </a:ln>
            </p:spPr>
            <p:style>
              <a:lnRef idx="1">
                <a:schemeClr val="accent1"/>
              </a:lnRef>
              <a:fillRef idx="0">
                <a:schemeClr val="accent1"/>
              </a:fillRef>
              <a:effectRef idx="0">
                <a:schemeClr val="accent1"/>
              </a:effectRef>
              <a:fontRef idx="minor">
                <a:schemeClr val="tx1"/>
              </a:fontRef>
            </p:style>
          </p:cxnSp>
        </p:grpSp>
        <p:grpSp>
          <p:nvGrpSpPr>
            <p:cNvPr id="11" name="Group 128"/>
            <p:cNvGrpSpPr/>
            <p:nvPr/>
          </p:nvGrpSpPr>
          <p:grpSpPr>
            <a:xfrm>
              <a:off x="2637077" y="2053044"/>
              <a:ext cx="3869846" cy="3670084"/>
              <a:chOff x="2628499" y="2209800"/>
              <a:chExt cx="3869846" cy="3670084"/>
            </a:xfrm>
          </p:grpSpPr>
          <p:grpSp>
            <p:nvGrpSpPr>
              <p:cNvPr id="12" name="Group 116"/>
              <p:cNvGrpSpPr/>
              <p:nvPr/>
            </p:nvGrpSpPr>
            <p:grpSpPr>
              <a:xfrm>
                <a:off x="3920044" y="3427884"/>
                <a:ext cx="1281663" cy="1243021"/>
                <a:chOff x="3920044" y="3427884"/>
                <a:chExt cx="1281663" cy="1243021"/>
              </a:xfrm>
            </p:grpSpPr>
            <p:grpSp>
              <p:nvGrpSpPr>
                <p:cNvPr id="51" name="Group 115"/>
                <p:cNvGrpSpPr/>
                <p:nvPr/>
              </p:nvGrpSpPr>
              <p:grpSpPr>
                <a:xfrm>
                  <a:off x="3920044" y="3438873"/>
                  <a:ext cx="1281663" cy="1232032"/>
                  <a:chOff x="3920044" y="3438873"/>
                  <a:chExt cx="1281663" cy="1232032"/>
                </a:xfrm>
              </p:grpSpPr>
              <p:cxnSp>
                <p:nvCxnSpPr>
                  <p:cNvPr id="55" name="Straight Arrow Connector 5"/>
                  <p:cNvCxnSpPr/>
                  <p:nvPr/>
                </p:nvCxnSpPr>
                <p:spPr>
                  <a:xfrm rot="15420000">
                    <a:off x="4475194" y="3438873"/>
                    <a:ext cx="501676" cy="501676"/>
                  </a:xfrm>
                  <a:prstGeom prst="straightConnector1">
                    <a:avLst/>
                  </a:prstGeom>
                  <a:ln>
                    <a:solidFill>
                      <a:srgbClr val="9F9F9F"/>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6"/>
                  <p:cNvCxnSpPr/>
                  <p:nvPr/>
                </p:nvCxnSpPr>
                <p:spPr>
                  <a:xfrm rot="11700000">
                    <a:off x="4104198" y="3473378"/>
                    <a:ext cx="501676" cy="501676"/>
                  </a:xfrm>
                  <a:prstGeom prst="straightConnector1">
                    <a:avLst/>
                  </a:prstGeom>
                  <a:ln>
                    <a:solidFill>
                      <a:srgbClr val="9F9F9F"/>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7"/>
                  <p:cNvCxnSpPr/>
                  <p:nvPr/>
                </p:nvCxnSpPr>
                <p:spPr>
                  <a:xfrm rot="18900000">
                    <a:off x="4676316" y="3772163"/>
                    <a:ext cx="525391" cy="525391"/>
                  </a:xfrm>
                  <a:prstGeom prst="straightConnector1">
                    <a:avLst/>
                  </a:prstGeom>
                  <a:ln>
                    <a:solidFill>
                      <a:srgbClr val="9F9F9F"/>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8"/>
                  <p:cNvCxnSpPr/>
                  <p:nvPr/>
                </p:nvCxnSpPr>
                <p:spPr>
                  <a:xfrm>
                    <a:off x="4669333" y="4236439"/>
                    <a:ext cx="251422" cy="434466"/>
                  </a:xfrm>
                  <a:prstGeom prst="straightConnector1">
                    <a:avLst/>
                  </a:prstGeom>
                  <a:ln>
                    <a:solidFill>
                      <a:srgbClr val="9F9F9F"/>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9"/>
                  <p:cNvCxnSpPr/>
                  <p:nvPr/>
                </p:nvCxnSpPr>
                <p:spPr>
                  <a:xfrm rot="3660000">
                    <a:off x="4189070" y="4253692"/>
                    <a:ext cx="251422" cy="434466"/>
                  </a:xfrm>
                  <a:prstGeom prst="straightConnector1">
                    <a:avLst/>
                  </a:prstGeom>
                  <a:ln>
                    <a:solidFill>
                      <a:srgbClr val="9F9F9F"/>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10"/>
                  <p:cNvCxnSpPr/>
                  <p:nvPr/>
                </p:nvCxnSpPr>
                <p:spPr>
                  <a:xfrm rot="2700000" flipH="1">
                    <a:off x="3920044" y="3772163"/>
                    <a:ext cx="525391" cy="525391"/>
                  </a:xfrm>
                  <a:prstGeom prst="straightConnector1">
                    <a:avLst/>
                  </a:prstGeom>
                  <a:ln>
                    <a:solidFill>
                      <a:srgbClr val="9F9F9F"/>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2" name="Group 101"/>
                <p:cNvGrpSpPr/>
                <p:nvPr/>
              </p:nvGrpSpPr>
              <p:grpSpPr>
                <a:xfrm>
                  <a:off x="4028092" y="3427884"/>
                  <a:ext cx="1068278" cy="1225448"/>
                  <a:chOff x="4028092" y="3427884"/>
                  <a:chExt cx="1068278" cy="1225448"/>
                </a:xfrm>
              </p:grpSpPr>
              <p:sp>
                <p:nvSpPr>
                  <p:cNvPr id="53" name="Hexagon 11"/>
                  <p:cNvSpPr/>
                  <p:nvPr/>
                </p:nvSpPr>
                <p:spPr>
                  <a:xfrm rot="5400000">
                    <a:off x="3949507" y="3506469"/>
                    <a:ext cx="1225448" cy="1068278"/>
                  </a:xfrm>
                  <a:prstGeom prst="hexagon">
                    <a:avLst>
                      <a:gd name="adj" fmla="val 28638"/>
                      <a:gd name="vf" fmla="val 115470"/>
                    </a:avLst>
                  </a:prstGeom>
                  <a:solidFill>
                    <a:srgbClr val="EAAA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sp>
                <p:nvSpPr>
                  <p:cNvPr id="54" name="TextBox 98"/>
                  <p:cNvSpPr txBox="1"/>
                  <p:nvPr/>
                </p:nvSpPr>
                <p:spPr>
                  <a:xfrm>
                    <a:off x="4099727" y="3585073"/>
                    <a:ext cx="966788" cy="779511"/>
                  </a:xfrm>
                  <a:prstGeom prst="rect">
                    <a:avLst/>
                  </a:prstGeom>
                  <a:noFill/>
                </p:spPr>
                <p:txBody>
                  <a:bodyPr wrap="square" rtlCol="0">
                    <a:spAutoFit/>
                  </a:bodyPr>
                  <a:lstStyle/>
                  <a:p>
                    <a:pPr algn="ctr" defTabSz="685800"/>
                    <a:r>
                      <a:rPr lang="en-US" sz="1200" b="1" dirty="0">
                        <a:solidFill>
                          <a:prstClr val="white"/>
                        </a:solidFill>
                        <a:latin typeface="Arial" panose="020B0604020202020204" pitchFamily="34" charset="0"/>
                      </a:rPr>
                      <a:t> Gap Analysis and Environmental Scan</a:t>
                    </a:r>
                  </a:p>
                </p:txBody>
              </p:sp>
            </p:grpSp>
          </p:grpSp>
          <p:grpSp>
            <p:nvGrpSpPr>
              <p:cNvPr id="13" name="Group 127"/>
              <p:cNvGrpSpPr/>
              <p:nvPr/>
            </p:nvGrpSpPr>
            <p:grpSpPr>
              <a:xfrm>
                <a:off x="2628499" y="2209800"/>
                <a:ext cx="3869846" cy="3670084"/>
                <a:chOff x="2628499" y="2209800"/>
                <a:chExt cx="3869846" cy="3670084"/>
              </a:xfrm>
            </p:grpSpPr>
            <p:grpSp>
              <p:nvGrpSpPr>
                <p:cNvPr id="14" name="Group 61"/>
                <p:cNvGrpSpPr/>
                <p:nvPr/>
              </p:nvGrpSpPr>
              <p:grpSpPr>
                <a:xfrm>
                  <a:off x="3305236" y="4545899"/>
                  <a:ext cx="1162896" cy="1333985"/>
                  <a:chOff x="3305236" y="4545899"/>
                  <a:chExt cx="1162896" cy="1333985"/>
                </a:xfrm>
              </p:grpSpPr>
              <p:sp>
                <p:nvSpPr>
                  <p:cNvPr id="45" name="Hexagon 22"/>
                  <p:cNvSpPr/>
                  <p:nvPr/>
                </p:nvSpPr>
                <p:spPr>
                  <a:xfrm rot="5400000">
                    <a:off x="3219691" y="4631444"/>
                    <a:ext cx="1333985" cy="1162896"/>
                  </a:xfrm>
                  <a:prstGeom prst="hexagon">
                    <a:avLst>
                      <a:gd name="adj" fmla="val 28638"/>
                      <a:gd name="vf" fmla="val 115470"/>
                    </a:avLst>
                  </a:prstGeom>
                  <a:solidFill>
                    <a:srgbClr val="00A3A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nvGrpSpPr>
                  <p:cNvPr id="46" name="Group 30"/>
                  <p:cNvGrpSpPr/>
                  <p:nvPr/>
                </p:nvGrpSpPr>
                <p:grpSpPr>
                  <a:xfrm>
                    <a:off x="3658116" y="5008253"/>
                    <a:ext cx="457141" cy="409278"/>
                    <a:chOff x="7352478" y="1412711"/>
                    <a:chExt cx="845493" cy="756966"/>
                  </a:xfrm>
                  <a:solidFill>
                    <a:schemeClr val="bg1"/>
                  </a:solidFill>
                </p:grpSpPr>
                <p:sp>
                  <p:nvSpPr>
                    <p:cNvPr id="47" name="Rectangle 1"/>
                    <p:cNvSpPr/>
                    <p:nvPr/>
                  </p:nvSpPr>
                  <p:spPr>
                    <a:xfrm>
                      <a:off x="7579298" y="1412711"/>
                      <a:ext cx="618673" cy="331757"/>
                    </a:xfrm>
                    <a:custGeom>
                      <a:avLst/>
                      <a:gdLst>
                        <a:gd name="connsiteX0" fmla="*/ 0 w 4516017"/>
                        <a:gd name="connsiteY0" fmla="*/ 0 h 2612572"/>
                        <a:gd name="connsiteX1" fmla="*/ 4516017 w 4516017"/>
                        <a:gd name="connsiteY1" fmla="*/ 0 h 2612572"/>
                        <a:gd name="connsiteX2" fmla="*/ 4516017 w 4516017"/>
                        <a:gd name="connsiteY2" fmla="*/ 2612572 h 2612572"/>
                        <a:gd name="connsiteX3" fmla="*/ 0 w 4516017"/>
                        <a:gd name="connsiteY3" fmla="*/ 2612572 h 2612572"/>
                        <a:gd name="connsiteX4" fmla="*/ 0 w 4516017"/>
                        <a:gd name="connsiteY4" fmla="*/ 0 h 2612572"/>
                        <a:gd name="connsiteX0" fmla="*/ 0 w 4516017"/>
                        <a:gd name="connsiteY0" fmla="*/ 37322 h 2649894"/>
                        <a:gd name="connsiteX1" fmla="*/ 3638940 w 4516017"/>
                        <a:gd name="connsiteY1" fmla="*/ 0 h 2649894"/>
                        <a:gd name="connsiteX2" fmla="*/ 4516017 w 4516017"/>
                        <a:gd name="connsiteY2" fmla="*/ 2649894 h 2649894"/>
                        <a:gd name="connsiteX3" fmla="*/ 0 w 4516017"/>
                        <a:gd name="connsiteY3" fmla="*/ 2649894 h 2649894"/>
                        <a:gd name="connsiteX4" fmla="*/ 0 w 4516017"/>
                        <a:gd name="connsiteY4" fmla="*/ 37322 h 2649894"/>
                        <a:gd name="connsiteX0" fmla="*/ 0 w 4453264"/>
                        <a:gd name="connsiteY0" fmla="*/ 37322 h 2649894"/>
                        <a:gd name="connsiteX1" fmla="*/ 3638940 w 4453264"/>
                        <a:gd name="connsiteY1" fmla="*/ 0 h 2649894"/>
                        <a:gd name="connsiteX2" fmla="*/ 4453264 w 4453264"/>
                        <a:gd name="connsiteY2" fmla="*/ 1457588 h 2649894"/>
                        <a:gd name="connsiteX3" fmla="*/ 0 w 4453264"/>
                        <a:gd name="connsiteY3" fmla="*/ 2649894 h 2649894"/>
                        <a:gd name="connsiteX4" fmla="*/ 0 w 4453264"/>
                        <a:gd name="connsiteY4" fmla="*/ 37322 h 2649894"/>
                        <a:gd name="connsiteX0" fmla="*/ 0 w 4453264"/>
                        <a:gd name="connsiteY0" fmla="*/ 0 h 2612572"/>
                        <a:gd name="connsiteX1" fmla="*/ 3576188 w 4453264"/>
                        <a:gd name="connsiteY1" fmla="*/ 25431 h 2612572"/>
                        <a:gd name="connsiteX2" fmla="*/ 4453264 w 4453264"/>
                        <a:gd name="connsiteY2" fmla="*/ 1420266 h 2612572"/>
                        <a:gd name="connsiteX3" fmla="*/ 0 w 4453264"/>
                        <a:gd name="connsiteY3" fmla="*/ 2612572 h 2612572"/>
                        <a:gd name="connsiteX4" fmla="*/ 0 w 4453264"/>
                        <a:gd name="connsiteY4" fmla="*/ 0 h 2612572"/>
                        <a:gd name="connsiteX0" fmla="*/ 0 w 4471193"/>
                        <a:gd name="connsiteY0" fmla="*/ 0 h 2612572"/>
                        <a:gd name="connsiteX1" fmla="*/ 3576188 w 4471193"/>
                        <a:gd name="connsiteY1" fmla="*/ 25431 h 2612572"/>
                        <a:gd name="connsiteX2" fmla="*/ 4471193 w 4471193"/>
                        <a:gd name="connsiteY2" fmla="*/ 1007890 h 2612572"/>
                        <a:gd name="connsiteX3" fmla="*/ 0 w 4471193"/>
                        <a:gd name="connsiteY3" fmla="*/ 2612572 h 2612572"/>
                        <a:gd name="connsiteX4" fmla="*/ 0 w 4471193"/>
                        <a:gd name="connsiteY4" fmla="*/ 0 h 2612572"/>
                        <a:gd name="connsiteX0" fmla="*/ 0 w 4471193"/>
                        <a:gd name="connsiteY0" fmla="*/ 0 h 2612572"/>
                        <a:gd name="connsiteX1" fmla="*/ 3637873 w 4471193"/>
                        <a:gd name="connsiteY1" fmla="*/ 94374 h 2612572"/>
                        <a:gd name="connsiteX2" fmla="*/ 4471193 w 4471193"/>
                        <a:gd name="connsiteY2" fmla="*/ 1007890 h 2612572"/>
                        <a:gd name="connsiteX3" fmla="*/ 0 w 4471193"/>
                        <a:gd name="connsiteY3" fmla="*/ 2612572 h 2612572"/>
                        <a:gd name="connsiteX4" fmla="*/ 0 w 4471193"/>
                        <a:gd name="connsiteY4" fmla="*/ 0 h 2612572"/>
                        <a:gd name="connsiteX0" fmla="*/ 0 w 4394993"/>
                        <a:gd name="connsiteY0" fmla="*/ 0 h 2612572"/>
                        <a:gd name="connsiteX1" fmla="*/ 3637873 w 4394993"/>
                        <a:gd name="connsiteY1" fmla="*/ 94374 h 2612572"/>
                        <a:gd name="connsiteX2" fmla="*/ 4394993 w 4394993"/>
                        <a:gd name="connsiteY2" fmla="*/ 913547 h 2612572"/>
                        <a:gd name="connsiteX3" fmla="*/ 0 w 4394993"/>
                        <a:gd name="connsiteY3" fmla="*/ 2612572 h 2612572"/>
                        <a:gd name="connsiteX4" fmla="*/ 0 w 4394993"/>
                        <a:gd name="connsiteY4" fmla="*/ 0 h 2612572"/>
                        <a:gd name="connsiteX0" fmla="*/ 0 w 4394993"/>
                        <a:gd name="connsiteY0" fmla="*/ 0 h 2612572"/>
                        <a:gd name="connsiteX1" fmla="*/ 3645131 w 4394993"/>
                        <a:gd name="connsiteY1" fmla="*/ 94374 h 2612572"/>
                        <a:gd name="connsiteX2" fmla="*/ 4394993 w 4394993"/>
                        <a:gd name="connsiteY2" fmla="*/ 913547 h 2612572"/>
                        <a:gd name="connsiteX3" fmla="*/ 0 w 4394993"/>
                        <a:gd name="connsiteY3" fmla="*/ 2612572 h 2612572"/>
                        <a:gd name="connsiteX4" fmla="*/ 0 w 4394993"/>
                        <a:gd name="connsiteY4" fmla="*/ 0 h 2612572"/>
                        <a:gd name="connsiteX0" fmla="*/ 0 w 4394993"/>
                        <a:gd name="connsiteY0" fmla="*/ 0 h 2612572"/>
                        <a:gd name="connsiteX1" fmla="*/ 2698102 w 4394993"/>
                        <a:gd name="connsiteY1" fmla="*/ 71535 h 2612572"/>
                        <a:gd name="connsiteX2" fmla="*/ 3645131 w 4394993"/>
                        <a:gd name="connsiteY2" fmla="*/ 94374 h 2612572"/>
                        <a:gd name="connsiteX3" fmla="*/ 4394993 w 4394993"/>
                        <a:gd name="connsiteY3" fmla="*/ 913547 h 2612572"/>
                        <a:gd name="connsiteX4" fmla="*/ 0 w 4394993"/>
                        <a:gd name="connsiteY4" fmla="*/ 2612572 h 2612572"/>
                        <a:gd name="connsiteX5" fmla="*/ 0 w 4394993"/>
                        <a:gd name="connsiteY5" fmla="*/ 0 h 2612572"/>
                        <a:gd name="connsiteX0" fmla="*/ 0 w 4394993"/>
                        <a:gd name="connsiteY0" fmla="*/ 0 h 2612572"/>
                        <a:gd name="connsiteX1" fmla="*/ 3158930 w 4394993"/>
                        <a:gd name="connsiteY1" fmla="*/ 60650 h 2612572"/>
                        <a:gd name="connsiteX2" fmla="*/ 3645131 w 4394993"/>
                        <a:gd name="connsiteY2" fmla="*/ 94374 h 2612572"/>
                        <a:gd name="connsiteX3" fmla="*/ 4394993 w 4394993"/>
                        <a:gd name="connsiteY3" fmla="*/ 913547 h 2612572"/>
                        <a:gd name="connsiteX4" fmla="*/ 0 w 4394993"/>
                        <a:gd name="connsiteY4" fmla="*/ 2612572 h 2612572"/>
                        <a:gd name="connsiteX5" fmla="*/ 0 w 4394993"/>
                        <a:gd name="connsiteY5" fmla="*/ 0 h 2612572"/>
                        <a:gd name="connsiteX0" fmla="*/ 0 w 4394993"/>
                        <a:gd name="connsiteY0" fmla="*/ 0 h 2612572"/>
                        <a:gd name="connsiteX1" fmla="*/ 2306217 w 4394993"/>
                        <a:gd name="connsiteY1" fmla="*/ 46135 h 2612572"/>
                        <a:gd name="connsiteX2" fmla="*/ 3158930 w 4394993"/>
                        <a:gd name="connsiteY2" fmla="*/ 60650 h 2612572"/>
                        <a:gd name="connsiteX3" fmla="*/ 3645131 w 4394993"/>
                        <a:gd name="connsiteY3" fmla="*/ 94374 h 2612572"/>
                        <a:gd name="connsiteX4" fmla="*/ 4394993 w 4394993"/>
                        <a:gd name="connsiteY4" fmla="*/ 913547 h 2612572"/>
                        <a:gd name="connsiteX5" fmla="*/ 0 w 4394993"/>
                        <a:gd name="connsiteY5" fmla="*/ 2612572 h 2612572"/>
                        <a:gd name="connsiteX6" fmla="*/ 0 w 4394993"/>
                        <a:gd name="connsiteY6" fmla="*/ 0 h 2612572"/>
                        <a:gd name="connsiteX0" fmla="*/ 0 w 4394993"/>
                        <a:gd name="connsiteY0" fmla="*/ 0 h 2612572"/>
                        <a:gd name="connsiteX1" fmla="*/ 2679960 w 4394993"/>
                        <a:gd name="connsiteY1" fmla="*/ 292878 h 2612572"/>
                        <a:gd name="connsiteX2" fmla="*/ 3158930 w 4394993"/>
                        <a:gd name="connsiteY2" fmla="*/ 60650 h 2612572"/>
                        <a:gd name="connsiteX3" fmla="*/ 3645131 w 4394993"/>
                        <a:gd name="connsiteY3" fmla="*/ 94374 h 2612572"/>
                        <a:gd name="connsiteX4" fmla="*/ 4394993 w 4394993"/>
                        <a:gd name="connsiteY4" fmla="*/ 913547 h 2612572"/>
                        <a:gd name="connsiteX5" fmla="*/ 0 w 4394993"/>
                        <a:gd name="connsiteY5" fmla="*/ 2612572 h 2612572"/>
                        <a:gd name="connsiteX6" fmla="*/ 0 w 4394993"/>
                        <a:gd name="connsiteY6" fmla="*/ 0 h 2612572"/>
                        <a:gd name="connsiteX0" fmla="*/ 0 w 4394993"/>
                        <a:gd name="connsiteY0" fmla="*/ 0 h 2612572"/>
                        <a:gd name="connsiteX1" fmla="*/ 2679960 w 4394993"/>
                        <a:gd name="connsiteY1" fmla="*/ 292878 h 2612572"/>
                        <a:gd name="connsiteX2" fmla="*/ 3158930 w 4394993"/>
                        <a:gd name="connsiteY2" fmla="*/ 60650 h 2612572"/>
                        <a:gd name="connsiteX3" fmla="*/ 3645131 w 4394993"/>
                        <a:gd name="connsiteY3" fmla="*/ 94374 h 2612572"/>
                        <a:gd name="connsiteX4" fmla="*/ 4394993 w 4394993"/>
                        <a:gd name="connsiteY4" fmla="*/ 913547 h 2612572"/>
                        <a:gd name="connsiteX5" fmla="*/ 0 w 4394993"/>
                        <a:gd name="connsiteY5" fmla="*/ 2612572 h 2612572"/>
                        <a:gd name="connsiteX6" fmla="*/ 0 w 4394993"/>
                        <a:gd name="connsiteY6" fmla="*/ 0 h 2612572"/>
                        <a:gd name="connsiteX0" fmla="*/ 0 w 4394993"/>
                        <a:gd name="connsiteY0" fmla="*/ 9251 h 2621823"/>
                        <a:gd name="connsiteX1" fmla="*/ 2679960 w 4394993"/>
                        <a:gd name="connsiteY1" fmla="*/ 302129 h 2621823"/>
                        <a:gd name="connsiteX2" fmla="*/ 3158930 w 4394993"/>
                        <a:gd name="connsiteY2" fmla="*/ 69901 h 2621823"/>
                        <a:gd name="connsiteX3" fmla="*/ 3645131 w 4394993"/>
                        <a:gd name="connsiteY3" fmla="*/ 103625 h 2621823"/>
                        <a:gd name="connsiteX4" fmla="*/ 4394993 w 4394993"/>
                        <a:gd name="connsiteY4" fmla="*/ 922798 h 2621823"/>
                        <a:gd name="connsiteX5" fmla="*/ 0 w 4394993"/>
                        <a:gd name="connsiteY5" fmla="*/ 2621823 h 2621823"/>
                        <a:gd name="connsiteX6" fmla="*/ 0 w 4394993"/>
                        <a:gd name="connsiteY6" fmla="*/ 9251 h 2621823"/>
                        <a:gd name="connsiteX0" fmla="*/ 0 w 4394993"/>
                        <a:gd name="connsiteY0" fmla="*/ 21038 h 2633610"/>
                        <a:gd name="connsiteX1" fmla="*/ 2679960 w 4394993"/>
                        <a:gd name="connsiteY1" fmla="*/ 313916 h 2633610"/>
                        <a:gd name="connsiteX2" fmla="*/ 3158930 w 4394993"/>
                        <a:gd name="connsiteY2" fmla="*/ 81688 h 2633610"/>
                        <a:gd name="connsiteX3" fmla="*/ 3645131 w 4394993"/>
                        <a:gd name="connsiteY3" fmla="*/ 115412 h 2633610"/>
                        <a:gd name="connsiteX4" fmla="*/ 4394993 w 4394993"/>
                        <a:gd name="connsiteY4" fmla="*/ 934585 h 2633610"/>
                        <a:gd name="connsiteX5" fmla="*/ 0 w 4394993"/>
                        <a:gd name="connsiteY5" fmla="*/ 2633610 h 2633610"/>
                        <a:gd name="connsiteX6" fmla="*/ 0 w 4394993"/>
                        <a:gd name="connsiteY6" fmla="*/ 21038 h 2633610"/>
                        <a:gd name="connsiteX0" fmla="*/ 0 w 4394993"/>
                        <a:gd name="connsiteY0" fmla="*/ 16214 h 2628786"/>
                        <a:gd name="connsiteX1" fmla="*/ 2679960 w 4394993"/>
                        <a:gd name="connsiteY1" fmla="*/ 309092 h 2628786"/>
                        <a:gd name="connsiteX2" fmla="*/ 3158930 w 4394993"/>
                        <a:gd name="connsiteY2" fmla="*/ 76864 h 2628786"/>
                        <a:gd name="connsiteX3" fmla="*/ 3645131 w 4394993"/>
                        <a:gd name="connsiteY3" fmla="*/ 110588 h 2628786"/>
                        <a:gd name="connsiteX4" fmla="*/ 4394993 w 4394993"/>
                        <a:gd name="connsiteY4" fmla="*/ 929761 h 2628786"/>
                        <a:gd name="connsiteX5" fmla="*/ 0 w 4394993"/>
                        <a:gd name="connsiteY5" fmla="*/ 2628786 h 2628786"/>
                        <a:gd name="connsiteX6" fmla="*/ 0 w 4394993"/>
                        <a:gd name="connsiteY6" fmla="*/ 16214 h 2628786"/>
                        <a:gd name="connsiteX0" fmla="*/ 0 w 4394993"/>
                        <a:gd name="connsiteY0" fmla="*/ 21436 h 2634008"/>
                        <a:gd name="connsiteX1" fmla="*/ 2679960 w 4394993"/>
                        <a:gd name="connsiteY1" fmla="*/ 314314 h 2634008"/>
                        <a:gd name="connsiteX2" fmla="*/ 3148045 w 4394993"/>
                        <a:gd name="connsiteY2" fmla="*/ 74829 h 2634008"/>
                        <a:gd name="connsiteX3" fmla="*/ 3645131 w 4394993"/>
                        <a:gd name="connsiteY3" fmla="*/ 115810 h 2634008"/>
                        <a:gd name="connsiteX4" fmla="*/ 4394993 w 4394993"/>
                        <a:gd name="connsiteY4" fmla="*/ 934983 h 2634008"/>
                        <a:gd name="connsiteX5" fmla="*/ 0 w 4394993"/>
                        <a:gd name="connsiteY5" fmla="*/ 2634008 h 2634008"/>
                        <a:gd name="connsiteX6" fmla="*/ 0 w 4394993"/>
                        <a:gd name="connsiteY6" fmla="*/ 21436 h 2634008"/>
                        <a:gd name="connsiteX0" fmla="*/ 0 w 4394993"/>
                        <a:gd name="connsiteY0" fmla="*/ 21436 h 2634008"/>
                        <a:gd name="connsiteX1" fmla="*/ 2679960 w 4394993"/>
                        <a:gd name="connsiteY1" fmla="*/ 314314 h 2634008"/>
                        <a:gd name="connsiteX2" fmla="*/ 3148045 w 4394993"/>
                        <a:gd name="connsiteY2" fmla="*/ 74829 h 2634008"/>
                        <a:gd name="connsiteX3" fmla="*/ 3645131 w 4394993"/>
                        <a:gd name="connsiteY3" fmla="*/ 115810 h 2634008"/>
                        <a:gd name="connsiteX4" fmla="*/ 4394993 w 4394993"/>
                        <a:gd name="connsiteY4" fmla="*/ 934983 h 2634008"/>
                        <a:gd name="connsiteX5" fmla="*/ 0 w 4394993"/>
                        <a:gd name="connsiteY5" fmla="*/ 2634008 h 2634008"/>
                        <a:gd name="connsiteX6" fmla="*/ 0 w 4394993"/>
                        <a:gd name="connsiteY6" fmla="*/ 21436 h 2634008"/>
                        <a:gd name="connsiteX0" fmla="*/ 0 w 4394993"/>
                        <a:gd name="connsiteY0" fmla="*/ 18213 h 2630785"/>
                        <a:gd name="connsiteX1" fmla="*/ 2679960 w 4394993"/>
                        <a:gd name="connsiteY1" fmla="*/ 311091 h 2630785"/>
                        <a:gd name="connsiteX2" fmla="*/ 3148045 w 4394993"/>
                        <a:gd name="connsiteY2" fmla="*/ 71606 h 2630785"/>
                        <a:gd name="connsiteX3" fmla="*/ 3645131 w 4394993"/>
                        <a:gd name="connsiteY3" fmla="*/ 112587 h 2630785"/>
                        <a:gd name="connsiteX4" fmla="*/ 4394993 w 4394993"/>
                        <a:gd name="connsiteY4" fmla="*/ 931760 h 2630785"/>
                        <a:gd name="connsiteX5" fmla="*/ 0 w 4394993"/>
                        <a:gd name="connsiteY5" fmla="*/ 2630785 h 2630785"/>
                        <a:gd name="connsiteX6" fmla="*/ 0 w 4394993"/>
                        <a:gd name="connsiteY6" fmla="*/ 18213 h 2630785"/>
                        <a:gd name="connsiteX0" fmla="*/ 0 w 4394993"/>
                        <a:gd name="connsiteY0" fmla="*/ 29361 h 2641933"/>
                        <a:gd name="connsiteX1" fmla="*/ 2679960 w 4394993"/>
                        <a:gd name="connsiteY1" fmla="*/ 322239 h 2641933"/>
                        <a:gd name="connsiteX2" fmla="*/ 3148045 w 4394993"/>
                        <a:gd name="connsiteY2" fmla="*/ 82754 h 2641933"/>
                        <a:gd name="connsiteX3" fmla="*/ 3645131 w 4394993"/>
                        <a:gd name="connsiteY3" fmla="*/ 123735 h 2641933"/>
                        <a:gd name="connsiteX4" fmla="*/ 4394993 w 4394993"/>
                        <a:gd name="connsiteY4" fmla="*/ 942908 h 2641933"/>
                        <a:gd name="connsiteX5" fmla="*/ 0 w 4394993"/>
                        <a:gd name="connsiteY5" fmla="*/ 2641933 h 2641933"/>
                        <a:gd name="connsiteX6" fmla="*/ 0 w 4394993"/>
                        <a:gd name="connsiteY6" fmla="*/ 29361 h 2641933"/>
                        <a:gd name="connsiteX0" fmla="*/ 0 w 4394993"/>
                        <a:gd name="connsiteY0" fmla="*/ 21450 h 2634022"/>
                        <a:gd name="connsiteX1" fmla="*/ 2679960 w 4394993"/>
                        <a:gd name="connsiteY1" fmla="*/ 314328 h 2634022"/>
                        <a:gd name="connsiteX2" fmla="*/ 3148045 w 4394993"/>
                        <a:gd name="connsiteY2" fmla="*/ 74843 h 2634022"/>
                        <a:gd name="connsiteX3" fmla="*/ 3670531 w 4394993"/>
                        <a:gd name="connsiteY3" fmla="*/ 141224 h 2634022"/>
                        <a:gd name="connsiteX4" fmla="*/ 4394993 w 4394993"/>
                        <a:gd name="connsiteY4" fmla="*/ 934997 h 2634022"/>
                        <a:gd name="connsiteX5" fmla="*/ 0 w 4394993"/>
                        <a:gd name="connsiteY5" fmla="*/ 2634022 h 2634022"/>
                        <a:gd name="connsiteX6" fmla="*/ 0 w 4394993"/>
                        <a:gd name="connsiteY6" fmla="*/ 21450 h 2634022"/>
                        <a:gd name="connsiteX0" fmla="*/ 0 w 4394993"/>
                        <a:gd name="connsiteY0" fmla="*/ 21450 h 2634022"/>
                        <a:gd name="connsiteX1" fmla="*/ 2679960 w 4394993"/>
                        <a:gd name="connsiteY1" fmla="*/ 314328 h 2634022"/>
                        <a:gd name="connsiteX2" fmla="*/ 3148045 w 4394993"/>
                        <a:gd name="connsiteY2" fmla="*/ 74843 h 2634022"/>
                        <a:gd name="connsiteX3" fmla="*/ 3670531 w 4394993"/>
                        <a:gd name="connsiteY3" fmla="*/ 141224 h 2634022"/>
                        <a:gd name="connsiteX4" fmla="*/ 4394993 w 4394993"/>
                        <a:gd name="connsiteY4" fmla="*/ 934997 h 2634022"/>
                        <a:gd name="connsiteX5" fmla="*/ 3859245 w 4394993"/>
                        <a:gd name="connsiteY5" fmla="*/ 1130756 h 2634022"/>
                        <a:gd name="connsiteX6" fmla="*/ 0 w 4394993"/>
                        <a:gd name="connsiteY6" fmla="*/ 2634022 h 2634022"/>
                        <a:gd name="connsiteX7" fmla="*/ 0 w 4394993"/>
                        <a:gd name="connsiteY7" fmla="*/ 21450 h 2634022"/>
                        <a:gd name="connsiteX0" fmla="*/ 0 w 4465217"/>
                        <a:gd name="connsiteY0" fmla="*/ 21450 h 2634022"/>
                        <a:gd name="connsiteX1" fmla="*/ 2679960 w 4465217"/>
                        <a:gd name="connsiteY1" fmla="*/ 314328 h 2634022"/>
                        <a:gd name="connsiteX2" fmla="*/ 3148045 w 4465217"/>
                        <a:gd name="connsiteY2" fmla="*/ 74843 h 2634022"/>
                        <a:gd name="connsiteX3" fmla="*/ 3670531 w 4465217"/>
                        <a:gd name="connsiteY3" fmla="*/ 141224 h 2634022"/>
                        <a:gd name="connsiteX4" fmla="*/ 4394993 w 4465217"/>
                        <a:gd name="connsiteY4" fmla="*/ 934997 h 2634022"/>
                        <a:gd name="connsiteX5" fmla="*/ 4465217 w 4465217"/>
                        <a:gd name="connsiteY5" fmla="*/ 1348470 h 2634022"/>
                        <a:gd name="connsiteX6" fmla="*/ 0 w 4465217"/>
                        <a:gd name="connsiteY6" fmla="*/ 2634022 h 2634022"/>
                        <a:gd name="connsiteX7" fmla="*/ 0 w 4465217"/>
                        <a:gd name="connsiteY7" fmla="*/ 21450 h 2634022"/>
                        <a:gd name="connsiteX0" fmla="*/ 0 w 4465217"/>
                        <a:gd name="connsiteY0" fmla="*/ 21450 h 2634022"/>
                        <a:gd name="connsiteX1" fmla="*/ 2679960 w 4465217"/>
                        <a:gd name="connsiteY1" fmla="*/ 314328 h 2634022"/>
                        <a:gd name="connsiteX2" fmla="*/ 3148045 w 4465217"/>
                        <a:gd name="connsiteY2" fmla="*/ 74843 h 2634022"/>
                        <a:gd name="connsiteX3" fmla="*/ 3670531 w 4465217"/>
                        <a:gd name="connsiteY3" fmla="*/ 141224 h 2634022"/>
                        <a:gd name="connsiteX4" fmla="*/ 4394993 w 4465217"/>
                        <a:gd name="connsiteY4" fmla="*/ 934997 h 2634022"/>
                        <a:gd name="connsiteX5" fmla="*/ 4465217 w 4465217"/>
                        <a:gd name="connsiteY5" fmla="*/ 1348470 h 2634022"/>
                        <a:gd name="connsiteX6" fmla="*/ 3296817 w 4465217"/>
                        <a:gd name="connsiteY6" fmla="*/ 1678671 h 2634022"/>
                        <a:gd name="connsiteX7" fmla="*/ 0 w 4465217"/>
                        <a:gd name="connsiteY7" fmla="*/ 2634022 h 2634022"/>
                        <a:gd name="connsiteX8" fmla="*/ 0 w 4465217"/>
                        <a:gd name="connsiteY8" fmla="*/ 21450 h 2634022"/>
                        <a:gd name="connsiteX0" fmla="*/ 0 w 4465217"/>
                        <a:gd name="connsiteY0" fmla="*/ 21450 h 2634022"/>
                        <a:gd name="connsiteX1" fmla="*/ 2679960 w 4465217"/>
                        <a:gd name="connsiteY1" fmla="*/ 314328 h 2634022"/>
                        <a:gd name="connsiteX2" fmla="*/ 3148045 w 4465217"/>
                        <a:gd name="connsiteY2" fmla="*/ 74843 h 2634022"/>
                        <a:gd name="connsiteX3" fmla="*/ 3670531 w 4465217"/>
                        <a:gd name="connsiteY3" fmla="*/ 141224 h 2634022"/>
                        <a:gd name="connsiteX4" fmla="*/ 4394993 w 4465217"/>
                        <a:gd name="connsiteY4" fmla="*/ 934997 h 2634022"/>
                        <a:gd name="connsiteX5" fmla="*/ 4465217 w 4465217"/>
                        <a:gd name="connsiteY5" fmla="*/ 1348470 h 2634022"/>
                        <a:gd name="connsiteX6" fmla="*/ 4171303 w 4465217"/>
                        <a:gd name="connsiteY6" fmla="*/ 1689557 h 2634022"/>
                        <a:gd name="connsiteX7" fmla="*/ 0 w 4465217"/>
                        <a:gd name="connsiteY7" fmla="*/ 2634022 h 2634022"/>
                        <a:gd name="connsiteX8" fmla="*/ 0 w 4465217"/>
                        <a:gd name="connsiteY8" fmla="*/ 21450 h 2634022"/>
                        <a:gd name="connsiteX0" fmla="*/ 0 w 4487666"/>
                        <a:gd name="connsiteY0" fmla="*/ 21450 h 2634022"/>
                        <a:gd name="connsiteX1" fmla="*/ 2679960 w 4487666"/>
                        <a:gd name="connsiteY1" fmla="*/ 314328 h 2634022"/>
                        <a:gd name="connsiteX2" fmla="*/ 3148045 w 4487666"/>
                        <a:gd name="connsiteY2" fmla="*/ 74843 h 2634022"/>
                        <a:gd name="connsiteX3" fmla="*/ 3670531 w 4487666"/>
                        <a:gd name="connsiteY3" fmla="*/ 141224 h 2634022"/>
                        <a:gd name="connsiteX4" fmla="*/ 4394993 w 4487666"/>
                        <a:gd name="connsiteY4" fmla="*/ 934997 h 2634022"/>
                        <a:gd name="connsiteX5" fmla="*/ 4465217 w 4487666"/>
                        <a:gd name="connsiteY5" fmla="*/ 1348470 h 2634022"/>
                        <a:gd name="connsiteX6" fmla="*/ 4171303 w 4487666"/>
                        <a:gd name="connsiteY6" fmla="*/ 1689557 h 2634022"/>
                        <a:gd name="connsiteX7" fmla="*/ 0 w 4487666"/>
                        <a:gd name="connsiteY7" fmla="*/ 2634022 h 2634022"/>
                        <a:gd name="connsiteX8" fmla="*/ 0 w 4487666"/>
                        <a:gd name="connsiteY8" fmla="*/ 21450 h 2634022"/>
                        <a:gd name="connsiteX0" fmla="*/ 0 w 4494029"/>
                        <a:gd name="connsiteY0" fmla="*/ 21450 h 2634022"/>
                        <a:gd name="connsiteX1" fmla="*/ 2679960 w 4494029"/>
                        <a:gd name="connsiteY1" fmla="*/ 314328 h 2634022"/>
                        <a:gd name="connsiteX2" fmla="*/ 3148045 w 4494029"/>
                        <a:gd name="connsiteY2" fmla="*/ 74843 h 2634022"/>
                        <a:gd name="connsiteX3" fmla="*/ 3670531 w 4494029"/>
                        <a:gd name="connsiteY3" fmla="*/ 141224 h 2634022"/>
                        <a:gd name="connsiteX4" fmla="*/ 4394993 w 4494029"/>
                        <a:gd name="connsiteY4" fmla="*/ 934997 h 2634022"/>
                        <a:gd name="connsiteX5" fmla="*/ 4465217 w 4494029"/>
                        <a:gd name="connsiteY5" fmla="*/ 1348470 h 2634022"/>
                        <a:gd name="connsiteX6" fmla="*/ 4171303 w 4494029"/>
                        <a:gd name="connsiteY6" fmla="*/ 1689557 h 2634022"/>
                        <a:gd name="connsiteX7" fmla="*/ 0 w 4494029"/>
                        <a:gd name="connsiteY7" fmla="*/ 2634022 h 2634022"/>
                        <a:gd name="connsiteX8" fmla="*/ 0 w 4494029"/>
                        <a:gd name="connsiteY8"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71303 w 4497210"/>
                        <a:gd name="connsiteY6" fmla="*/ 1689557 h 2634022"/>
                        <a:gd name="connsiteX7" fmla="*/ 0 w 4497210"/>
                        <a:gd name="connsiteY7" fmla="*/ 2634022 h 2634022"/>
                        <a:gd name="connsiteX8" fmla="*/ 0 w 4497210"/>
                        <a:gd name="connsiteY8"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71303 w 4497210"/>
                        <a:gd name="connsiteY6" fmla="*/ 1689557 h 2634022"/>
                        <a:gd name="connsiteX7" fmla="*/ 0 w 4497210"/>
                        <a:gd name="connsiteY7" fmla="*/ 2634022 h 2634022"/>
                        <a:gd name="connsiteX8" fmla="*/ 0 w 4497210"/>
                        <a:gd name="connsiteY8"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71303 w 4497210"/>
                        <a:gd name="connsiteY6" fmla="*/ 1689557 h 2634022"/>
                        <a:gd name="connsiteX7" fmla="*/ 2843243 w 4497210"/>
                        <a:gd name="connsiteY7" fmla="*/ 1987099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71303 w 4497210"/>
                        <a:gd name="connsiteY6" fmla="*/ 1689557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96703 w 4497210"/>
                        <a:gd name="connsiteY6" fmla="*/ 1700443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96703 w 4497210"/>
                        <a:gd name="connsiteY6" fmla="*/ 1700443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96703 w 4497210"/>
                        <a:gd name="connsiteY6" fmla="*/ 1700443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38646 w 4497210"/>
                        <a:gd name="connsiteY6" fmla="*/ 1714957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38646 w 4497210"/>
                        <a:gd name="connsiteY6" fmla="*/ 1714957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38646 w 4497210"/>
                        <a:gd name="connsiteY6" fmla="*/ 1714957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5904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60418 w 4497210"/>
                        <a:gd name="connsiteY6" fmla="*/ 1722214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0 w 4497210"/>
                        <a:gd name="connsiteY8" fmla="*/ 2634022 h 2634022"/>
                        <a:gd name="connsiteX9" fmla="*/ 0 w 4497210"/>
                        <a:gd name="connsiteY9"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514529 w 4497210"/>
                        <a:gd name="connsiteY8" fmla="*/ 2357213 h 2634022"/>
                        <a:gd name="connsiteX9" fmla="*/ 0 w 4497210"/>
                        <a:gd name="connsiteY9" fmla="*/ 2634022 h 2634022"/>
                        <a:gd name="connsiteX10" fmla="*/ 0 w 4497210"/>
                        <a:gd name="connsiteY10"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0 w 4497210"/>
                        <a:gd name="connsiteY9" fmla="*/ 2634022 h 2634022"/>
                        <a:gd name="connsiteX10" fmla="*/ 0 w 4497210"/>
                        <a:gd name="connsiteY10"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0 w 4497210"/>
                        <a:gd name="connsiteY9" fmla="*/ 2634022 h 2634022"/>
                        <a:gd name="connsiteX10" fmla="*/ 0 w 4497210"/>
                        <a:gd name="connsiteY10"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0 w 4497210"/>
                        <a:gd name="connsiteY9" fmla="*/ 2634022 h 2634022"/>
                        <a:gd name="connsiteX10" fmla="*/ 0 w 4497210"/>
                        <a:gd name="connsiteY10"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429441 w 4497210"/>
                        <a:gd name="connsiteY9" fmla="*/ 2481746 h 2634022"/>
                        <a:gd name="connsiteX10" fmla="*/ 0 w 4497210"/>
                        <a:gd name="connsiteY10" fmla="*/ 2634022 h 2634022"/>
                        <a:gd name="connsiteX11" fmla="*/ 0 w 4497210"/>
                        <a:gd name="connsiteY11"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24513 w 4497210"/>
                        <a:gd name="connsiteY9" fmla="*/ 1396658 h 2634022"/>
                        <a:gd name="connsiteX10" fmla="*/ 0 w 4497210"/>
                        <a:gd name="connsiteY10" fmla="*/ 2634022 h 2634022"/>
                        <a:gd name="connsiteX11" fmla="*/ 0 w 4497210"/>
                        <a:gd name="connsiteY11"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0 w 4497210"/>
                        <a:gd name="connsiteY10" fmla="*/ 2634022 h 2634022"/>
                        <a:gd name="connsiteX11" fmla="*/ 0 w 4497210"/>
                        <a:gd name="connsiteY11"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1824413 w 4497210"/>
                        <a:gd name="connsiteY10" fmla="*/ 1763942 h 2634022"/>
                        <a:gd name="connsiteX11" fmla="*/ 0 w 4497210"/>
                        <a:gd name="connsiteY11" fmla="*/ 2634022 h 2634022"/>
                        <a:gd name="connsiteX12" fmla="*/ 0 w 4497210"/>
                        <a:gd name="connsiteY12"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0 w 4497210"/>
                        <a:gd name="connsiteY11" fmla="*/ 2634022 h 2634022"/>
                        <a:gd name="connsiteX12" fmla="*/ 0 w 4497210"/>
                        <a:gd name="connsiteY12"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0 w 4497210"/>
                        <a:gd name="connsiteY11" fmla="*/ 2634022 h 2634022"/>
                        <a:gd name="connsiteX12" fmla="*/ 0 w 4497210"/>
                        <a:gd name="connsiteY12"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0 w 4497210"/>
                        <a:gd name="connsiteY11" fmla="*/ 2634022 h 2634022"/>
                        <a:gd name="connsiteX12" fmla="*/ 0 w 4497210"/>
                        <a:gd name="connsiteY12"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371785 w 4497210"/>
                        <a:gd name="connsiteY11" fmla="*/ 1777658 h 2634022"/>
                        <a:gd name="connsiteX12" fmla="*/ 0 w 4497210"/>
                        <a:gd name="connsiteY12" fmla="*/ 2634022 h 2634022"/>
                        <a:gd name="connsiteX13" fmla="*/ 0 w 4497210"/>
                        <a:gd name="connsiteY13"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422077 w 4497210"/>
                        <a:gd name="connsiteY11" fmla="*/ 1261022 h 2634022"/>
                        <a:gd name="connsiteX12" fmla="*/ 0 w 4497210"/>
                        <a:gd name="connsiteY12" fmla="*/ 2634022 h 2634022"/>
                        <a:gd name="connsiteX13" fmla="*/ 0 w 4497210"/>
                        <a:gd name="connsiteY13"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422077 w 4497210"/>
                        <a:gd name="connsiteY11" fmla="*/ 1261022 h 2634022"/>
                        <a:gd name="connsiteX12" fmla="*/ 0 w 4497210"/>
                        <a:gd name="connsiteY12" fmla="*/ 2634022 h 2634022"/>
                        <a:gd name="connsiteX13" fmla="*/ 0 w 4497210"/>
                        <a:gd name="connsiteY13"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422077 w 4497210"/>
                        <a:gd name="connsiteY11" fmla="*/ 1261022 h 2634022"/>
                        <a:gd name="connsiteX12" fmla="*/ 0 w 4497210"/>
                        <a:gd name="connsiteY12" fmla="*/ 2634022 h 2634022"/>
                        <a:gd name="connsiteX13" fmla="*/ 0 w 4497210"/>
                        <a:gd name="connsiteY13"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10113 w 4497210"/>
                        <a:gd name="connsiteY11" fmla="*/ 122444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422077 w 4497210"/>
                        <a:gd name="connsiteY12" fmla="*/ 1261022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380929 w 4497210"/>
                        <a:gd name="connsiteY12" fmla="*/ 1288454 h 2634022"/>
                        <a:gd name="connsiteX13" fmla="*/ 0 w 4497210"/>
                        <a:gd name="connsiteY13" fmla="*/ 2634022 h 2634022"/>
                        <a:gd name="connsiteX14" fmla="*/ 0 w 4497210"/>
                        <a:gd name="connsiteY14" fmla="*/ 21450 h 2634022"/>
                        <a:gd name="connsiteX0" fmla="*/ 0 w 4497210"/>
                        <a:gd name="connsiteY0" fmla="*/ 21450 h 2634022"/>
                        <a:gd name="connsiteX1" fmla="*/ 2679960 w 4497210"/>
                        <a:gd name="connsiteY1" fmla="*/ 314328 h 2634022"/>
                        <a:gd name="connsiteX2" fmla="*/ 3148045 w 4497210"/>
                        <a:gd name="connsiteY2" fmla="*/ 74843 h 2634022"/>
                        <a:gd name="connsiteX3" fmla="*/ 3670531 w 4497210"/>
                        <a:gd name="connsiteY3" fmla="*/ 141224 h 2634022"/>
                        <a:gd name="connsiteX4" fmla="*/ 4394993 w 4497210"/>
                        <a:gd name="connsiteY4" fmla="*/ 934997 h 2634022"/>
                        <a:gd name="connsiteX5" fmla="*/ 4465217 w 4497210"/>
                        <a:gd name="connsiteY5" fmla="*/ 1348470 h 2634022"/>
                        <a:gd name="connsiteX6" fmla="*/ 4149532 w 4497210"/>
                        <a:gd name="connsiteY6" fmla="*/ 1725842 h 2634022"/>
                        <a:gd name="connsiteX7" fmla="*/ 3949958 w 4497210"/>
                        <a:gd name="connsiteY7" fmla="*/ 2324556 h 2634022"/>
                        <a:gd name="connsiteX8" fmla="*/ 3663300 w 4497210"/>
                        <a:gd name="connsiteY8" fmla="*/ 2408013 h 2634022"/>
                        <a:gd name="connsiteX9" fmla="*/ 2606225 w 4497210"/>
                        <a:gd name="connsiteY9" fmla="*/ 1401230 h 2634022"/>
                        <a:gd name="connsiteX10" fmla="*/ 2139881 w 4497210"/>
                        <a:gd name="connsiteY10" fmla="*/ 1302170 h 2634022"/>
                        <a:gd name="connsiteX11" fmla="*/ 1732973 w 4497210"/>
                        <a:gd name="connsiteY11" fmla="*/ 1247306 h 2634022"/>
                        <a:gd name="connsiteX12" fmla="*/ 1380929 w 4497210"/>
                        <a:gd name="connsiteY12" fmla="*/ 1288454 h 2634022"/>
                        <a:gd name="connsiteX13" fmla="*/ 0 w 4497210"/>
                        <a:gd name="connsiteY13" fmla="*/ 2634022 h 2634022"/>
                        <a:gd name="connsiteX14" fmla="*/ 0 w 4497210"/>
                        <a:gd name="connsiteY14" fmla="*/ 21450 h 2634022"/>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0 w 4497210"/>
                        <a:gd name="connsiteY14" fmla="*/ 21450 h 2435306"/>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0 w 4497210"/>
                        <a:gd name="connsiteY14" fmla="*/ 21450 h 2435306"/>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0 w 4497210"/>
                        <a:gd name="connsiteY14" fmla="*/ 21450 h 2435306"/>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210497 w 4497210"/>
                        <a:gd name="connsiteY14" fmla="*/ 904406 h 2435306"/>
                        <a:gd name="connsiteX15" fmla="*/ 0 w 4497210"/>
                        <a:gd name="connsiteY15" fmla="*/ 21450 h 2435306"/>
                        <a:gd name="connsiteX0" fmla="*/ 0 w 4497210"/>
                        <a:gd name="connsiteY0" fmla="*/ 21450 h 2435306"/>
                        <a:gd name="connsiteX1" fmla="*/ 2679960 w 4497210"/>
                        <a:gd name="connsiteY1" fmla="*/ 314328 h 2435306"/>
                        <a:gd name="connsiteX2" fmla="*/ 3148045 w 4497210"/>
                        <a:gd name="connsiteY2" fmla="*/ 74843 h 2435306"/>
                        <a:gd name="connsiteX3" fmla="*/ 3670531 w 4497210"/>
                        <a:gd name="connsiteY3" fmla="*/ 141224 h 2435306"/>
                        <a:gd name="connsiteX4" fmla="*/ 4394993 w 4497210"/>
                        <a:gd name="connsiteY4" fmla="*/ 934997 h 2435306"/>
                        <a:gd name="connsiteX5" fmla="*/ 4465217 w 4497210"/>
                        <a:gd name="connsiteY5" fmla="*/ 1348470 h 2435306"/>
                        <a:gd name="connsiteX6" fmla="*/ 4149532 w 4497210"/>
                        <a:gd name="connsiteY6" fmla="*/ 1725842 h 2435306"/>
                        <a:gd name="connsiteX7" fmla="*/ 3949958 w 4497210"/>
                        <a:gd name="connsiteY7" fmla="*/ 2324556 h 2435306"/>
                        <a:gd name="connsiteX8" fmla="*/ 3663300 w 4497210"/>
                        <a:gd name="connsiteY8" fmla="*/ 2408013 h 2435306"/>
                        <a:gd name="connsiteX9" fmla="*/ 2606225 w 4497210"/>
                        <a:gd name="connsiteY9" fmla="*/ 1401230 h 2435306"/>
                        <a:gd name="connsiteX10" fmla="*/ 2139881 w 4497210"/>
                        <a:gd name="connsiteY10" fmla="*/ 1302170 h 2435306"/>
                        <a:gd name="connsiteX11" fmla="*/ 1732973 w 4497210"/>
                        <a:gd name="connsiteY11" fmla="*/ 1247306 h 2435306"/>
                        <a:gd name="connsiteX12" fmla="*/ 1380929 w 4497210"/>
                        <a:gd name="connsiteY12" fmla="*/ 1288454 h 2435306"/>
                        <a:gd name="connsiteX13" fmla="*/ 438912 w 4497210"/>
                        <a:gd name="connsiteY13" fmla="*/ 1833922 h 2435306"/>
                        <a:gd name="connsiteX14" fmla="*/ 45905 w 4497210"/>
                        <a:gd name="connsiteY14" fmla="*/ 1393610 h 2435306"/>
                        <a:gd name="connsiteX15" fmla="*/ 0 w 4497210"/>
                        <a:gd name="connsiteY15" fmla="*/ 21450 h 2435306"/>
                        <a:gd name="connsiteX0" fmla="*/ 42359 w 4539569"/>
                        <a:gd name="connsiteY0" fmla="*/ 21450 h 2435306"/>
                        <a:gd name="connsiteX1" fmla="*/ 2722319 w 4539569"/>
                        <a:gd name="connsiteY1" fmla="*/ 314328 h 2435306"/>
                        <a:gd name="connsiteX2" fmla="*/ 3190404 w 4539569"/>
                        <a:gd name="connsiteY2" fmla="*/ 74843 h 2435306"/>
                        <a:gd name="connsiteX3" fmla="*/ 3712890 w 4539569"/>
                        <a:gd name="connsiteY3" fmla="*/ 141224 h 2435306"/>
                        <a:gd name="connsiteX4" fmla="*/ 4437352 w 4539569"/>
                        <a:gd name="connsiteY4" fmla="*/ 934997 h 2435306"/>
                        <a:gd name="connsiteX5" fmla="*/ 4507576 w 4539569"/>
                        <a:gd name="connsiteY5" fmla="*/ 1348470 h 2435306"/>
                        <a:gd name="connsiteX6" fmla="*/ 4191891 w 4539569"/>
                        <a:gd name="connsiteY6" fmla="*/ 1725842 h 2435306"/>
                        <a:gd name="connsiteX7" fmla="*/ 3992317 w 4539569"/>
                        <a:gd name="connsiteY7" fmla="*/ 2324556 h 2435306"/>
                        <a:gd name="connsiteX8" fmla="*/ 3705659 w 4539569"/>
                        <a:gd name="connsiteY8" fmla="*/ 2408013 h 2435306"/>
                        <a:gd name="connsiteX9" fmla="*/ 2648584 w 4539569"/>
                        <a:gd name="connsiteY9" fmla="*/ 1401230 h 2435306"/>
                        <a:gd name="connsiteX10" fmla="*/ 2182240 w 4539569"/>
                        <a:gd name="connsiteY10" fmla="*/ 1302170 h 2435306"/>
                        <a:gd name="connsiteX11" fmla="*/ 1775332 w 4539569"/>
                        <a:gd name="connsiteY11" fmla="*/ 1247306 h 2435306"/>
                        <a:gd name="connsiteX12" fmla="*/ 1423288 w 4539569"/>
                        <a:gd name="connsiteY12" fmla="*/ 1288454 h 2435306"/>
                        <a:gd name="connsiteX13" fmla="*/ 481271 w 4539569"/>
                        <a:gd name="connsiteY13" fmla="*/ 1833922 h 2435306"/>
                        <a:gd name="connsiteX14" fmla="*/ 88264 w 4539569"/>
                        <a:gd name="connsiteY14" fmla="*/ 1393610 h 2435306"/>
                        <a:gd name="connsiteX15" fmla="*/ 42359 w 4539569"/>
                        <a:gd name="connsiteY15" fmla="*/ 21450 h 2435306"/>
                        <a:gd name="connsiteX0" fmla="*/ 55431 w 4552641"/>
                        <a:gd name="connsiteY0" fmla="*/ 21450 h 2435306"/>
                        <a:gd name="connsiteX1" fmla="*/ 2735391 w 4552641"/>
                        <a:gd name="connsiteY1" fmla="*/ 314328 h 2435306"/>
                        <a:gd name="connsiteX2" fmla="*/ 3203476 w 4552641"/>
                        <a:gd name="connsiteY2" fmla="*/ 74843 h 2435306"/>
                        <a:gd name="connsiteX3" fmla="*/ 3725962 w 4552641"/>
                        <a:gd name="connsiteY3" fmla="*/ 141224 h 2435306"/>
                        <a:gd name="connsiteX4" fmla="*/ 4450424 w 4552641"/>
                        <a:gd name="connsiteY4" fmla="*/ 934997 h 2435306"/>
                        <a:gd name="connsiteX5" fmla="*/ 4520648 w 4552641"/>
                        <a:gd name="connsiteY5" fmla="*/ 1348470 h 2435306"/>
                        <a:gd name="connsiteX6" fmla="*/ 4204963 w 4552641"/>
                        <a:gd name="connsiteY6" fmla="*/ 1725842 h 2435306"/>
                        <a:gd name="connsiteX7" fmla="*/ 4005389 w 4552641"/>
                        <a:gd name="connsiteY7" fmla="*/ 2324556 h 2435306"/>
                        <a:gd name="connsiteX8" fmla="*/ 3718731 w 4552641"/>
                        <a:gd name="connsiteY8" fmla="*/ 2408013 h 2435306"/>
                        <a:gd name="connsiteX9" fmla="*/ 2661656 w 4552641"/>
                        <a:gd name="connsiteY9" fmla="*/ 1401230 h 2435306"/>
                        <a:gd name="connsiteX10" fmla="*/ 2195312 w 4552641"/>
                        <a:gd name="connsiteY10" fmla="*/ 1302170 h 2435306"/>
                        <a:gd name="connsiteX11" fmla="*/ 1788404 w 4552641"/>
                        <a:gd name="connsiteY11" fmla="*/ 1247306 h 2435306"/>
                        <a:gd name="connsiteX12" fmla="*/ 1436360 w 4552641"/>
                        <a:gd name="connsiteY12" fmla="*/ 1288454 h 2435306"/>
                        <a:gd name="connsiteX13" fmla="*/ 494343 w 4552641"/>
                        <a:gd name="connsiteY13" fmla="*/ 1833922 h 2435306"/>
                        <a:gd name="connsiteX14" fmla="*/ 101336 w 4552641"/>
                        <a:gd name="connsiteY14" fmla="*/ 1393610 h 2435306"/>
                        <a:gd name="connsiteX15" fmla="*/ 55431 w 4552641"/>
                        <a:gd name="connsiteY15" fmla="*/ 21450 h 2435306"/>
                        <a:gd name="connsiteX0" fmla="*/ 49771 w 4546981"/>
                        <a:gd name="connsiteY0" fmla="*/ 21450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49771 w 4546981"/>
                        <a:gd name="connsiteY15" fmla="*/ 21450 h 2435306"/>
                        <a:gd name="connsiteX0" fmla="*/ 1508239 w 4546981"/>
                        <a:gd name="connsiteY0" fmla="*/ 332346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508239 w 4546981"/>
                        <a:gd name="connsiteY15" fmla="*/ 332346 h 2435306"/>
                        <a:gd name="connsiteX0" fmla="*/ 1252207 w 4546981"/>
                        <a:gd name="connsiteY0" fmla="*/ 483222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252207 w 4546981"/>
                        <a:gd name="connsiteY15" fmla="*/ 483222 h 2435306"/>
                        <a:gd name="connsiteX0" fmla="*/ 1252207 w 4546981"/>
                        <a:gd name="connsiteY0" fmla="*/ 483222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252207 w 4546981"/>
                        <a:gd name="connsiteY15" fmla="*/ 483222 h 2435306"/>
                        <a:gd name="connsiteX0" fmla="*/ 1252207 w 4546981"/>
                        <a:gd name="connsiteY0" fmla="*/ 483222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252207 w 4546981"/>
                        <a:gd name="connsiteY15" fmla="*/ 483222 h 2435306"/>
                        <a:gd name="connsiteX0" fmla="*/ 1252207 w 4546981"/>
                        <a:gd name="connsiteY0" fmla="*/ 483222 h 2435306"/>
                        <a:gd name="connsiteX1" fmla="*/ 2729731 w 4546981"/>
                        <a:gd name="connsiteY1" fmla="*/ 314328 h 2435306"/>
                        <a:gd name="connsiteX2" fmla="*/ 3197816 w 4546981"/>
                        <a:gd name="connsiteY2" fmla="*/ 74843 h 2435306"/>
                        <a:gd name="connsiteX3" fmla="*/ 3720302 w 4546981"/>
                        <a:gd name="connsiteY3" fmla="*/ 141224 h 2435306"/>
                        <a:gd name="connsiteX4" fmla="*/ 4444764 w 4546981"/>
                        <a:gd name="connsiteY4" fmla="*/ 934997 h 2435306"/>
                        <a:gd name="connsiteX5" fmla="*/ 4514988 w 4546981"/>
                        <a:gd name="connsiteY5" fmla="*/ 1348470 h 2435306"/>
                        <a:gd name="connsiteX6" fmla="*/ 4199303 w 4546981"/>
                        <a:gd name="connsiteY6" fmla="*/ 1725842 h 2435306"/>
                        <a:gd name="connsiteX7" fmla="*/ 3999729 w 4546981"/>
                        <a:gd name="connsiteY7" fmla="*/ 2324556 h 2435306"/>
                        <a:gd name="connsiteX8" fmla="*/ 3713071 w 4546981"/>
                        <a:gd name="connsiteY8" fmla="*/ 2408013 h 2435306"/>
                        <a:gd name="connsiteX9" fmla="*/ 2655996 w 4546981"/>
                        <a:gd name="connsiteY9" fmla="*/ 1401230 h 2435306"/>
                        <a:gd name="connsiteX10" fmla="*/ 2189652 w 4546981"/>
                        <a:gd name="connsiteY10" fmla="*/ 1302170 h 2435306"/>
                        <a:gd name="connsiteX11" fmla="*/ 1782744 w 4546981"/>
                        <a:gd name="connsiteY11" fmla="*/ 1247306 h 2435306"/>
                        <a:gd name="connsiteX12" fmla="*/ 1430700 w 4546981"/>
                        <a:gd name="connsiteY12" fmla="*/ 1288454 h 2435306"/>
                        <a:gd name="connsiteX13" fmla="*/ 488683 w 4546981"/>
                        <a:gd name="connsiteY13" fmla="*/ 1833922 h 2435306"/>
                        <a:gd name="connsiteX14" fmla="*/ 95676 w 4546981"/>
                        <a:gd name="connsiteY14" fmla="*/ 1393610 h 2435306"/>
                        <a:gd name="connsiteX15" fmla="*/ 1252207 w 4546981"/>
                        <a:gd name="connsiteY15" fmla="*/ 483222 h 2435306"/>
                        <a:gd name="connsiteX0" fmla="*/ 1232610 w 4527384"/>
                        <a:gd name="connsiteY0" fmla="*/ 483222 h 2435306"/>
                        <a:gd name="connsiteX1" fmla="*/ 2710134 w 4527384"/>
                        <a:gd name="connsiteY1" fmla="*/ 314328 h 2435306"/>
                        <a:gd name="connsiteX2" fmla="*/ 3178219 w 4527384"/>
                        <a:gd name="connsiteY2" fmla="*/ 74843 h 2435306"/>
                        <a:gd name="connsiteX3" fmla="*/ 3700705 w 4527384"/>
                        <a:gd name="connsiteY3" fmla="*/ 141224 h 2435306"/>
                        <a:gd name="connsiteX4" fmla="*/ 4425167 w 4527384"/>
                        <a:gd name="connsiteY4" fmla="*/ 934997 h 2435306"/>
                        <a:gd name="connsiteX5" fmla="*/ 4495391 w 4527384"/>
                        <a:gd name="connsiteY5" fmla="*/ 1348470 h 2435306"/>
                        <a:gd name="connsiteX6" fmla="*/ 4179706 w 4527384"/>
                        <a:gd name="connsiteY6" fmla="*/ 1725842 h 2435306"/>
                        <a:gd name="connsiteX7" fmla="*/ 3980132 w 4527384"/>
                        <a:gd name="connsiteY7" fmla="*/ 2324556 h 2435306"/>
                        <a:gd name="connsiteX8" fmla="*/ 3693474 w 4527384"/>
                        <a:gd name="connsiteY8" fmla="*/ 2408013 h 2435306"/>
                        <a:gd name="connsiteX9" fmla="*/ 2636399 w 4527384"/>
                        <a:gd name="connsiteY9" fmla="*/ 1401230 h 2435306"/>
                        <a:gd name="connsiteX10" fmla="*/ 2170055 w 4527384"/>
                        <a:gd name="connsiteY10" fmla="*/ 1302170 h 2435306"/>
                        <a:gd name="connsiteX11" fmla="*/ 1763147 w 4527384"/>
                        <a:gd name="connsiteY11" fmla="*/ 1247306 h 2435306"/>
                        <a:gd name="connsiteX12" fmla="*/ 1411103 w 4527384"/>
                        <a:gd name="connsiteY12" fmla="*/ 1288454 h 2435306"/>
                        <a:gd name="connsiteX13" fmla="*/ 469086 w 4527384"/>
                        <a:gd name="connsiteY13" fmla="*/ 1833922 h 2435306"/>
                        <a:gd name="connsiteX14" fmla="*/ 98939 w 4527384"/>
                        <a:gd name="connsiteY14" fmla="*/ 1347890 h 2435306"/>
                        <a:gd name="connsiteX15" fmla="*/ 1232610 w 4527384"/>
                        <a:gd name="connsiteY15" fmla="*/ 483222 h 2435306"/>
                        <a:gd name="connsiteX0" fmla="*/ 1247947 w 4542721"/>
                        <a:gd name="connsiteY0" fmla="*/ 483222 h 2435306"/>
                        <a:gd name="connsiteX1" fmla="*/ 2725471 w 4542721"/>
                        <a:gd name="connsiteY1" fmla="*/ 314328 h 2435306"/>
                        <a:gd name="connsiteX2" fmla="*/ 3193556 w 4542721"/>
                        <a:gd name="connsiteY2" fmla="*/ 74843 h 2435306"/>
                        <a:gd name="connsiteX3" fmla="*/ 3716042 w 4542721"/>
                        <a:gd name="connsiteY3" fmla="*/ 141224 h 2435306"/>
                        <a:gd name="connsiteX4" fmla="*/ 4440504 w 4542721"/>
                        <a:gd name="connsiteY4" fmla="*/ 934997 h 2435306"/>
                        <a:gd name="connsiteX5" fmla="*/ 4510728 w 4542721"/>
                        <a:gd name="connsiteY5" fmla="*/ 1348470 h 2435306"/>
                        <a:gd name="connsiteX6" fmla="*/ 4195043 w 4542721"/>
                        <a:gd name="connsiteY6" fmla="*/ 1725842 h 2435306"/>
                        <a:gd name="connsiteX7" fmla="*/ 3995469 w 4542721"/>
                        <a:gd name="connsiteY7" fmla="*/ 2324556 h 2435306"/>
                        <a:gd name="connsiteX8" fmla="*/ 3708811 w 4542721"/>
                        <a:gd name="connsiteY8" fmla="*/ 2408013 h 2435306"/>
                        <a:gd name="connsiteX9" fmla="*/ 2651736 w 4542721"/>
                        <a:gd name="connsiteY9" fmla="*/ 1401230 h 2435306"/>
                        <a:gd name="connsiteX10" fmla="*/ 2185392 w 4542721"/>
                        <a:gd name="connsiteY10" fmla="*/ 1302170 h 2435306"/>
                        <a:gd name="connsiteX11" fmla="*/ 1778484 w 4542721"/>
                        <a:gd name="connsiteY11" fmla="*/ 1247306 h 2435306"/>
                        <a:gd name="connsiteX12" fmla="*/ 1426440 w 4542721"/>
                        <a:gd name="connsiteY12" fmla="*/ 1288454 h 2435306"/>
                        <a:gd name="connsiteX13" fmla="*/ 484423 w 4542721"/>
                        <a:gd name="connsiteY13" fmla="*/ 1833922 h 2435306"/>
                        <a:gd name="connsiteX14" fmla="*/ 114276 w 4542721"/>
                        <a:gd name="connsiteY14" fmla="*/ 1347890 h 2435306"/>
                        <a:gd name="connsiteX15" fmla="*/ 1247947 w 4542721"/>
                        <a:gd name="connsiteY15" fmla="*/ 483222 h 2435306"/>
                        <a:gd name="connsiteX0" fmla="*/ 1246681 w 4541455"/>
                        <a:gd name="connsiteY0" fmla="*/ 483222 h 2435306"/>
                        <a:gd name="connsiteX1" fmla="*/ 2724205 w 4541455"/>
                        <a:gd name="connsiteY1" fmla="*/ 314328 h 2435306"/>
                        <a:gd name="connsiteX2" fmla="*/ 3192290 w 4541455"/>
                        <a:gd name="connsiteY2" fmla="*/ 74843 h 2435306"/>
                        <a:gd name="connsiteX3" fmla="*/ 3714776 w 4541455"/>
                        <a:gd name="connsiteY3" fmla="*/ 141224 h 2435306"/>
                        <a:gd name="connsiteX4" fmla="*/ 4439238 w 4541455"/>
                        <a:gd name="connsiteY4" fmla="*/ 934997 h 2435306"/>
                        <a:gd name="connsiteX5" fmla="*/ 4509462 w 4541455"/>
                        <a:gd name="connsiteY5" fmla="*/ 1348470 h 2435306"/>
                        <a:gd name="connsiteX6" fmla="*/ 4193777 w 4541455"/>
                        <a:gd name="connsiteY6" fmla="*/ 1725842 h 2435306"/>
                        <a:gd name="connsiteX7" fmla="*/ 3994203 w 4541455"/>
                        <a:gd name="connsiteY7" fmla="*/ 2324556 h 2435306"/>
                        <a:gd name="connsiteX8" fmla="*/ 3707545 w 4541455"/>
                        <a:gd name="connsiteY8" fmla="*/ 2408013 h 2435306"/>
                        <a:gd name="connsiteX9" fmla="*/ 2650470 w 4541455"/>
                        <a:gd name="connsiteY9" fmla="*/ 1401230 h 2435306"/>
                        <a:gd name="connsiteX10" fmla="*/ 2184126 w 4541455"/>
                        <a:gd name="connsiteY10" fmla="*/ 1302170 h 2435306"/>
                        <a:gd name="connsiteX11" fmla="*/ 1777218 w 4541455"/>
                        <a:gd name="connsiteY11" fmla="*/ 1247306 h 2435306"/>
                        <a:gd name="connsiteX12" fmla="*/ 1425174 w 4541455"/>
                        <a:gd name="connsiteY12" fmla="*/ 1288454 h 2435306"/>
                        <a:gd name="connsiteX13" fmla="*/ 483157 w 4541455"/>
                        <a:gd name="connsiteY13" fmla="*/ 1833922 h 2435306"/>
                        <a:gd name="connsiteX14" fmla="*/ 113010 w 4541455"/>
                        <a:gd name="connsiteY14" fmla="*/ 1347890 h 2435306"/>
                        <a:gd name="connsiteX15" fmla="*/ 1246681 w 4541455"/>
                        <a:gd name="connsiteY15" fmla="*/ 483222 h 2435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541455" h="2435306">
                          <a:moveTo>
                            <a:pt x="1246681" y="483222"/>
                          </a:moveTo>
                          <a:cubicBezTo>
                            <a:pt x="1835201" y="52020"/>
                            <a:pt x="2396289" y="311190"/>
                            <a:pt x="2724205" y="314328"/>
                          </a:cubicBezTo>
                          <a:cubicBezTo>
                            <a:pt x="2960062" y="331262"/>
                            <a:pt x="3047147" y="170395"/>
                            <a:pt x="3192290" y="74843"/>
                          </a:cubicBezTo>
                          <a:cubicBezTo>
                            <a:pt x="3383386" y="-77202"/>
                            <a:pt x="3592623" y="32011"/>
                            <a:pt x="3714776" y="141224"/>
                          </a:cubicBezTo>
                          <a:lnTo>
                            <a:pt x="4439238" y="934997"/>
                          </a:lnTo>
                          <a:cubicBezTo>
                            <a:pt x="4506189" y="1003878"/>
                            <a:pt x="4587654" y="1116304"/>
                            <a:pt x="4509462" y="1348470"/>
                          </a:cubicBezTo>
                          <a:cubicBezTo>
                            <a:pt x="4436891" y="1483937"/>
                            <a:pt x="4280862" y="1633916"/>
                            <a:pt x="4193777" y="1725842"/>
                          </a:cubicBezTo>
                          <a:cubicBezTo>
                            <a:pt x="4115158" y="1959280"/>
                            <a:pt x="4076451" y="2116518"/>
                            <a:pt x="3994203" y="2324556"/>
                          </a:cubicBezTo>
                          <a:cubicBezTo>
                            <a:pt x="3956707" y="2399546"/>
                            <a:pt x="3850270" y="2478166"/>
                            <a:pt x="3707545" y="2408013"/>
                          </a:cubicBezTo>
                          <a:lnTo>
                            <a:pt x="2650470" y="1401230"/>
                          </a:lnTo>
                          <a:cubicBezTo>
                            <a:pt x="2581890" y="1340778"/>
                            <a:pt x="2463018" y="1243750"/>
                            <a:pt x="2184126" y="1302170"/>
                          </a:cubicBezTo>
                          <a:cubicBezTo>
                            <a:pt x="2066778" y="1309282"/>
                            <a:pt x="1983720" y="1304456"/>
                            <a:pt x="1777218" y="1247306"/>
                          </a:cubicBezTo>
                          <a:cubicBezTo>
                            <a:pt x="1726164" y="1217588"/>
                            <a:pt x="1655329" y="1154109"/>
                            <a:pt x="1425174" y="1288454"/>
                          </a:cubicBezTo>
                          <a:cubicBezTo>
                            <a:pt x="932860" y="1563241"/>
                            <a:pt x="756015" y="1710011"/>
                            <a:pt x="483157" y="1833922"/>
                          </a:cubicBezTo>
                          <a:cubicBezTo>
                            <a:pt x="246999" y="1938611"/>
                            <a:pt x="-213188" y="1691257"/>
                            <a:pt x="113010" y="1347890"/>
                          </a:cubicBezTo>
                          <a:lnTo>
                            <a:pt x="1246681" y="483222"/>
                          </a:lnTo>
                          <a:close/>
                        </a:path>
                      </a:pathLst>
                    </a:custGeom>
                    <a:grp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Arial"/>
                      </a:endParaRPr>
                    </a:p>
                  </p:txBody>
                </p:sp>
                <p:sp>
                  <p:nvSpPr>
                    <p:cNvPr id="48" name="Rectangle 2"/>
                    <p:cNvSpPr/>
                    <p:nvPr/>
                  </p:nvSpPr>
                  <p:spPr>
                    <a:xfrm>
                      <a:off x="7352478" y="1414236"/>
                      <a:ext cx="385353" cy="383102"/>
                    </a:xfrm>
                    <a:custGeom>
                      <a:avLst/>
                      <a:gdLst>
                        <a:gd name="connsiteX0" fmla="*/ 0 w 2013626"/>
                        <a:gd name="connsiteY0" fmla="*/ 0 h 1327826"/>
                        <a:gd name="connsiteX1" fmla="*/ 2013626 w 2013626"/>
                        <a:gd name="connsiteY1" fmla="*/ 0 h 1327826"/>
                        <a:gd name="connsiteX2" fmla="*/ 2013626 w 2013626"/>
                        <a:gd name="connsiteY2" fmla="*/ 1327826 h 1327826"/>
                        <a:gd name="connsiteX3" fmla="*/ 0 w 2013626"/>
                        <a:gd name="connsiteY3" fmla="*/ 1327826 h 1327826"/>
                        <a:gd name="connsiteX4" fmla="*/ 0 w 2013626"/>
                        <a:gd name="connsiteY4" fmla="*/ 0 h 1327826"/>
                        <a:gd name="connsiteX0" fmla="*/ 311285 w 2324911"/>
                        <a:gd name="connsiteY0" fmla="*/ 0 h 1347281"/>
                        <a:gd name="connsiteX1" fmla="*/ 2324911 w 2324911"/>
                        <a:gd name="connsiteY1" fmla="*/ 0 h 1347281"/>
                        <a:gd name="connsiteX2" fmla="*/ 2324911 w 2324911"/>
                        <a:gd name="connsiteY2" fmla="*/ 1327826 h 1347281"/>
                        <a:gd name="connsiteX3" fmla="*/ 0 w 2324911"/>
                        <a:gd name="connsiteY3" fmla="*/ 1347281 h 1347281"/>
                        <a:gd name="connsiteX4" fmla="*/ 311285 w 2324911"/>
                        <a:gd name="connsiteY4" fmla="*/ 0 h 1347281"/>
                        <a:gd name="connsiteX0" fmla="*/ 38911 w 2324911"/>
                        <a:gd name="connsiteY0" fmla="*/ 768486 h 1347281"/>
                        <a:gd name="connsiteX1" fmla="*/ 2324911 w 2324911"/>
                        <a:gd name="connsiteY1" fmla="*/ 0 h 1347281"/>
                        <a:gd name="connsiteX2" fmla="*/ 2324911 w 2324911"/>
                        <a:gd name="connsiteY2" fmla="*/ 1327826 h 1347281"/>
                        <a:gd name="connsiteX3" fmla="*/ 0 w 2324911"/>
                        <a:gd name="connsiteY3" fmla="*/ 1347281 h 1347281"/>
                        <a:gd name="connsiteX4" fmla="*/ 38911 w 2324911"/>
                        <a:gd name="connsiteY4" fmla="*/ 768486 h 1347281"/>
                        <a:gd name="connsiteX0" fmla="*/ 38911 w 2324911"/>
                        <a:gd name="connsiteY0" fmla="*/ 972767 h 1551562"/>
                        <a:gd name="connsiteX1" fmla="*/ 928992 w 2324911"/>
                        <a:gd name="connsiteY1" fmla="*/ 0 h 1551562"/>
                        <a:gd name="connsiteX2" fmla="*/ 2324911 w 2324911"/>
                        <a:gd name="connsiteY2" fmla="*/ 1532107 h 1551562"/>
                        <a:gd name="connsiteX3" fmla="*/ 0 w 2324911"/>
                        <a:gd name="connsiteY3" fmla="*/ 1551562 h 1551562"/>
                        <a:gd name="connsiteX4" fmla="*/ 38911 w 2324911"/>
                        <a:gd name="connsiteY4" fmla="*/ 972767 h 1551562"/>
                        <a:gd name="connsiteX0" fmla="*/ 38911 w 1585609"/>
                        <a:gd name="connsiteY0" fmla="*/ 982494 h 1561289"/>
                        <a:gd name="connsiteX1" fmla="*/ 928992 w 1585609"/>
                        <a:gd name="connsiteY1" fmla="*/ 9727 h 1561289"/>
                        <a:gd name="connsiteX2" fmla="*/ 1585609 w 1585609"/>
                        <a:gd name="connsiteY2" fmla="*/ 0 h 1561289"/>
                        <a:gd name="connsiteX3" fmla="*/ 0 w 1585609"/>
                        <a:gd name="connsiteY3" fmla="*/ 1561289 h 1561289"/>
                        <a:gd name="connsiteX4" fmla="*/ 38911 w 1585609"/>
                        <a:gd name="connsiteY4" fmla="*/ 982494 h 1561289"/>
                        <a:gd name="connsiteX0" fmla="*/ 38911 w 1585609"/>
                        <a:gd name="connsiteY0" fmla="*/ 982494 h 1561289"/>
                        <a:gd name="connsiteX1" fmla="*/ 928992 w 1585609"/>
                        <a:gd name="connsiteY1" fmla="*/ 9727 h 1561289"/>
                        <a:gd name="connsiteX2" fmla="*/ 1585609 w 1585609"/>
                        <a:gd name="connsiteY2" fmla="*/ 0 h 1561289"/>
                        <a:gd name="connsiteX3" fmla="*/ 1181912 w 1585609"/>
                        <a:gd name="connsiteY3" fmla="*/ 384243 h 1561289"/>
                        <a:gd name="connsiteX4" fmla="*/ 0 w 1585609"/>
                        <a:gd name="connsiteY4" fmla="*/ 1561289 h 1561289"/>
                        <a:gd name="connsiteX5" fmla="*/ 38911 w 1585609"/>
                        <a:gd name="connsiteY5"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0 w 2490282"/>
                        <a:gd name="connsiteY4" fmla="*/ 1561289 h 1561289"/>
                        <a:gd name="connsiteX5" fmla="*/ 38911 w 2490282"/>
                        <a:gd name="connsiteY5"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1347281 w 2490282"/>
                        <a:gd name="connsiteY4" fmla="*/ 792805 h 1561289"/>
                        <a:gd name="connsiteX5" fmla="*/ 0 w 2490282"/>
                        <a:gd name="connsiteY5" fmla="*/ 1561289 h 1561289"/>
                        <a:gd name="connsiteX6" fmla="*/ 38911 w 2490282"/>
                        <a:gd name="connsiteY6"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1488332 w 2490282"/>
                        <a:gd name="connsiteY4" fmla="*/ 355060 h 1561289"/>
                        <a:gd name="connsiteX5" fmla="*/ 0 w 2490282"/>
                        <a:gd name="connsiteY5" fmla="*/ 1561289 h 1561289"/>
                        <a:gd name="connsiteX6" fmla="*/ 38911 w 2490282"/>
                        <a:gd name="connsiteY6"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1488332 w 2490282"/>
                        <a:gd name="connsiteY4" fmla="*/ 355060 h 1561289"/>
                        <a:gd name="connsiteX5" fmla="*/ 787940 w 2490282"/>
                        <a:gd name="connsiteY5" fmla="*/ 914401 h 1561289"/>
                        <a:gd name="connsiteX6" fmla="*/ 0 w 2490282"/>
                        <a:gd name="connsiteY6" fmla="*/ 1561289 h 1561289"/>
                        <a:gd name="connsiteX7" fmla="*/ 38911 w 2490282"/>
                        <a:gd name="connsiteY7" fmla="*/ 982494 h 1561289"/>
                        <a:gd name="connsiteX0" fmla="*/ 38911 w 2490282"/>
                        <a:gd name="connsiteY0" fmla="*/ 982494 h 1561289"/>
                        <a:gd name="connsiteX1" fmla="*/ 928992 w 2490282"/>
                        <a:gd name="connsiteY1" fmla="*/ 9727 h 1561289"/>
                        <a:gd name="connsiteX2" fmla="*/ 1585609 w 2490282"/>
                        <a:gd name="connsiteY2" fmla="*/ 0 h 1561289"/>
                        <a:gd name="connsiteX3" fmla="*/ 2490282 w 2490282"/>
                        <a:gd name="connsiteY3" fmla="*/ 131323 h 1561289"/>
                        <a:gd name="connsiteX4" fmla="*/ 1488332 w 2490282"/>
                        <a:gd name="connsiteY4" fmla="*/ 355060 h 1561289"/>
                        <a:gd name="connsiteX5" fmla="*/ 1070042 w 2490282"/>
                        <a:gd name="connsiteY5" fmla="*/ 306422 h 1561289"/>
                        <a:gd name="connsiteX6" fmla="*/ 0 w 2490282"/>
                        <a:gd name="connsiteY6" fmla="*/ 1561289 h 1561289"/>
                        <a:gd name="connsiteX7" fmla="*/ 38911 w 2490282"/>
                        <a:gd name="connsiteY7" fmla="*/ 982494 h 1561289"/>
                        <a:gd name="connsiteX0" fmla="*/ 53503 w 2504874"/>
                        <a:gd name="connsiteY0" fmla="*/ 982494 h 1532106"/>
                        <a:gd name="connsiteX1" fmla="*/ 943584 w 2504874"/>
                        <a:gd name="connsiteY1" fmla="*/ 9727 h 1532106"/>
                        <a:gd name="connsiteX2" fmla="*/ 1600201 w 2504874"/>
                        <a:gd name="connsiteY2" fmla="*/ 0 h 1532106"/>
                        <a:gd name="connsiteX3" fmla="*/ 2504874 w 2504874"/>
                        <a:gd name="connsiteY3" fmla="*/ 131323 h 1532106"/>
                        <a:gd name="connsiteX4" fmla="*/ 1502924 w 2504874"/>
                        <a:gd name="connsiteY4" fmla="*/ 355060 h 1532106"/>
                        <a:gd name="connsiteX5" fmla="*/ 1084634 w 2504874"/>
                        <a:gd name="connsiteY5" fmla="*/ 306422 h 1532106"/>
                        <a:gd name="connsiteX6" fmla="*/ 0 w 2504874"/>
                        <a:gd name="connsiteY6" fmla="*/ 1532106 h 1532106"/>
                        <a:gd name="connsiteX7" fmla="*/ 53503 w 2504874"/>
                        <a:gd name="connsiteY7" fmla="*/ 982494 h 1532106"/>
                        <a:gd name="connsiteX0" fmla="*/ 53503 w 2504874"/>
                        <a:gd name="connsiteY0" fmla="*/ 982494 h 1532106"/>
                        <a:gd name="connsiteX1" fmla="*/ 943584 w 2504874"/>
                        <a:gd name="connsiteY1" fmla="*/ 9727 h 1532106"/>
                        <a:gd name="connsiteX2" fmla="*/ 1600201 w 2504874"/>
                        <a:gd name="connsiteY2" fmla="*/ 0 h 1532106"/>
                        <a:gd name="connsiteX3" fmla="*/ 2504874 w 2504874"/>
                        <a:gd name="connsiteY3" fmla="*/ 131323 h 1532106"/>
                        <a:gd name="connsiteX4" fmla="*/ 1502924 w 2504874"/>
                        <a:gd name="connsiteY4" fmla="*/ 355060 h 1532106"/>
                        <a:gd name="connsiteX5" fmla="*/ 1084634 w 2504874"/>
                        <a:gd name="connsiteY5" fmla="*/ 306422 h 1532106"/>
                        <a:gd name="connsiteX6" fmla="*/ 252920 w 2504874"/>
                        <a:gd name="connsiteY6" fmla="*/ 1245141 h 1532106"/>
                        <a:gd name="connsiteX7" fmla="*/ 0 w 2504874"/>
                        <a:gd name="connsiteY7" fmla="*/ 1532106 h 1532106"/>
                        <a:gd name="connsiteX8" fmla="*/ 53503 w 2504874"/>
                        <a:gd name="connsiteY8" fmla="*/ 982494 h 1532106"/>
                        <a:gd name="connsiteX0" fmla="*/ 53503 w 2504874"/>
                        <a:gd name="connsiteY0" fmla="*/ 982494 h 1532106"/>
                        <a:gd name="connsiteX1" fmla="*/ 943584 w 2504874"/>
                        <a:gd name="connsiteY1" fmla="*/ 9727 h 1532106"/>
                        <a:gd name="connsiteX2" fmla="*/ 1600201 w 2504874"/>
                        <a:gd name="connsiteY2" fmla="*/ 0 h 1532106"/>
                        <a:gd name="connsiteX3" fmla="*/ 2504874 w 2504874"/>
                        <a:gd name="connsiteY3" fmla="*/ 131323 h 1532106"/>
                        <a:gd name="connsiteX4" fmla="*/ 1502924 w 2504874"/>
                        <a:gd name="connsiteY4" fmla="*/ 355060 h 1532106"/>
                        <a:gd name="connsiteX5" fmla="*/ 1084634 w 2504874"/>
                        <a:gd name="connsiteY5" fmla="*/ 306422 h 1532106"/>
                        <a:gd name="connsiteX6" fmla="*/ 355060 w 2504874"/>
                        <a:gd name="connsiteY6" fmla="*/ 1425102 h 1532106"/>
                        <a:gd name="connsiteX7" fmla="*/ 0 w 2504874"/>
                        <a:gd name="connsiteY7" fmla="*/ 1532106 h 1532106"/>
                        <a:gd name="connsiteX8" fmla="*/ 53503 w 2504874"/>
                        <a:gd name="connsiteY8" fmla="*/ 982494 h 1532106"/>
                        <a:gd name="connsiteX0" fmla="*/ 53503 w 2504874"/>
                        <a:gd name="connsiteY0" fmla="*/ 982494 h 1532106"/>
                        <a:gd name="connsiteX1" fmla="*/ 943584 w 2504874"/>
                        <a:gd name="connsiteY1" fmla="*/ 9727 h 1532106"/>
                        <a:gd name="connsiteX2" fmla="*/ 1600201 w 2504874"/>
                        <a:gd name="connsiteY2" fmla="*/ 0 h 1532106"/>
                        <a:gd name="connsiteX3" fmla="*/ 2504874 w 2504874"/>
                        <a:gd name="connsiteY3" fmla="*/ 131323 h 1532106"/>
                        <a:gd name="connsiteX4" fmla="*/ 1502924 w 2504874"/>
                        <a:gd name="connsiteY4" fmla="*/ 355060 h 1532106"/>
                        <a:gd name="connsiteX5" fmla="*/ 1084634 w 2504874"/>
                        <a:gd name="connsiteY5" fmla="*/ 306422 h 1532106"/>
                        <a:gd name="connsiteX6" fmla="*/ 355060 w 2504874"/>
                        <a:gd name="connsiteY6" fmla="*/ 1118680 h 1532106"/>
                        <a:gd name="connsiteX7" fmla="*/ 0 w 2504874"/>
                        <a:gd name="connsiteY7" fmla="*/ 1532106 h 1532106"/>
                        <a:gd name="connsiteX8" fmla="*/ 53503 w 2504874"/>
                        <a:gd name="connsiteY8" fmla="*/ 982494 h 1532106"/>
                        <a:gd name="connsiteX0" fmla="*/ 93644 w 2545015"/>
                        <a:gd name="connsiteY0" fmla="*/ 982494 h 1532106"/>
                        <a:gd name="connsiteX1" fmla="*/ 983725 w 2545015"/>
                        <a:gd name="connsiteY1" fmla="*/ 9727 h 1532106"/>
                        <a:gd name="connsiteX2" fmla="*/ 1640342 w 2545015"/>
                        <a:gd name="connsiteY2" fmla="*/ 0 h 1532106"/>
                        <a:gd name="connsiteX3" fmla="*/ 2545015 w 2545015"/>
                        <a:gd name="connsiteY3" fmla="*/ 131323 h 1532106"/>
                        <a:gd name="connsiteX4" fmla="*/ 1543065 w 2545015"/>
                        <a:gd name="connsiteY4" fmla="*/ 355060 h 1532106"/>
                        <a:gd name="connsiteX5" fmla="*/ 1124775 w 2545015"/>
                        <a:gd name="connsiteY5" fmla="*/ 306422 h 1532106"/>
                        <a:gd name="connsiteX6" fmla="*/ 395201 w 2545015"/>
                        <a:gd name="connsiteY6" fmla="*/ 1118680 h 1532106"/>
                        <a:gd name="connsiteX7" fmla="*/ 40141 w 2545015"/>
                        <a:gd name="connsiteY7" fmla="*/ 1532106 h 1532106"/>
                        <a:gd name="connsiteX8" fmla="*/ 93644 w 2545015"/>
                        <a:gd name="connsiteY8" fmla="*/ 982494 h 1532106"/>
                        <a:gd name="connsiteX0" fmla="*/ 96072 w 2547443"/>
                        <a:gd name="connsiteY0" fmla="*/ 982494 h 1532106"/>
                        <a:gd name="connsiteX1" fmla="*/ 986153 w 2547443"/>
                        <a:gd name="connsiteY1" fmla="*/ 9727 h 1532106"/>
                        <a:gd name="connsiteX2" fmla="*/ 1642770 w 2547443"/>
                        <a:gd name="connsiteY2" fmla="*/ 0 h 1532106"/>
                        <a:gd name="connsiteX3" fmla="*/ 2547443 w 2547443"/>
                        <a:gd name="connsiteY3" fmla="*/ 131323 h 1532106"/>
                        <a:gd name="connsiteX4" fmla="*/ 1545493 w 2547443"/>
                        <a:gd name="connsiteY4" fmla="*/ 355060 h 1532106"/>
                        <a:gd name="connsiteX5" fmla="*/ 1127203 w 2547443"/>
                        <a:gd name="connsiteY5" fmla="*/ 306422 h 1532106"/>
                        <a:gd name="connsiteX6" fmla="*/ 397629 w 2547443"/>
                        <a:gd name="connsiteY6" fmla="*/ 1118680 h 1532106"/>
                        <a:gd name="connsiteX7" fmla="*/ 42569 w 2547443"/>
                        <a:gd name="connsiteY7" fmla="*/ 1532106 h 1532106"/>
                        <a:gd name="connsiteX8" fmla="*/ 96072 w 2547443"/>
                        <a:gd name="connsiteY8" fmla="*/ 982494 h 1532106"/>
                        <a:gd name="connsiteX0" fmla="*/ 96072 w 2547443"/>
                        <a:gd name="connsiteY0" fmla="*/ 982494 h 1677790"/>
                        <a:gd name="connsiteX1" fmla="*/ 986153 w 2547443"/>
                        <a:gd name="connsiteY1" fmla="*/ 9727 h 1677790"/>
                        <a:gd name="connsiteX2" fmla="*/ 1642770 w 2547443"/>
                        <a:gd name="connsiteY2" fmla="*/ 0 h 1677790"/>
                        <a:gd name="connsiteX3" fmla="*/ 2547443 w 2547443"/>
                        <a:gd name="connsiteY3" fmla="*/ 131323 h 1677790"/>
                        <a:gd name="connsiteX4" fmla="*/ 1545493 w 2547443"/>
                        <a:gd name="connsiteY4" fmla="*/ 355060 h 1677790"/>
                        <a:gd name="connsiteX5" fmla="*/ 1127203 w 2547443"/>
                        <a:gd name="connsiteY5" fmla="*/ 306422 h 1677790"/>
                        <a:gd name="connsiteX6" fmla="*/ 397629 w 2547443"/>
                        <a:gd name="connsiteY6" fmla="*/ 1118680 h 1677790"/>
                        <a:gd name="connsiteX7" fmla="*/ 42569 w 2547443"/>
                        <a:gd name="connsiteY7" fmla="*/ 1532106 h 1677790"/>
                        <a:gd name="connsiteX8" fmla="*/ 96072 w 2547443"/>
                        <a:gd name="connsiteY8" fmla="*/ 982494 h 1677790"/>
                        <a:gd name="connsiteX0" fmla="*/ 96072 w 2547443"/>
                        <a:gd name="connsiteY0" fmla="*/ 982494 h 1552660"/>
                        <a:gd name="connsiteX1" fmla="*/ 986153 w 2547443"/>
                        <a:gd name="connsiteY1" fmla="*/ 9727 h 1552660"/>
                        <a:gd name="connsiteX2" fmla="*/ 1642770 w 2547443"/>
                        <a:gd name="connsiteY2" fmla="*/ 0 h 1552660"/>
                        <a:gd name="connsiteX3" fmla="*/ 2547443 w 2547443"/>
                        <a:gd name="connsiteY3" fmla="*/ 131323 h 1552660"/>
                        <a:gd name="connsiteX4" fmla="*/ 1545493 w 2547443"/>
                        <a:gd name="connsiteY4" fmla="*/ 355060 h 1552660"/>
                        <a:gd name="connsiteX5" fmla="*/ 1127203 w 2547443"/>
                        <a:gd name="connsiteY5" fmla="*/ 306422 h 1552660"/>
                        <a:gd name="connsiteX6" fmla="*/ 397629 w 2547443"/>
                        <a:gd name="connsiteY6" fmla="*/ 1118680 h 1552660"/>
                        <a:gd name="connsiteX7" fmla="*/ 344128 w 2547443"/>
                        <a:gd name="connsiteY7" fmla="*/ 1405647 h 1552660"/>
                        <a:gd name="connsiteX8" fmla="*/ 42569 w 2547443"/>
                        <a:gd name="connsiteY8" fmla="*/ 1532106 h 1552660"/>
                        <a:gd name="connsiteX9" fmla="*/ 96072 w 2547443"/>
                        <a:gd name="connsiteY9" fmla="*/ 982494 h 1552660"/>
                        <a:gd name="connsiteX0" fmla="*/ 96072 w 2547443"/>
                        <a:gd name="connsiteY0" fmla="*/ 982494 h 1554370"/>
                        <a:gd name="connsiteX1" fmla="*/ 986153 w 2547443"/>
                        <a:gd name="connsiteY1" fmla="*/ 9727 h 1554370"/>
                        <a:gd name="connsiteX2" fmla="*/ 1642770 w 2547443"/>
                        <a:gd name="connsiteY2" fmla="*/ 0 h 1554370"/>
                        <a:gd name="connsiteX3" fmla="*/ 2547443 w 2547443"/>
                        <a:gd name="connsiteY3" fmla="*/ 131323 h 1554370"/>
                        <a:gd name="connsiteX4" fmla="*/ 1545493 w 2547443"/>
                        <a:gd name="connsiteY4" fmla="*/ 355060 h 1554370"/>
                        <a:gd name="connsiteX5" fmla="*/ 1127203 w 2547443"/>
                        <a:gd name="connsiteY5" fmla="*/ 306422 h 1554370"/>
                        <a:gd name="connsiteX6" fmla="*/ 397629 w 2547443"/>
                        <a:gd name="connsiteY6" fmla="*/ 1118680 h 1554370"/>
                        <a:gd name="connsiteX7" fmla="*/ 378175 w 2547443"/>
                        <a:gd name="connsiteY7" fmla="*/ 1420238 h 1554370"/>
                        <a:gd name="connsiteX8" fmla="*/ 42569 w 2547443"/>
                        <a:gd name="connsiteY8" fmla="*/ 1532106 h 1554370"/>
                        <a:gd name="connsiteX9" fmla="*/ 96072 w 2547443"/>
                        <a:gd name="connsiteY9" fmla="*/ 982494 h 1554370"/>
                        <a:gd name="connsiteX0" fmla="*/ 96072 w 2547443"/>
                        <a:gd name="connsiteY0" fmla="*/ 982494 h 1554370"/>
                        <a:gd name="connsiteX1" fmla="*/ 986153 w 2547443"/>
                        <a:gd name="connsiteY1" fmla="*/ 9727 h 1554370"/>
                        <a:gd name="connsiteX2" fmla="*/ 1642770 w 2547443"/>
                        <a:gd name="connsiteY2" fmla="*/ 0 h 1554370"/>
                        <a:gd name="connsiteX3" fmla="*/ 2547443 w 2547443"/>
                        <a:gd name="connsiteY3" fmla="*/ 131323 h 1554370"/>
                        <a:gd name="connsiteX4" fmla="*/ 1545493 w 2547443"/>
                        <a:gd name="connsiteY4" fmla="*/ 355060 h 1554370"/>
                        <a:gd name="connsiteX5" fmla="*/ 1127203 w 2547443"/>
                        <a:gd name="connsiteY5" fmla="*/ 306422 h 1554370"/>
                        <a:gd name="connsiteX6" fmla="*/ 397629 w 2547443"/>
                        <a:gd name="connsiteY6" fmla="*/ 1118680 h 1554370"/>
                        <a:gd name="connsiteX7" fmla="*/ 378175 w 2547443"/>
                        <a:gd name="connsiteY7" fmla="*/ 1420238 h 1554370"/>
                        <a:gd name="connsiteX8" fmla="*/ 42569 w 2547443"/>
                        <a:gd name="connsiteY8" fmla="*/ 1532106 h 1554370"/>
                        <a:gd name="connsiteX9" fmla="*/ 96072 w 2547443"/>
                        <a:gd name="connsiteY9" fmla="*/ 982494 h 1554370"/>
                        <a:gd name="connsiteX0" fmla="*/ 96072 w 2547443"/>
                        <a:gd name="connsiteY0" fmla="*/ 982494 h 1554370"/>
                        <a:gd name="connsiteX1" fmla="*/ 986153 w 2547443"/>
                        <a:gd name="connsiteY1" fmla="*/ 9727 h 1554370"/>
                        <a:gd name="connsiteX2" fmla="*/ 1642770 w 2547443"/>
                        <a:gd name="connsiteY2" fmla="*/ 0 h 1554370"/>
                        <a:gd name="connsiteX3" fmla="*/ 2547443 w 2547443"/>
                        <a:gd name="connsiteY3" fmla="*/ 131323 h 1554370"/>
                        <a:gd name="connsiteX4" fmla="*/ 1545493 w 2547443"/>
                        <a:gd name="connsiteY4" fmla="*/ 355060 h 1554370"/>
                        <a:gd name="connsiteX5" fmla="*/ 1127203 w 2547443"/>
                        <a:gd name="connsiteY5" fmla="*/ 306422 h 1554370"/>
                        <a:gd name="connsiteX6" fmla="*/ 397629 w 2547443"/>
                        <a:gd name="connsiteY6" fmla="*/ 1118680 h 1554370"/>
                        <a:gd name="connsiteX7" fmla="*/ 378175 w 2547443"/>
                        <a:gd name="connsiteY7" fmla="*/ 1420238 h 1554370"/>
                        <a:gd name="connsiteX8" fmla="*/ 42569 w 2547443"/>
                        <a:gd name="connsiteY8" fmla="*/ 1532106 h 1554370"/>
                        <a:gd name="connsiteX9" fmla="*/ 96072 w 2547443"/>
                        <a:gd name="connsiteY9" fmla="*/ 982494 h 1554370"/>
                        <a:gd name="connsiteX0" fmla="*/ 96072 w 2547443"/>
                        <a:gd name="connsiteY0" fmla="*/ 982494 h 1572098"/>
                        <a:gd name="connsiteX1" fmla="*/ 986153 w 2547443"/>
                        <a:gd name="connsiteY1" fmla="*/ 9727 h 1572098"/>
                        <a:gd name="connsiteX2" fmla="*/ 1642770 w 2547443"/>
                        <a:gd name="connsiteY2" fmla="*/ 0 h 1572098"/>
                        <a:gd name="connsiteX3" fmla="*/ 2547443 w 2547443"/>
                        <a:gd name="connsiteY3" fmla="*/ 131323 h 1572098"/>
                        <a:gd name="connsiteX4" fmla="*/ 1545493 w 2547443"/>
                        <a:gd name="connsiteY4" fmla="*/ 355060 h 1572098"/>
                        <a:gd name="connsiteX5" fmla="*/ 1127203 w 2547443"/>
                        <a:gd name="connsiteY5" fmla="*/ 306422 h 1572098"/>
                        <a:gd name="connsiteX6" fmla="*/ 397629 w 2547443"/>
                        <a:gd name="connsiteY6" fmla="*/ 1118680 h 1572098"/>
                        <a:gd name="connsiteX7" fmla="*/ 378175 w 2547443"/>
                        <a:gd name="connsiteY7" fmla="*/ 1420238 h 1572098"/>
                        <a:gd name="connsiteX8" fmla="*/ 246851 w 2547443"/>
                        <a:gd name="connsiteY8" fmla="*/ 1517516 h 1572098"/>
                        <a:gd name="connsiteX9" fmla="*/ 42569 w 2547443"/>
                        <a:gd name="connsiteY9" fmla="*/ 1532106 h 1572098"/>
                        <a:gd name="connsiteX10" fmla="*/ 96072 w 2547443"/>
                        <a:gd name="connsiteY10" fmla="*/ 982494 h 1572098"/>
                        <a:gd name="connsiteX0" fmla="*/ 96072 w 2547443"/>
                        <a:gd name="connsiteY0" fmla="*/ 982494 h 2135699"/>
                        <a:gd name="connsiteX1" fmla="*/ 986153 w 2547443"/>
                        <a:gd name="connsiteY1" fmla="*/ 9727 h 2135699"/>
                        <a:gd name="connsiteX2" fmla="*/ 1642770 w 2547443"/>
                        <a:gd name="connsiteY2" fmla="*/ 0 h 2135699"/>
                        <a:gd name="connsiteX3" fmla="*/ 2547443 w 2547443"/>
                        <a:gd name="connsiteY3" fmla="*/ 131323 h 2135699"/>
                        <a:gd name="connsiteX4" fmla="*/ 1545493 w 2547443"/>
                        <a:gd name="connsiteY4" fmla="*/ 355060 h 2135699"/>
                        <a:gd name="connsiteX5" fmla="*/ 1127203 w 2547443"/>
                        <a:gd name="connsiteY5" fmla="*/ 306422 h 2135699"/>
                        <a:gd name="connsiteX6" fmla="*/ 397629 w 2547443"/>
                        <a:gd name="connsiteY6" fmla="*/ 1118680 h 2135699"/>
                        <a:gd name="connsiteX7" fmla="*/ 378175 w 2547443"/>
                        <a:gd name="connsiteY7" fmla="*/ 1420238 h 2135699"/>
                        <a:gd name="connsiteX8" fmla="*/ 694323 w 2547443"/>
                        <a:gd name="connsiteY8" fmla="*/ 2135222 h 2135699"/>
                        <a:gd name="connsiteX9" fmla="*/ 42569 w 2547443"/>
                        <a:gd name="connsiteY9" fmla="*/ 1532106 h 2135699"/>
                        <a:gd name="connsiteX10" fmla="*/ 96072 w 2547443"/>
                        <a:gd name="connsiteY10" fmla="*/ 982494 h 2135699"/>
                        <a:gd name="connsiteX0" fmla="*/ 96072 w 2547443"/>
                        <a:gd name="connsiteY0" fmla="*/ 982494 h 2694798"/>
                        <a:gd name="connsiteX1" fmla="*/ 986153 w 2547443"/>
                        <a:gd name="connsiteY1" fmla="*/ 9727 h 2694798"/>
                        <a:gd name="connsiteX2" fmla="*/ 1642770 w 2547443"/>
                        <a:gd name="connsiteY2" fmla="*/ 0 h 2694798"/>
                        <a:gd name="connsiteX3" fmla="*/ 2547443 w 2547443"/>
                        <a:gd name="connsiteY3" fmla="*/ 131323 h 2694798"/>
                        <a:gd name="connsiteX4" fmla="*/ 1545493 w 2547443"/>
                        <a:gd name="connsiteY4" fmla="*/ 355060 h 2694798"/>
                        <a:gd name="connsiteX5" fmla="*/ 1127203 w 2547443"/>
                        <a:gd name="connsiteY5" fmla="*/ 306422 h 2694798"/>
                        <a:gd name="connsiteX6" fmla="*/ 397629 w 2547443"/>
                        <a:gd name="connsiteY6" fmla="*/ 1118680 h 2694798"/>
                        <a:gd name="connsiteX7" fmla="*/ 378175 w 2547443"/>
                        <a:gd name="connsiteY7" fmla="*/ 1420238 h 2694798"/>
                        <a:gd name="connsiteX8" fmla="*/ 694323 w 2547443"/>
                        <a:gd name="connsiteY8" fmla="*/ 2694562 h 2694798"/>
                        <a:gd name="connsiteX9" fmla="*/ 42569 w 2547443"/>
                        <a:gd name="connsiteY9" fmla="*/ 1532106 h 2694798"/>
                        <a:gd name="connsiteX10" fmla="*/ 96072 w 2547443"/>
                        <a:gd name="connsiteY10" fmla="*/ 982494 h 2694798"/>
                        <a:gd name="connsiteX0" fmla="*/ 96072 w 2547443"/>
                        <a:gd name="connsiteY0" fmla="*/ 982494 h 2765238"/>
                        <a:gd name="connsiteX1" fmla="*/ 986153 w 2547443"/>
                        <a:gd name="connsiteY1" fmla="*/ 9727 h 2765238"/>
                        <a:gd name="connsiteX2" fmla="*/ 1642770 w 2547443"/>
                        <a:gd name="connsiteY2" fmla="*/ 0 h 2765238"/>
                        <a:gd name="connsiteX3" fmla="*/ 2547443 w 2547443"/>
                        <a:gd name="connsiteY3" fmla="*/ 131323 h 2765238"/>
                        <a:gd name="connsiteX4" fmla="*/ 1545493 w 2547443"/>
                        <a:gd name="connsiteY4" fmla="*/ 355060 h 2765238"/>
                        <a:gd name="connsiteX5" fmla="*/ 1127203 w 2547443"/>
                        <a:gd name="connsiteY5" fmla="*/ 306422 h 2765238"/>
                        <a:gd name="connsiteX6" fmla="*/ 397629 w 2547443"/>
                        <a:gd name="connsiteY6" fmla="*/ 1118680 h 2765238"/>
                        <a:gd name="connsiteX7" fmla="*/ 378175 w 2547443"/>
                        <a:gd name="connsiteY7" fmla="*/ 1420238 h 2765238"/>
                        <a:gd name="connsiteX8" fmla="*/ 660277 w 2547443"/>
                        <a:gd name="connsiteY8" fmla="*/ 2504872 h 2765238"/>
                        <a:gd name="connsiteX9" fmla="*/ 694323 w 2547443"/>
                        <a:gd name="connsiteY9" fmla="*/ 2694562 h 2765238"/>
                        <a:gd name="connsiteX10" fmla="*/ 42569 w 2547443"/>
                        <a:gd name="connsiteY10" fmla="*/ 1532106 h 2765238"/>
                        <a:gd name="connsiteX11" fmla="*/ 96072 w 2547443"/>
                        <a:gd name="connsiteY11" fmla="*/ 982494 h 2765238"/>
                        <a:gd name="connsiteX0" fmla="*/ 96072 w 2547443"/>
                        <a:gd name="connsiteY0" fmla="*/ 982494 h 2765238"/>
                        <a:gd name="connsiteX1" fmla="*/ 986153 w 2547443"/>
                        <a:gd name="connsiteY1" fmla="*/ 9727 h 2765238"/>
                        <a:gd name="connsiteX2" fmla="*/ 1642770 w 2547443"/>
                        <a:gd name="connsiteY2" fmla="*/ 0 h 2765238"/>
                        <a:gd name="connsiteX3" fmla="*/ 2547443 w 2547443"/>
                        <a:gd name="connsiteY3" fmla="*/ 131323 h 2765238"/>
                        <a:gd name="connsiteX4" fmla="*/ 1545493 w 2547443"/>
                        <a:gd name="connsiteY4" fmla="*/ 355060 h 2765238"/>
                        <a:gd name="connsiteX5" fmla="*/ 1127203 w 2547443"/>
                        <a:gd name="connsiteY5" fmla="*/ 306422 h 2765238"/>
                        <a:gd name="connsiteX6" fmla="*/ 397629 w 2547443"/>
                        <a:gd name="connsiteY6" fmla="*/ 1118680 h 2765238"/>
                        <a:gd name="connsiteX7" fmla="*/ 378175 w 2547443"/>
                        <a:gd name="connsiteY7" fmla="*/ 1420238 h 2765238"/>
                        <a:gd name="connsiteX8" fmla="*/ 913196 w 2547443"/>
                        <a:gd name="connsiteY8" fmla="*/ 2504872 h 2765238"/>
                        <a:gd name="connsiteX9" fmla="*/ 694323 w 2547443"/>
                        <a:gd name="connsiteY9" fmla="*/ 2694562 h 2765238"/>
                        <a:gd name="connsiteX10" fmla="*/ 42569 w 2547443"/>
                        <a:gd name="connsiteY10" fmla="*/ 1532106 h 2765238"/>
                        <a:gd name="connsiteX11" fmla="*/ 96072 w 2547443"/>
                        <a:gd name="connsiteY11" fmla="*/ 982494 h 2765238"/>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621366 w 2547443"/>
                        <a:gd name="connsiteY8" fmla="*/ 192121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569 w 2547443"/>
                        <a:gd name="connsiteY11" fmla="*/ 1532106 h 2751446"/>
                        <a:gd name="connsiteX12" fmla="*/ 96072 w 2547443"/>
                        <a:gd name="connsiteY12"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383039 w 2547443"/>
                        <a:gd name="connsiteY11" fmla="*/ 2178995 h 2751446"/>
                        <a:gd name="connsiteX12" fmla="*/ 42569 w 2547443"/>
                        <a:gd name="connsiteY12" fmla="*/ 1532106 h 2751446"/>
                        <a:gd name="connsiteX13" fmla="*/ 96072 w 2547443"/>
                        <a:gd name="connsiteY13"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6814 w 2547443"/>
                        <a:gd name="connsiteY11" fmla="*/ 1969851 h 2751446"/>
                        <a:gd name="connsiteX12" fmla="*/ 42569 w 2547443"/>
                        <a:gd name="connsiteY12" fmla="*/ 1532106 h 2751446"/>
                        <a:gd name="connsiteX13" fmla="*/ 96072 w 2547443"/>
                        <a:gd name="connsiteY13"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6814 w 2547443"/>
                        <a:gd name="connsiteY11" fmla="*/ 1969851 h 2751446"/>
                        <a:gd name="connsiteX12" fmla="*/ 42569 w 2547443"/>
                        <a:gd name="connsiteY12" fmla="*/ 1532106 h 2751446"/>
                        <a:gd name="connsiteX13" fmla="*/ 96072 w 2547443"/>
                        <a:gd name="connsiteY13" fmla="*/ 982494 h 2751446"/>
                        <a:gd name="connsiteX0" fmla="*/ 96072 w 2547443"/>
                        <a:gd name="connsiteY0" fmla="*/ 982494 h 2751446"/>
                        <a:gd name="connsiteX1" fmla="*/ 986153 w 2547443"/>
                        <a:gd name="connsiteY1" fmla="*/ 9727 h 2751446"/>
                        <a:gd name="connsiteX2" fmla="*/ 1642770 w 2547443"/>
                        <a:gd name="connsiteY2" fmla="*/ 0 h 2751446"/>
                        <a:gd name="connsiteX3" fmla="*/ 2547443 w 2547443"/>
                        <a:gd name="connsiteY3" fmla="*/ 131323 h 2751446"/>
                        <a:gd name="connsiteX4" fmla="*/ 1545493 w 2547443"/>
                        <a:gd name="connsiteY4" fmla="*/ 355060 h 2751446"/>
                        <a:gd name="connsiteX5" fmla="*/ 1127203 w 2547443"/>
                        <a:gd name="connsiteY5" fmla="*/ 306422 h 2751446"/>
                        <a:gd name="connsiteX6" fmla="*/ 397629 w 2547443"/>
                        <a:gd name="connsiteY6" fmla="*/ 1118680 h 2751446"/>
                        <a:gd name="connsiteX7" fmla="*/ 378175 w 2547443"/>
                        <a:gd name="connsiteY7" fmla="*/ 1420238 h 2751446"/>
                        <a:gd name="connsiteX8" fmla="*/ 738098 w 2547443"/>
                        <a:gd name="connsiteY8" fmla="*/ 1819072 h 2751446"/>
                        <a:gd name="connsiteX9" fmla="*/ 913196 w 2547443"/>
                        <a:gd name="connsiteY9" fmla="*/ 2504872 h 2751446"/>
                        <a:gd name="connsiteX10" fmla="*/ 694323 w 2547443"/>
                        <a:gd name="connsiteY10" fmla="*/ 2694562 h 2751446"/>
                        <a:gd name="connsiteX11" fmla="*/ 426814 w 2547443"/>
                        <a:gd name="connsiteY11" fmla="*/ 1969851 h 2751446"/>
                        <a:gd name="connsiteX12" fmla="*/ 42569 w 2547443"/>
                        <a:gd name="connsiteY12" fmla="*/ 1532106 h 2751446"/>
                        <a:gd name="connsiteX13" fmla="*/ 96072 w 2547443"/>
                        <a:gd name="connsiteY13" fmla="*/ 982494 h 2751446"/>
                        <a:gd name="connsiteX0" fmla="*/ 99995 w 2551366"/>
                        <a:gd name="connsiteY0" fmla="*/ 982494 h 2751446"/>
                        <a:gd name="connsiteX1" fmla="*/ 990076 w 2551366"/>
                        <a:gd name="connsiteY1" fmla="*/ 9727 h 2751446"/>
                        <a:gd name="connsiteX2" fmla="*/ 1646693 w 2551366"/>
                        <a:gd name="connsiteY2" fmla="*/ 0 h 2751446"/>
                        <a:gd name="connsiteX3" fmla="*/ 2551366 w 2551366"/>
                        <a:gd name="connsiteY3" fmla="*/ 131323 h 2751446"/>
                        <a:gd name="connsiteX4" fmla="*/ 1549416 w 2551366"/>
                        <a:gd name="connsiteY4" fmla="*/ 355060 h 2751446"/>
                        <a:gd name="connsiteX5" fmla="*/ 1131126 w 2551366"/>
                        <a:gd name="connsiteY5" fmla="*/ 306422 h 2751446"/>
                        <a:gd name="connsiteX6" fmla="*/ 401552 w 2551366"/>
                        <a:gd name="connsiteY6" fmla="*/ 1118680 h 2751446"/>
                        <a:gd name="connsiteX7" fmla="*/ 382098 w 2551366"/>
                        <a:gd name="connsiteY7" fmla="*/ 1420238 h 2751446"/>
                        <a:gd name="connsiteX8" fmla="*/ 742021 w 2551366"/>
                        <a:gd name="connsiteY8" fmla="*/ 1819072 h 2751446"/>
                        <a:gd name="connsiteX9" fmla="*/ 917119 w 2551366"/>
                        <a:gd name="connsiteY9" fmla="*/ 2504872 h 2751446"/>
                        <a:gd name="connsiteX10" fmla="*/ 698246 w 2551366"/>
                        <a:gd name="connsiteY10" fmla="*/ 2694562 h 2751446"/>
                        <a:gd name="connsiteX11" fmla="*/ 430737 w 2551366"/>
                        <a:gd name="connsiteY11" fmla="*/ 1969851 h 2751446"/>
                        <a:gd name="connsiteX12" fmla="*/ 41628 w 2551366"/>
                        <a:gd name="connsiteY12" fmla="*/ 1493195 h 2751446"/>
                        <a:gd name="connsiteX13" fmla="*/ 99995 w 2551366"/>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47743 w 2568372"/>
                        <a:gd name="connsiteY11" fmla="*/ 1969851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47743 w 2568372"/>
                        <a:gd name="connsiteY11" fmla="*/ 1969851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72062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72062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52606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52606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51446"/>
                        <a:gd name="connsiteX1" fmla="*/ 1007082 w 2568372"/>
                        <a:gd name="connsiteY1" fmla="*/ 9727 h 2751446"/>
                        <a:gd name="connsiteX2" fmla="*/ 1663699 w 2568372"/>
                        <a:gd name="connsiteY2" fmla="*/ 0 h 2751446"/>
                        <a:gd name="connsiteX3" fmla="*/ 2568372 w 2568372"/>
                        <a:gd name="connsiteY3" fmla="*/ 131323 h 2751446"/>
                        <a:gd name="connsiteX4" fmla="*/ 1566422 w 2568372"/>
                        <a:gd name="connsiteY4" fmla="*/ 355060 h 2751446"/>
                        <a:gd name="connsiteX5" fmla="*/ 1148132 w 2568372"/>
                        <a:gd name="connsiteY5" fmla="*/ 306422 h 2751446"/>
                        <a:gd name="connsiteX6" fmla="*/ 418558 w 2568372"/>
                        <a:gd name="connsiteY6" fmla="*/ 1118680 h 2751446"/>
                        <a:gd name="connsiteX7" fmla="*/ 399104 w 2568372"/>
                        <a:gd name="connsiteY7" fmla="*/ 1420238 h 2751446"/>
                        <a:gd name="connsiteX8" fmla="*/ 759027 w 2568372"/>
                        <a:gd name="connsiteY8" fmla="*/ 1819072 h 2751446"/>
                        <a:gd name="connsiteX9" fmla="*/ 934125 w 2568372"/>
                        <a:gd name="connsiteY9" fmla="*/ 2504872 h 2751446"/>
                        <a:gd name="connsiteX10" fmla="*/ 715252 w 2568372"/>
                        <a:gd name="connsiteY10" fmla="*/ 2694562 h 2751446"/>
                        <a:gd name="connsiteX11" fmla="*/ 452606 w 2568372"/>
                        <a:gd name="connsiteY11" fmla="*/ 1935804 h 2751446"/>
                        <a:gd name="connsiteX12" fmla="*/ 58634 w 2568372"/>
                        <a:gd name="connsiteY12" fmla="*/ 1493195 h 2751446"/>
                        <a:gd name="connsiteX13" fmla="*/ 117001 w 2568372"/>
                        <a:gd name="connsiteY13" fmla="*/ 982494 h 2751446"/>
                        <a:gd name="connsiteX0" fmla="*/ 117001 w 2568372"/>
                        <a:gd name="connsiteY0" fmla="*/ 982494 h 2708634"/>
                        <a:gd name="connsiteX1" fmla="*/ 1007082 w 2568372"/>
                        <a:gd name="connsiteY1" fmla="*/ 9727 h 2708634"/>
                        <a:gd name="connsiteX2" fmla="*/ 1663699 w 2568372"/>
                        <a:gd name="connsiteY2" fmla="*/ 0 h 2708634"/>
                        <a:gd name="connsiteX3" fmla="*/ 2568372 w 2568372"/>
                        <a:gd name="connsiteY3" fmla="*/ 131323 h 2708634"/>
                        <a:gd name="connsiteX4" fmla="*/ 1566422 w 2568372"/>
                        <a:gd name="connsiteY4" fmla="*/ 355060 h 2708634"/>
                        <a:gd name="connsiteX5" fmla="*/ 1148132 w 2568372"/>
                        <a:gd name="connsiteY5" fmla="*/ 306422 h 2708634"/>
                        <a:gd name="connsiteX6" fmla="*/ 418558 w 2568372"/>
                        <a:gd name="connsiteY6" fmla="*/ 1118680 h 2708634"/>
                        <a:gd name="connsiteX7" fmla="*/ 399104 w 2568372"/>
                        <a:gd name="connsiteY7" fmla="*/ 1420238 h 2708634"/>
                        <a:gd name="connsiteX8" fmla="*/ 759027 w 2568372"/>
                        <a:gd name="connsiteY8" fmla="*/ 1819072 h 2708634"/>
                        <a:gd name="connsiteX9" fmla="*/ 934125 w 2568372"/>
                        <a:gd name="connsiteY9" fmla="*/ 2504872 h 2708634"/>
                        <a:gd name="connsiteX10" fmla="*/ 715252 w 2568372"/>
                        <a:gd name="connsiteY10" fmla="*/ 2694562 h 2708634"/>
                        <a:gd name="connsiteX11" fmla="*/ 452606 w 2568372"/>
                        <a:gd name="connsiteY11" fmla="*/ 1935804 h 2708634"/>
                        <a:gd name="connsiteX12" fmla="*/ 58634 w 2568372"/>
                        <a:gd name="connsiteY12" fmla="*/ 1493195 h 2708634"/>
                        <a:gd name="connsiteX13" fmla="*/ 117001 w 2568372"/>
                        <a:gd name="connsiteY13" fmla="*/ 982494 h 2708634"/>
                        <a:gd name="connsiteX0" fmla="*/ 117001 w 2568372"/>
                        <a:gd name="connsiteY0" fmla="*/ 982494 h 2705878"/>
                        <a:gd name="connsiteX1" fmla="*/ 1007082 w 2568372"/>
                        <a:gd name="connsiteY1" fmla="*/ 9727 h 2705878"/>
                        <a:gd name="connsiteX2" fmla="*/ 1663699 w 2568372"/>
                        <a:gd name="connsiteY2" fmla="*/ 0 h 2705878"/>
                        <a:gd name="connsiteX3" fmla="*/ 2568372 w 2568372"/>
                        <a:gd name="connsiteY3" fmla="*/ 131323 h 2705878"/>
                        <a:gd name="connsiteX4" fmla="*/ 1566422 w 2568372"/>
                        <a:gd name="connsiteY4" fmla="*/ 355060 h 2705878"/>
                        <a:gd name="connsiteX5" fmla="*/ 1148132 w 2568372"/>
                        <a:gd name="connsiteY5" fmla="*/ 306422 h 2705878"/>
                        <a:gd name="connsiteX6" fmla="*/ 418558 w 2568372"/>
                        <a:gd name="connsiteY6" fmla="*/ 1118680 h 2705878"/>
                        <a:gd name="connsiteX7" fmla="*/ 399104 w 2568372"/>
                        <a:gd name="connsiteY7" fmla="*/ 1420238 h 2705878"/>
                        <a:gd name="connsiteX8" fmla="*/ 759027 w 2568372"/>
                        <a:gd name="connsiteY8" fmla="*/ 1819072 h 2705878"/>
                        <a:gd name="connsiteX9" fmla="*/ 934125 w 2568372"/>
                        <a:gd name="connsiteY9" fmla="*/ 2504872 h 2705878"/>
                        <a:gd name="connsiteX10" fmla="*/ 715252 w 2568372"/>
                        <a:gd name="connsiteY10" fmla="*/ 2694562 h 2705878"/>
                        <a:gd name="connsiteX11" fmla="*/ 452606 w 2568372"/>
                        <a:gd name="connsiteY11" fmla="*/ 1935804 h 2705878"/>
                        <a:gd name="connsiteX12" fmla="*/ 58634 w 2568372"/>
                        <a:gd name="connsiteY12" fmla="*/ 1493195 h 2705878"/>
                        <a:gd name="connsiteX13" fmla="*/ 117001 w 2568372"/>
                        <a:gd name="connsiteY13" fmla="*/ 982494 h 2705878"/>
                        <a:gd name="connsiteX0" fmla="*/ 117001 w 2568372"/>
                        <a:gd name="connsiteY0" fmla="*/ 982494 h 2705878"/>
                        <a:gd name="connsiteX1" fmla="*/ 1007082 w 2568372"/>
                        <a:gd name="connsiteY1" fmla="*/ 9727 h 2705878"/>
                        <a:gd name="connsiteX2" fmla="*/ 1663699 w 2568372"/>
                        <a:gd name="connsiteY2" fmla="*/ 0 h 2705878"/>
                        <a:gd name="connsiteX3" fmla="*/ 2568372 w 2568372"/>
                        <a:gd name="connsiteY3" fmla="*/ 131323 h 2705878"/>
                        <a:gd name="connsiteX4" fmla="*/ 1566422 w 2568372"/>
                        <a:gd name="connsiteY4" fmla="*/ 355060 h 2705878"/>
                        <a:gd name="connsiteX5" fmla="*/ 1148132 w 2568372"/>
                        <a:gd name="connsiteY5" fmla="*/ 306422 h 2705878"/>
                        <a:gd name="connsiteX6" fmla="*/ 418558 w 2568372"/>
                        <a:gd name="connsiteY6" fmla="*/ 1118680 h 2705878"/>
                        <a:gd name="connsiteX7" fmla="*/ 399104 w 2568372"/>
                        <a:gd name="connsiteY7" fmla="*/ 1420238 h 2705878"/>
                        <a:gd name="connsiteX8" fmla="*/ 768755 w 2568372"/>
                        <a:gd name="connsiteY8" fmla="*/ 1809344 h 2705878"/>
                        <a:gd name="connsiteX9" fmla="*/ 934125 w 2568372"/>
                        <a:gd name="connsiteY9" fmla="*/ 2504872 h 2705878"/>
                        <a:gd name="connsiteX10" fmla="*/ 715252 w 2568372"/>
                        <a:gd name="connsiteY10" fmla="*/ 2694562 h 2705878"/>
                        <a:gd name="connsiteX11" fmla="*/ 452606 w 2568372"/>
                        <a:gd name="connsiteY11" fmla="*/ 1935804 h 2705878"/>
                        <a:gd name="connsiteX12" fmla="*/ 58634 w 2568372"/>
                        <a:gd name="connsiteY12" fmla="*/ 1493195 h 2705878"/>
                        <a:gd name="connsiteX13" fmla="*/ 117001 w 2568372"/>
                        <a:gd name="connsiteY13" fmla="*/ 982494 h 2705878"/>
                        <a:gd name="connsiteX0" fmla="*/ 117001 w 2568372"/>
                        <a:gd name="connsiteY0" fmla="*/ 982494 h 2705878"/>
                        <a:gd name="connsiteX1" fmla="*/ 1007082 w 2568372"/>
                        <a:gd name="connsiteY1" fmla="*/ 9727 h 2705878"/>
                        <a:gd name="connsiteX2" fmla="*/ 1663699 w 2568372"/>
                        <a:gd name="connsiteY2" fmla="*/ 0 h 2705878"/>
                        <a:gd name="connsiteX3" fmla="*/ 2568372 w 2568372"/>
                        <a:gd name="connsiteY3" fmla="*/ 131323 h 2705878"/>
                        <a:gd name="connsiteX4" fmla="*/ 1566422 w 2568372"/>
                        <a:gd name="connsiteY4" fmla="*/ 355060 h 2705878"/>
                        <a:gd name="connsiteX5" fmla="*/ 1148132 w 2568372"/>
                        <a:gd name="connsiteY5" fmla="*/ 306422 h 2705878"/>
                        <a:gd name="connsiteX6" fmla="*/ 418558 w 2568372"/>
                        <a:gd name="connsiteY6" fmla="*/ 1118680 h 2705878"/>
                        <a:gd name="connsiteX7" fmla="*/ 399104 w 2568372"/>
                        <a:gd name="connsiteY7" fmla="*/ 1420238 h 2705878"/>
                        <a:gd name="connsiteX8" fmla="*/ 768755 w 2568372"/>
                        <a:gd name="connsiteY8" fmla="*/ 1809344 h 2705878"/>
                        <a:gd name="connsiteX9" fmla="*/ 934125 w 2568372"/>
                        <a:gd name="connsiteY9" fmla="*/ 2504872 h 2705878"/>
                        <a:gd name="connsiteX10" fmla="*/ 715252 w 2568372"/>
                        <a:gd name="connsiteY10" fmla="*/ 2694562 h 2705878"/>
                        <a:gd name="connsiteX11" fmla="*/ 452606 w 2568372"/>
                        <a:gd name="connsiteY11" fmla="*/ 1935804 h 2705878"/>
                        <a:gd name="connsiteX12" fmla="*/ 58634 w 2568372"/>
                        <a:gd name="connsiteY12" fmla="*/ 1493195 h 2705878"/>
                        <a:gd name="connsiteX13" fmla="*/ 117001 w 2568372"/>
                        <a:gd name="connsiteY13" fmla="*/ 982494 h 2705878"/>
                        <a:gd name="connsiteX0" fmla="*/ 117001 w 2568372"/>
                        <a:gd name="connsiteY0" fmla="*/ 982494 h 2705878"/>
                        <a:gd name="connsiteX1" fmla="*/ 1007082 w 2568372"/>
                        <a:gd name="connsiteY1" fmla="*/ 9727 h 2705878"/>
                        <a:gd name="connsiteX2" fmla="*/ 1663699 w 2568372"/>
                        <a:gd name="connsiteY2" fmla="*/ 0 h 2705878"/>
                        <a:gd name="connsiteX3" fmla="*/ 2568372 w 2568372"/>
                        <a:gd name="connsiteY3" fmla="*/ 131323 h 2705878"/>
                        <a:gd name="connsiteX4" fmla="*/ 1566422 w 2568372"/>
                        <a:gd name="connsiteY4" fmla="*/ 355060 h 2705878"/>
                        <a:gd name="connsiteX5" fmla="*/ 1148132 w 2568372"/>
                        <a:gd name="connsiteY5" fmla="*/ 306422 h 2705878"/>
                        <a:gd name="connsiteX6" fmla="*/ 418558 w 2568372"/>
                        <a:gd name="connsiteY6" fmla="*/ 1118680 h 2705878"/>
                        <a:gd name="connsiteX7" fmla="*/ 399104 w 2568372"/>
                        <a:gd name="connsiteY7" fmla="*/ 1420238 h 2705878"/>
                        <a:gd name="connsiteX8" fmla="*/ 768755 w 2568372"/>
                        <a:gd name="connsiteY8" fmla="*/ 1809344 h 2705878"/>
                        <a:gd name="connsiteX9" fmla="*/ 934125 w 2568372"/>
                        <a:gd name="connsiteY9" fmla="*/ 2504872 h 2705878"/>
                        <a:gd name="connsiteX10" fmla="*/ 715252 w 2568372"/>
                        <a:gd name="connsiteY10" fmla="*/ 2694562 h 2705878"/>
                        <a:gd name="connsiteX11" fmla="*/ 452606 w 2568372"/>
                        <a:gd name="connsiteY11" fmla="*/ 1935804 h 2705878"/>
                        <a:gd name="connsiteX12" fmla="*/ 58634 w 2568372"/>
                        <a:gd name="connsiteY12" fmla="*/ 1493195 h 2705878"/>
                        <a:gd name="connsiteX13" fmla="*/ 117001 w 2568372"/>
                        <a:gd name="connsiteY13" fmla="*/ 982494 h 2705878"/>
                        <a:gd name="connsiteX0" fmla="*/ 117001 w 2568372"/>
                        <a:gd name="connsiteY0" fmla="*/ 1079805 h 2803189"/>
                        <a:gd name="connsiteX1" fmla="*/ 1007082 w 2568372"/>
                        <a:gd name="connsiteY1" fmla="*/ 107038 h 2803189"/>
                        <a:gd name="connsiteX2" fmla="*/ 1663699 w 2568372"/>
                        <a:gd name="connsiteY2" fmla="*/ 97311 h 2803189"/>
                        <a:gd name="connsiteX3" fmla="*/ 2568372 w 2568372"/>
                        <a:gd name="connsiteY3" fmla="*/ 228634 h 2803189"/>
                        <a:gd name="connsiteX4" fmla="*/ 1566422 w 2568372"/>
                        <a:gd name="connsiteY4" fmla="*/ 452371 h 2803189"/>
                        <a:gd name="connsiteX5" fmla="*/ 1148132 w 2568372"/>
                        <a:gd name="connsiteY5" fmla="*/ 403733 h 2803189"/>
                        <a:gd name="connsiteX6" fmla="*/ 418558 w 2568372"/>
                        <a:gd name="connsiteY6" fmla="*/ 1215991 h 2803189"/>
                        <a:gd name="connsiteX7" fmla="*/ 399104 w 2568372"/>
                        <a:gd name="connsiteY7" fmla="*/ 1517549 h 2803189"/>
                        <a:gd name="connsiteX8" fmla="*/ 768755 w 2568372"/>
                        <a:gd name="connsiteY8" fmla="*/ 1906655 h 2803189"/>
                        <a:gd name="connsiteX9" fmla="*/ 934125 w 2568372"/>
                        <a:gd name="connsiteY9" fmla="*/ 2602183 h 2803189"/>
                        <a:gd name="connsiteX10" fmla="*/ 715252 w 2568372"/>
                        <a:gd name="connsiteY10" fmla="*/ 2791873 h 2803189"/>
                        <a:gd name="connsiteX11" fmla="*/ 452606 w 2568372"/>
                        <a:gd name="connsiteY11" fmla="*/ 2033115 h 2803189"/>
                        <a:gd name="connsiteX12" fmla="*/ 58634 w 2568372"/>
                        <a:gd name="connsiteY12" fmla="*/ 1590506 h 2803189"/>
                        <a:gd name="connsiteX13" fmla="*/ 117001 w 2568372"/>
                        <a:gd name="connsiteY13" fmla="*/ 1079805 h 2803189"/>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568372"/>
                        <a:gd name="connsiteY0" fmla="*/ 1091839 h 2815223"/>
                        <a:gd name="connsiteX1" fmla="*/ 1007082 w 2568372"/>
                        <a:gd name="connsiteY1" fmla="*/ 119072 h 2815223"/>
                        <a:gd name="connsiteX2" fmla="*/ 1663699 w 2568372"/>
                        <a:gd name="connsiteY2" fmla="*/ 109345 h 2815223"/>
                        <a:gd name="connsiteX3" fmla="*/ 2568372 w 2568372"/>
                        <a:gd name="connsiteY3" fmla="*/ 240668 h 2815223"/>
                        <a:gd name="connsiteX4" fmla="*/ 1566422 w 2568372"/>
                        <a:gd name="connsiteY4" fmla="*/ 464405 h 2815223"/>
                        <a:gd name="connsiteX5" fmla="*/ 1148132 w 2568372"/>
                        <a:gd name="connsiteY5" fmla="*/ 415767 h 2815223"/>
                        <a:gd name="connsiteX6" fmla="*/ 418558 w 2568372"/>
                        <a:gd name="connsiteY6" fmla="*/ 1228025 h 2815223"/>
                        <a:gd name="connsiteX7" fmla="*/ 399104 w 2568372"/>
                        <a:gd name="connsiteY7" fmla="*/ 1529583 h 2815223"/>
                        <a:gd name="connsiteX8" fmla="*/ 768755 w 2568372"/>
                        <a:gd name="connsiteY8" fmla="*/ 1918689 h 2815223"/>
                        <a:gd name="connsiteX9" fmla="*/ 934125 w 2568372"/>
                        <a:gd name="connsiteY9" fmla="*/ 2614217 h 2815223"/>
                        <a:gd name="connsiteX10" fmla="*/ 715252 w 2568372"/>
                        <a:gd name="connsiteY10" fmla="*/ 2803907 h 2815223"/>
                        <a:gd name="connsiteX11" fmla="*/ 452606 w 2568372"/>
                        <a:gd name="connsiteY11" fmla="*/ 2045149 h 2815223"/>
                        <a:gd name="connsiteX12" fmla="*/ 58634 w 2568372"/>
                        <a:gd name="connsiteY12" fmla="*/ 1602540 h 2815223"/>
                        <a:gd name="connsiteX13" fmla="*/ 117001 w 2568372"/>
                        <a:gd name="connsiteY13" fmla="*/ 1091839 h 2815223"/>
                        <a:gd name="connsiteX0" fmla="*/ 117001 w 2603282"/>
                        <a:gd name="connsiteY0" fmla="*/ 1091839 h 2815223"/>
                        <a:gd name="connsiteX1" fmla="*/ 1007082 w 2603282"/>
                        <a:gd name="connsiteY1" fmla="*/ 119072 h 2815223"/>
                        <a:gd name="connsiteX2" fmla="*/ 1663699 w 2603282"/>
                        <a:gd name="connsiteY2" fmla="*/ 109345 h 2815223"/>
                        <a:gd name="connsiteX3" fmla="*/ 2568372 w 2603282"/>
                        <a:gd name="connsiteY3" fmla="*/ 240668 h 2815223"/>
                        <a:gd name="connsiteX4" fmla="*/ 2334908 w 2603282"/>
                        <a:gd name="connsiteY4" fmla="*/ 483861 h 2815223"/>
                        <a:gd name="connsiteX5" fmla="*/ 1566422 w 2603282"/>
                        <a:gd name="connsiteY5" fmla="*/ 464405 h 2815223"/>
                        <a:gd name="connsiteX6" fmla="*/ 1148132 w 2603282"/>
                        <a:gd name="connsiteY6" fmla="*/ 415767 h 2815223"/>
                        <a:gd name="connsiteX7" fmla="*/ 418558 w 2603282"/>
                        <a:gd name="connsiteY7" fmla="*/ 1228025 h 2815223"/>
                        <a:gd name="connsiteX8" fmla="*/ 399104 w 2603282"/>
                        <a:gd name="connsiteY8" fmla="*/ 1529583 h 2815223"/>
                        <a:gd name="connsiteX9" fmla="*/ 768755 w 2603282"/>
                        <a:gd name="connsiteY9" fmla="*/ 1918689 h 2815223"/>
                        <a:gd name="connsiteX10" fmla="*/ 934125 w 2603282"/>
                        <a:gd name="connsiteY10" fmla="*/ 2614217 h 2815223"/>
                        <a:gd name="connsiteX11" fmla="*/ 715252 w 2603282"/>
                        <a:gd name="connsiteY11" fmla="*/ 2803907 h 2815223"/>
                        <a:gd name="connsiteX12" fmla="*/ 452606 w 2603282"/>
                        <a:gd name="connsiteY12" fmla="*/ 2045149 h 2815223"/>
                        <a:gd name="connsiteX13" fmla="*/ 58634 w 2603282"/>
                        <a:gd name="connsiteY13" fmla="*/ 1602540 h 2815223"/>
                        <a:gd name="connsiteX14" fmla="*/ 117001 w 2603282"/>
                        <a:gd name="connsiteY14" fmla="*/ 1091839 h 2815223"/>
                        <a:gd name="connsiteX0" fmla="*/ 117001 w 2704505"/>
                        <a:gd name="connsiteY0" fmla="*/ 1091839 h 2815223"/>
                        <a:gd name="connsiteX1" fmla="*/ 1007082 w 2704505"/>
                        <a:gd name="connsiteY1" fmla="*/ 119072 h 2815223"/>
                        <a:gd name="connsiteX2" fmla="*/ 1663699 w 2704505"/>
                        <a:gd name="connsiteY2" fmla="*/ 109345 h 2815223"/>
                        <a:gd name="connsiteX3" fmla="*/ 2568372 w 2704505"/>
                        <a:gd name="connsiteY3" fmla="*/ 240668 h 2815223"/>
                        <a:gd name="connsiteX4" fmla="*/ 2617010 w 2704505"/>
                        <a:gd name="connsiteY4" fmla="*/ 381721 h 2815223"/>
                        <a:gd name="connsiteX5" fmla="*/ 1566422 w 2704505"/>
                        <a:gd name="connsiteY5" fmla="*/ 464405 h 2815223"/>
                        <a:gd name="connsiteX6" fmla="*/ 1148132 w 2704505"/>
                        <a:gd name="connsiteY6" fmla="*/ 415767 h 2815223"/>
                        <a:gd name="connsiteX7" fmla="*/ 418558 w 2704505"/>
                        <a:gd name="connsiteY7" fmla="*/ 1228025 h 2815223"/>
                        <a:gd name="connsiteX8" fmla="*/ 399104 w 2704505"/>
                        <a:gd name="connsiteY8" fmla="*/ 1529583 h 2815223"/>
                        <a:gd name="connsiteX9" fmla="*/ 768755 w 2704505"/>
                        <a:gd name="connsiteY9" fmla="*/ 1918689 h 2815223"/>
                        <a:gd name="connsiteX10" fmla="*/ 934125 w 2704505"/>
                        <a:gd name="connsiteY10" fmla="*/ 2614217 h 2815223"/>
                        <a:gd name="connsiteX11" fmla="*/ 715252 w 2704505"/>
                        <a:gd name="connsiteY11" fmla="*/ 2803907 h 2815223"/>
                        <a:gd name="connsiteX12" fmla="*/ 452606 w 2704505"/>
                        <a:gd name="connsiteY12" fmla="*/ 2045149 h 2815223"/>
                        <a:gd name="connsiteX13" fmla="*/ 58634 w 2704505"/>
                        <a:gd name="connsiteY13" fmla="*/ 1602540 h 2815223"/>
                        <a:gd name="connsiteX14" fmla="*/ 117001 w 2704505"/>
                        <a:gd name="connsiteY14" fmla="*/ 1091839 h 2815223"/>
                        <a:gd name="connsiteX0" fmla="*/ 117001 w 2832040"/>
                        <a:gd name="connsiteY0" fmla="*/ 1091839 h 2815223"/>
                        <a:gd name="connsiteX1" fmla="*/ 1007082 w 2832040"/>
                        <a:gd name="connsiteY1" fmla="*/ 119072 h 2815223"/>
                        <a:gd name="connsiteX2" fmla="*/ 1663699 w 2832040"/>
                        <a:gd name="connsiteY2" fmla="*/ 109345 h 2815223"/>
                        <a:gd name="connsiteX3" fmla="*/ 2568372 w 2832040"/>
                        <a:gd name="connsiteY3" fmla="*/ 240668 h 2815223"/>
                        <a:gd name="connsiteX4" fmla="*/ 2617010 w 2832040"/>
                        <a:gd name="connsiteY4" fmla="*/ 381721 h 2815223"/>
                        <a:gd name="connsiteX5" fmla="*/ 1566422 w 2832040"/>
                        <a:gd name="connsiteY5" fmla="*/ 464405 h 2815223"/>
                        <a:gd name="connsiteX6" fmla="*/ 1148132 w 2832040"/>
                        <a:gd name="connsiteY6" fmla="*/ 415767 h 2815223"/>
                        <a:gd name="connsiteX7" fmla="*/ 418558 w 2832040"/>
                        <a:gd name="connsiteY7" fmla="*/ 1228025 h 2815223"/>
                        <a:gd name="connsiteX8" fmla="*/ 399104 w 2832040"/>
                        <a:gd name="connsiteY8" fmla="*/ 1529583 h 2815223"/>
                        <a:gd name="connsiteX9" fmla="*/ 768755 w 2832040"/>
                        <a:gd name="connsiteY9" fmla="*/ 1918689 h 2815223"/>
                        <a:gd name="connsiteX10" fmla="*/ 934125 w 2832040"/>
                        <a:gd name="connsiteY10" fmla="*/ 2614217 h 2815223"/>
                        <a:gd name="connsiteX11" fmla="*/ 715252 w 2832040"/>
                        <a:gd name="connsiteY11" fmla="*/ 2803907 h 2815223"/>
                        <a:gd name="connsiteX12" fmla="*/ 452606 w 2832040"/>
                        <a:gd name="connsiteY12" fmla="*/ 2045149 h 2815223"/>
                        <a:gd name="connsiteX13" fmla="*/ 58634 w 2832040"/>
                        <a:gd name="connsiteY13" fmla="*/ 1602540 h 2815223"/>
                        <a:gd name="connsiteX14" fmla="*/ 117001 w 2832040"/>
                        <a:gd name="connsiteY14" fmla="*/ 1091839 h 2815223"/>
                        <a:gd name="connsiteX0" fmla="*/ 117001 w 2832040"/>
                        <a:gd name="connsiteY0" fmla="*/ 1091839 h 2815223"/>
                        <a:gd name="connsiteX1" fmla="*/ 1007082 w 2832040"/>
                        <a:gd name="connsiteY1" fmla="*/ 119072 h 2815223"/>
                        <a:gd name="connsiteX2" fmla="*/ 1663699 w 2832040"/>
                        <a:gd name="connsiteY2" fmla="*/ 109345 h 2815223"/>
                        <a:gd name="connsiteX3" fmla="*/ 2568372 w 2832040"/>
                        <a:gd name="connsiteY3" fmla="*/ 240668 h 2815223"/>
                        <a:gd name="connsiteX4" fmla="*/ 2617010 w 2832040"/>
                        <a:gd name="connsiteY4" fmla="*/ 381721 h 2815223"/>
                        <a:gd name="connsiteX5" fmla="*/ 1566422 w 2832040"/>
                        <a:gd name="connsiteY5" fmla="*/ 464405 h 2815223"/>
                        <a:gd name="connsiteX6" fmla="*/ 1148132 w 2832040"/>
                        <a:gd name="connsiteY6" fmla="*/ 415767 h 2815223"/>
                        <a:gd name="connsiteX7" fmla="*/ 418558 w 2832040"/>
                        <a:gd name="connsiteY7" fmla="*/ 1228025 h 2815223"/>
                        <a:gd name="connsiteX8" fmla="*/ 399104 w 2832040"/>
                        <a:gd name="connsiteY8" fmla="*/ 1529583 h 2815223"/>
                        <a:gd name="connsiteX9" fmla="*/ 768755 w 2832040"/>
                        <a:gd name="connsiteY9" fmla="*/ 1918689 h 2815223"/>
                        <a:gd name="connsiteX10" fmla="*/ 934125 w 2832040"/>
                        <a:gd name="connsiteY10" fmla="*/ 2614217 h 2815223"/>
                        <a:gd name="connsiteX11" fmla="*/ 715252 w 2832040"/>
                        <a:gd name="connsiteY11" fmla="*/ 2803907 h 2815223"/>
                        <a:gd name="connsiteX12" fmla="*/ 452606 w 2832040"/>
                        <a:gd name="connsiteY12" fmla="*/ 2045149 h 2815223"/>
                        <a:gd name="connsiteX13" fmla="*/ 58634 w 2832040"/>
                        <a:gd name="connsiteY13" fmla="*/ 1602540 h 2815223"/>
                        <a:gd name="connsiteX14" fmla="*/ 117001 w 283204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36680"/>
                        <a:gd name="connsiteY0" fmla="*/ 1091839 h 2815223"/>
                        <a:gd name="connsiteX1" fmla="*/ 1007082 w 2836680"/>
                        <a:gd name="connsiteY1" fmla="*/ 119072 h 2815223"/>
                        <a:gd name="connsiteX2" fmla="*/ 1663699 w 2836680"/>
                        <a:gd name="connsiteY2" fmla="*/ 109345 h 2815223"/>
                        <a:gd name="connsiteX3" fmla="*/ 2568372 w 2836680"/>
                        <a:gd name="connsiteY3" fmla="*/ 240668 h 2815223"/>
                        <a:gd name="connsiteX4" fmla="*/ 2617010 w 2836680"/>
                        <a:gd name="connsiteY4" fmla="*/ 381721 h 2815223"/>
                        <a:gd name="connsiteX5" fmla="*/ 1566422 w 2836680"/>
                        <a:gd name="connsiteY5" fmla="*/ 464405 h 2815223"/>
                        <a:gd name="connsiteX6" fmla="*/ 1148132 w 2836680"/>
                        <a:gd name="connsiteY6" fmla="*/ 415767 h 2815223"/>
                        <a:gd name="connsiteX7" fmla="*/ 418558 w 2836680"/>
                        <a:gd name="connsiteY7" fmla="*/ 1228025 h 2815223"/>
                        <a:gd name="connsiteX8" fmla="*/ 399104 w 2836680"/>
                        <a:gd name="connsiteY8" fmla="*/ 1529583 h 2815223"/>
                        <a:gd name="connsiteX9" fmla="*/ 768755 w 2836680"/>
                        <a:gd name="connsiteY9" fmla="*/ 1918689 h 2815223"/>
                        <a:gd name="connsiteX10" fmla="*/ 934125 w 2836680"/>
                        <a:gd name="connsiteY10" fmla="*/ 2614217 h 2815223"/>
                        <a:gd name="connsiteX11" fmla="*/ 715252 w 2836680"/>
                        <a:gd name="connsiteY11" fmla="*/ 2803907 h 2815223"/>
                        <a:gd name="connsiteX12" fmla="*/ 452606 w 2836680"/>
                        <a:gd name="connsiteY12" fmla="*/ 2045149 h 2815223"/>
                        <a:gd name="connsiteX13" fmla="*/ 58634 w 2836680"/>
                        <a:gd name="connsiteY13" fmla="*/ 1602540 h 2815223"/>
                        <a:gd name="connsiteX14" fmla="*/ 117001 w 2836680"/>
                        <a:gd name="connsiteY14" fmla="*/ 1091839 h 2815223"/>
                        <a:gd name="connsiteX0" fmla="*/ 117001 w 2846845"/>
                        <a:gd name="connsiteY0" fmla="*/ 1091839 h 2815223"/>
                        <a:gd name="connsiteX1" fmla="*/ 1007082 w 2846845"/>
                        <a:gd name="connsiteY1" fmla="*/ 119072 h 2815223"/>
                        <a:gd name="connsiteX2" fmla="*/ 1663699 w 2846845"/>
                        <a:gd name="connsiteY2" fmla="*/ 109345 h 2815223"/>
                        <a:gd name="connsiteX3" fmla="*/ 2568372 w 2846845"/>
                        <a:gd name="connsiteY3" fmla="*/ 240668 h 2815223"/>
                        <a:gd name="connsiteX4" fmla="*/ 2617010 w 2846845"/>
                        <a:gd name="connsiteY4" fmla="*/ 381721 h 2815223"/>
                        <a:gd name="connsiteX5" fmla="*/ 1566422 w 2846845"/>
                        <a:gd name="connsiteY5" fmla="*/ 464405 h 2815223"/>
                        <a:gd name="connsiteX6" fmla="*/ 1148132 w 2846845"/>
                        <a:gd name="connsiteY6" fmla="*/ 415767 h 2815223"/>
                        <a:gd name="connsiteX7" fmla="*/ 418558 w 2846845"/>
                        <a:gd name="connsiteY7" fmla="*/ 1228025 h 2815223"/>
                        <a:gd name="connsiteX8" fmla="*/ 399104 w 2846845"/>
                        <a:gd name="connsiteY8" fmla="*/ 1529583 h 2815223"/>
                        <a:gd name="connsiteX9" fmla="*/ 768755 w 2846845"/>
                        <a:gd name="connsiteY9" fmla="*/ 1918689 h 2815223"/>
                        <a:gd name="connsiteX10" fmla="*/ 934125 w 2846845"/>
                        <a:gd name="connsiteY10" fmla="*/ 2614217 h 2815223"/>
                        <a:gd name="connsiteX11" fmla="*/ 715252 w 2846845"/>
                        <a:gd name="connsiteY11" fmla="*/ 2803907 h 2815223"/>
                        <a:gd name="connsiteX12" fmla="*/ 452606 w 2846845"/>
                        <a:gd name="connsiteY12" fmla="*/ 2045149 h 2815223"/>
                        <a:gd name="connsiteX13" fmla="*/ 58634 w 2846845"/>
                        <a:gd name="connsiteY13" fmla="*/ 1602540 h 2815223"/>
                        <a:gd name="connsiteX14" fmla="*/ 117001 w 2846845"/>
                        <a:gd name="connsiteY14" fmla="*/ 1091839 h 2815223"/>
                        <a:gd name="connsiteX0" fmla="*/ 117001 w 2846845"/>
                        <a:gd name="connsiteY0" fmla="*/ 1091839 h 2815223"/>
                        <a:gd name="connsiteX1" fmla="*/ 1007082 w 2846845"/>
                        <a:gd name="connsiteY1" fmla="*/ 119072 h 2815223"/>
                        <a:gd name="connsiteX2" fmla="*/ 1663699 w 2846845"/>
                        <a:gd name="connsiteY2" fmla="*/ 109345 h 2815223"/>
                        <a:gd name="connsiteX3" fmla="*/ 2568372 w 2846845"/>
                        <a:gd name="connsiteY3" fmla="*/ 240668 h 2815223"/>
                        <a:gd name="connsiteX4" fmla="*/ 2617010 w 2846845"/>
                        <a:gd name="connsiteY4" fmla="*/ 381721 h 2815223"/>
                        <a:gd name="connsiteX5" fmla="*/ 1566422 w 2846845"/>
                        <a:gd name="connsiteY5" fmla="*/ 464405 h 2815223"/>
                        <a:gd name="connsiteX6" fmla="*/ 1148132 w 2846845"/>
                        <a:gd name="connsiteY6" fmla="*/ 415767 h 2815223"/>
                        <a:gd name="connsiteX7" fmla="*/ 418558 w 2846845"/>
                        <a:gd name="connsiteY7" fmla="*/ 1228025 h 2815223"/>
                        <a:gd name="connsiteX8" fmla="*/ 399104 w 2846845"/>
                        <a:gd name="connsiteY8" fmla="*/ 1529583 h 2815223"/>
                        <a:gd name="connsiteX9" fmla="*/ 768755 w 2846845"/>
                        <a:gd name="connsiteY9" fmla="*/ 1918689 h 2815223"/>
                        <a:gd name="connsiteX10" fmla="*/ 934125 w 2846845"/>
                        <a:gd name="connsiteY10" fmla="*/ 2614217 h 2815223"/>
                        <a:gd name="connsiteX11" fmla="*/ 715252 w 2846845"/>
                        <a:gd name="connsiteY11" fmla="*/ 2803907 h 2815223"/>
                        <a:gd name="connsiteX12" fmla="*/ 452606 w 2846845"/>
                        <a:gd name="connsiteY12" fmla="*/ 2045149 h 2815223"/>
                        <a:gd name="connsiteX13" fmla="*/ 58634 w 2846845"/>
                        <a:gd name="connsiteY13" fmla="*/ 1602540 h 2815223"/>
                        <a:gd name="connsiteX14" fmla="*/ 117001 w 2846845"/>
                        <a:gd name="connsiteY14" fmla="*/ 1091839 h 2815223"/>
                        <a:gd name="connsiteX0" fmla="*/ 117001 w 2846845"/>
                        <a:gd name="connsiteY0" fmla="*/ 1091839 h 2815223"/>
                        <a:gd name="connsiteX1" fmla="*/ 1007082 w 2846845"/>
                        <a:gd name="connsiteY1" fmla="*/ 119072 h 2815223"/>
                        <a:gd name="connsiteX2" fmla="*/ 1663699 w 2846845"/>
                        <a:gd name="connsiteY2" fmla="*/ 109345 h 2815223"/>
                        <a:gd name="connsiteX3" fmla="*/ 2568372 w 2846845"/>
                        <a:gd name="connsiteY3" fmla="*/ 240668 h 2815223"/>
                        <a:gd name="connsiteX4" fmla="*/ 2617010 w 2846845"/>
                        <a:gd name="connsiteY4" fmla="*/ 381721 h 2815223"/>
                        <a:gd name="connsiteX5" fmla="*/ 1566422 w 2846845"/>
                        <a:gd name="connsiteY5" fmla="*/ 464405 h 2815223"/>
                        <a:gd name="connsiteX6" fmla="*/ 1148132 w 2846845"/>
                        <a:gd name="connsiteY6" fmla="*/ 415767 h 2815223"/>
                        <a:gd name="connsiteX7" fmla="*/ 418558 w 2846845"/>
                        <a:gd name="connsiteY7" fmla="*/ 1228025 h 2815223"/>
                        <a:gd name="connsiteX8" fmla="*/ 399104 w 2846845"/>
                        <a:gd name="connsiteY8" fmla="*/ 1529583 h 2815223"/>
                        <a:gd name="connsiteX9" fmla="*/ 768755 w 2846845"/>
                        <a:gd name="connsiteY9" fmla="*/ 1918689 h 2815223"/>
                        <a:gd name="connsiteX10" fmla="*/ 934125 w 2846845"/>
                        <a:gd name="connsiteY10" fmla="*/ 2614217 h 2815223"/>
                        <a:gd name="connsiteX11" fmla="*/ 715252 w 2846845"/>
                        <a:gd name="connsiteY11" fmla="*/ 2803907 h 2815223"/>
                        <a:gd name="connsiteX12" fmla="*/ 452606 w 2846845"/>
                        <a:gd name="connsiteY12" fmla="*/ 2045149 h 2815223"/>
                        <a:gd name="connsiteX13" fmla="*/ 58634 w 2846845"/>
                        <a:gd name="connsiteY13" fmla="*/ 1602540 h 2815223"/>
                        <a:gd name="connsiteX14" fmla="*/ 117001 w 2846845"/>
                        <a:gd name="connsiteY14" fmla="*/ 1091839 h 2815223"/>
                        <a:gd name="connsiteX0" fmla="*/ 117001 w 2846845"/>
                        <a:gd name="connsiteY0" fmla="*/ 1099926 h 2823310"/>
                        <a:gd name="connsiteX1" fmla="*/ 1007082 w 2846845"/>
                        <a:gd name="connsiteY1" fmla="*/ 127159 h 2823310"/>
                        <a:gd name="connsiteX2" fmla="*/ 1663699 w 2846845"/>
                        <a:gd name="connsiteY2" fmla="*/ 117432 h 2823310"/>
                        <a:gd name="connsiteX3" fmla="*/ 2568372 w 2846845"/>
                        <a:gd name="connsiteY3" fmla="*/ 248755 h 2823310"/>
                        <a:gd name="connsiteX4" fmla="*/ 2617010 w 2846845"/>
                        <a:gd name="connsiteY4" fmla="*/ 389808 h 2823310"/>
                        <a:gd name="connsiteX5" fmla="*/ 1566422 w 2846845"/>
                        <a:gd name="connsiteY5" fmla="*/ 472492 h 2823310"/>
                        <a:gd name="connsiteX6" fmla="*/ 1148132 w 2846845"/>
                        <a:gd name="connsiteY6" fmla="*/ 423854 h 2823310"/>
                        <a:gd name="connsiteX7" fmla="*/ 418558 w 2846845"/>
                        <a:gd name="connsiteY7" fmla="*/ 1236112 h 2823310"/>
                        <a:gd name="connsiteX8" fmla="*/ 399104 w 2846845"/>
                        <a:gd name="connsiteY8" fmla="*/ 1537670 h 2823310"/>
                        <a:gd name="connsiteX9" fmla="*/ 768755 w 2846845"/>
                        <a:gd name="connsiteY9" fmla="*/ 1926776 h 2823310"/>
                        <a:gd name="connsiteX10" fmla="*/ 934125 w 2846845"/>
                        <a:gd name="connsiteY10" fmla="*/ 2622304 h 2823310"/>
                        <a:gd name="connsiteX11" fmla="*/ 715252 w 2846845"/>
                        <a:gd name="connsiteY11" fmla="*/ 2811994 h 2823310"/>
                        <a:gd name="connsiteX12" fmla="*/ 452606 w 2846845"/>
                        <a:gd name="connsiteY12" fmla="*/ 2053236 h 2823310"/>
                        <a:gd name="connsiteX13" fmla="*/ 58634 w 2846845"/>
                        <a:gd name="connsiteY13" fmla="*/ 1610627 h 2823310"/>
                        <a:gd name="connsiteX14" fmla="*/ 117001 w 2846845"/>
                        <a:gd name="connsiteY14" fmla="*/ 1099926 h 2823310"/>
                        <a:gd name="connsiteX0" fmla="*/ 117001 w 2846845"/>
                        <a:gd name="connsiteY0" fmla="*/ 1095802 h 2819186"/>
                        <a:gd name="connsiteX1" fmla="*/ 1007082 w 2846845"/>
                        <a:gd name="connsiteY1" fmla="*/ 123035 h 2819186"/>
                        <a:gd name="connsiteX2" fmla="*/ 1663699 w 2846845"/>
                        <a:gd name="connsiteY2" fmla="*/ 113308 h 2819186"/>
                        <a:gd name="connsiteX3" fmla="*/ 2568372 w 2846845"/>
                        <a:gd name="connsiteY3" fmla="*/ 244631 h 2819186"/>
                        <a:gd name="connsiteX4" fmla="*/ 2617010 w 2846845"/>
                        <a:gd name="connsiteY4" fmla="*/ 385684 h 2819186"/>
                        <a:gd name="connsiteX5" fmla="*/ 1566422 w 2846845"/>
                        <a:gd name="connsiteY5" fmla="*/ 468368 h 2819186"/>
                        <a:gd name="connsiteX6" fmla="*/ 1148132 w 2846845"/>
                        <a:gd name="connsiteY6" fmla="*/ 419730 h 2819186"/>
                        <a:gd name="connsiteX7" fmla="*/ 418558 w 2846845"/>
                        <a:gd name="connsiteY7" fmla="*/ 1231988 h 2819186"/>
                        <a:gd name="connsiteX8" fmla="*/ 399104 w 2846845"/>
                        <a:gd name="connsiteY8" fmla="*/ 1533546 h 2819186"/>
                        <a:gd name="connsiteX9" fmla="*/ 768755 w 2846845"/>
                        <a:gd name="connsiteY9" fmla="*/ 1922652 h 2819186"/>
                        <a:gd name="connsiteX10" fmla="*/ 934125 w 2846845"/>
                        <a:gd name="connsiteY10" fmla="*/ 2618180 h 2819186"/>
                        <a:gd name="connsiteX11" fmla="*/ 715252 w 2846845"/>
                        <a:gd name="connsiteY11" fmla="*/ 2807870 h 2819186"/>
                        <a:gd name="connsiteX12" fmla="*/ 452606 w 2846845"/>
                        <a:gd name="connsiteY12" fmla="*/ 2049112 h 2819186"/>
                        <a:gd name="connsiteX13" fmla="*/ 58634 w 2846845"/>
                        <a:gd name="connsiteY13" fmla="*/ 1606503 h 2819186"/>
                        <a:gd name="connsiteX14" fmla="*/ 117001 w 2846845"/>
                        <a:gd name="connsiteY14" fmla="*/ 1095802 h 2819186"/>
                        <a:gd name="connsiteX0" fmla="*/ 117001 w 2846845"/>
                        <a:gd name="connsiteY0" fmla="*/ 1083122 h 2806506"/>
                        <a:gd name="connsiteX1" fmla="*/ 1007082 w 2846845"/>
                        <a:gd name="connsiteY1" fmla="*/ 110355 h 2806506"/>
                        <a:gd name="connsiteX2" fmla="*/ 1663699 w 2846845"/>
                        <a:gd name="connsiteY2" fmla="*/ 100628 h 2806506"/>
                        <a:gd name="connsiteX3" fmla="*/ 2568372 w 2846845"/>
                        <a:gd name="connsiteY3" fmla="*/ 231951 h 2806506"/>
                        <a:gd name="connsiteX4" fmla="*/ 2617010 w 2846845"/>
                        <a:gd name="connsiteY4" fmla="*/ 373004 h 2806506"/>
                        <a:gd name="connsiteX5" fmla="*/ 1566422 w 2846845"/>
                        <a:gd name="connsiteY5" fmla="*/ 455688 h 2806506"/>
                        <a:gd name="connsiteX6" fmla="*/ 1148132 w 2846845"/>
                        <a:gd name="connsiteY6" fmla="*/ 407050 h 2806506"/>
                        <a:gd name="connsiteX7" fmla="*/ 418558 w 2846845"/>
                        <a:gd name="connsiteY7" fmla="*/ 1219308 h 2806506"/>
                        <a:gd name="connsiteX8" fmla="*/ 399104 w 2846845"/>
                        <a:gd name="connsiteY8" fmla="*/ 1520866 h 2806506"/>
                        <a:gd name="connsiteX9" fmla="*/ 768755 w 2846845"/>
                        <a:gd name="connsiteY9" fmla="*/ 1909972 h 2806506"/>
                        <a:gd name="connsiteX10" fmla="*/ 934125 w 2846845"/>
                        <a:gd name="connsiteY10" fmla="*/ 2605500 h 2806506"/>
                        <a:gd name="connsiteX11" fmla="*/ 715252 w 2846845"/>
                        <a:gd name="connsiteY11" fmla="*/ 2795190 h 2806506"/>
                        <a:gd name="connsiteX12" fmla="*/ 452606 w 2846845"/>
                        <a:gd name="connsiteY12" fmla="*/ 2036432 h 2806506"/>
                        <a:gd name="connsiteX13" fmla="*/ 58634 w 2846845"/>
                        <a:gd name="connsiteY13" fmla="*/ 1593823 h 2806506"/>
                        <a:gd name="connsiteX14" fmla="*/ 117001 w 2846845"/>
                        <a:gd name="connsiteY14" fmla="*/ 1083122 h 2806506"/>
                        <a:gd name="connsiteX0" fmla="*/ 117001 w 2846845"/>
                        <a:gd name="connsiteY0" fmla="*/ 1083122 h 2806506"/>
                        <a:gd name="connsiteX1" fmla="*/ 1007082 w 2846845"/>
                        <a:gd name="connsiteY1" fmla="*/ 110355 h 2806506"/>
                        <a:gd name="connsiteX2" fmla="*/ 1639380 w 2846845"/>
                        <a:gd name="connsiteY2" fmla="*/ 100628 h 2806506"/>
                        <a:gd name="connsiteX3" fmla="*/ 2568372 w 2846845"/>
                        <a:gd name="connsiteY3" fmla="*/ 231951 h 2806506"/>
                        <a:gd name="connsiteX4" fmla="*/ 2617010 w 2846845"/>
                        <a:gd name="connsiteY4" fmla="*/ 373004 h 2806506"/>
                        <a:gd name="connsiteX5" fmla="*/ 1566422 w 2846845"/>
                        <a:gd name="connsiteY5" fmla="*/ 455688 h 2806506"/>
                        <a:gd name="connsiteX6" fmla="*/ 1148132 w 2846845"/>
                        <a:gd name="connsiteY6" fmla="*/ 407050 h 2806506"/>
                        <a:gd name="connsiteX7" fmla="*/ 418558 w 2846845"/>
                        <a:gd name="connsiteY7" fmla="*/ 1219308 h 2806506"/>
                        <a:gd name="connsiteX8" fmla="*/ 399104 w 2846845"/>
                        <a:gd name="connsiteY8" fmla="*/ 1520866 h 2806506"/>
                        <a:gd name="connsiteX9" fmla="*/ 768755 w 2846845"/>
                        <a:gd name="connsiteY9" fmla="*/ 1909972 h 2806506"/>
                        <a:gd name="connsiteX10" fmla="*/ 934125 w 2846845"/>
                        <a:gd name="connsiteY10" fmla="*/ 2605500 h 2806506"/>
                        <a:gd name="connsiteX11" fmla="*/ 715252 w 2846845"/>
                        <a:gd name="connsiteY11" fmla="*/ 2795190 h 2806506"/>
                        <a:gd name="connsiteX12" fmla="*/ 452606 w 2846845"/>
                        <a:gd name="connsiteY12" fmla="*/ 2036432 h 2806506"/>
                        <a:gd name="connsiteX13" fmla="*/ 58634 w 2846845"/>
                        <a:gd name="connsiteY13" fmla="*/ 1593823 h 2806506"/>
                        <a:gd name="connsiteX14" fmla="*/ 117001 w 2846845"/>
                        <a:gd name="connsiteY14" fmla="*/ 1083122 h 2806506"/>
                        <a:gd name="connsiteX0" fmla="*/ 117001 w 2846845"/>
                        <a:gd name="connsiteY0" fmla="*/ 1083122 h 2806506"/>
                        <a:gd name="connsiteX1" fmla="*/ 1007082 w 2846845"/>
                        <a:gd name="connsiteY1" fmla="*/ 110355 h 2806506"/>
                        <a:gd name="connsiteX2" fmla="*/ 1639380 w 2846845"/>
                        <a:gd name="connsiteY2" fmla="*/ 100628 h 2806506"/>
                        <a:gd name="connsiteX3" fmla="*/ 2568372 w 2846845"/>
                        <a:gd name="connsiteY3" fmla="*/ 231951 h 2806506"/>
                        <a:gd name="connsiteX4" fmla="*/ 2617010 w 2846845"/>
                        <a:gd name="connsiteY4" fmla="*/ 373004 h 2806506"/>
                        <a:gd name="connsiteX5" fmla="*/ 1566422 w 2846845"/>
                        <a:gd name="connsiteY5" fmla="*/ 455688 h 2806506"/>
                        <a:gd name="connsiteX6" fmla="*/ 1148132 w 2846845"/>
                        <a:gd name="connsiteY6" fmla="*/ 407050 h 2806506"/>
                        <a:gd name="connsiteX7" fmla="*/ 418558 w 2846845"/>
                        <a:gd name="connsiteY7" fmla="*/ 1219308 h 2806506"/>
                        <a:gd name="connsiteX8" fmla="*/ 399104 w 2846845"/>
                        <a:gd name="connsiteY8" fmla="*/ 1520866 h 2806506"/>
                        <a:gd name="connsiteX9" fmla="*/ 768755 w 2846845"/>
                        <a:gd name="connsiteY9" fmla="*/ 1909972 h 2806506"/>
                        <a:gd name="connsiteX10" fmla="*/ 934125 w 2846845"/>
                        <a:gd name="connsiteY10" fmla="*/ 2605500 h 2806506"/>
                        <a:gd name="connsiteX11" fmla="*/ 715252 w 2846845"/>
                        <a:gd name="connsiteY11" fmla="*/ 2795190 h 2806506"/>
                        <a:gd name="connsiteX12" fmla="*/ 452606 w 2846845"/>
                        <a:gd name="connsiteY12" fmla="*/ 2036432 h 2806506"/>
                        <a:gd name="connsiteX13" fmla="*/ 58634 w 2846845"/>
                        <a:gd name="connsiteY13" fmla="*/ 1593823 h 2806506"/>
                        <a:gd name="connsiteX14" fmla="*/ 117001 w 2846845"/>
                        <a:gd name="connsiteY14" fmla="*/ 1083122 h 2806506"/>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768755 w 2846845"/>
                        <a:gd name="connsiteY9" fmla="*/ 1915683 h 2812217"/>
                        <a:gd name="connsiteX10" fmla="*/ 934125 w 2846845"/>
                        <a:gd name="connsiteY10" fmla="*/ 2611211 h 2812217"/>
                        <a:gd name="connsiteX11" fmla="*/ 715252 w 2846845"/>
                        <a:gd name="connsiteY11" fmla="*/ 2800901 h 2812217"/>
                        <a:gd name="connsiteX12" fmla="*/ 452606 w 2846845"/>
                        <a:gd name="connsiteY12" fmla="*/ 2042143 h 2812217"/>
                        <a:gd name="connsiteX13" fmla="*/ 58634 w 2846845"/>
                        <a:gd name="connsiteY13" fmla="*/ 1599534 h 2812217"/>
                        <a:gd name="connsiteX14" fmla="*/ 117001 w 2846845"/>
                        <a:gd name="connsiteY14"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768755 w 2846845"/>
                        <a:gd name="connsiteY9" fmla="*/ 1915683 h 2812217"/>
                        <a:gd name="connsiteX10" fmla="*/ 934125 w 2846845"/>
                        <a:gd name="connsiteY10" fmla="*/ 2611211 h 2812217"/>
                        <a:gd name="connsiteX11" fmla="*/ 715252 w 2846845"/>
                        <a:gd name="connsiteY11" fmla="*/ 2800901 h 2812217"/>
                        <a:gd name="connsiteX12" fmla="*/ 452606 w 2846845"/>
                        <a:gd name="connsiteY12" fmla="*/ 2042143 h 2812217"/>
                        <a:gd name="connsiteX13" fmla="*/ 58634 w 2846845"/>
                        <a:gd name="connsiteY13" fmla="*/ 1599534 h 2812217"/>
                        <a:gd name="connsiteX14" fmla="*/ 117001 w 2846845"/>
                        <a:gd name="connsiteY14"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768755 w 2846845"/>
                        <a:gd name="connsiteY9" fmla="*/ 1915683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58634 w 2846845"/>
                        <a:gd name="connsiteY14" fmla="*/ 1599534 h 2812217"/>
                        <a:gd name="connsiteX15" fmla="*/ 117001 w 2846845"/>
                        <a:gd name="connsiteY15"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452606 w 2846845"/>
                        <a:gd name="connsiteY13" fmla="*/ 2042143 h 2812217"/>
                        <a:gd name="connsiteX14" fmla="*/ 316418 w 2846845"/>
                        <a:gd name="connsiteY14" fmla="*/ 1891366 h 2812217"/>
                        <a:gd name="connsiteX15" fmla="*/ 58634 w 2846845"/>
                        <a:gd name="connsiteY15" fmla="*/ 1599534 h 2812217"/>
                        <a:gd name="connsiteX16" fmla="*/ 117001 w 2846845"/>
                        <a:gd name="connsiteY16"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452606 w 2846845"/>
                        <a:gd name="connsiteY14" fmla="*/ 2042143 h 2812217"/>
                        <a:gd name="connsiteX15" fmla="*/ 316418 w 2846845"/>
                        <a:gd name="connsiteY15" fmla="*/ 1891366 h 2812217"/>
                        <a:gd name="connsiteX16" fmla="*/ 58634 w 2846845"/>
                        <a:gd name="connsiteY16" fmla="*/ 1599534 h 2812217"/>
                        <a:gd name="connsiteX17" fmla="*/ 117001 w 2846845"/>
                        <a:gd name="connsiteY17"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316418 w 2846845"/>
                        <a:gd name="connsiteY14" fmla="*/ 1891366 h 2812217"/>
                        <a:gd name="connsiteX15" fmla="*/ 58634 w 2846845"/>
                        <a:gd name="connsiteY15" fmla="*/ 1599534 h 2812217"/>
                        <a:gd name="connsiteX16" fmla="*/ 117001 w 2846845"/>
                        <a:gd name="connsiteY16"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316418 w 2846845"/>
                        <a:gd name="connsiteY14" fmla="*/ 1891366 h 2812217"/>
                        <a:gd name="connsiteX15" fmla="*/ 58634 w 2846845"/>
                        <a:gd name="connsiteY15" fmla="*/ 1599534 h 2812217"/>
                        <a:gd name="connsiteX16" fmla="*/ 117001 w 2846845"/>
                        <a:gd name="connsiteY16"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316418 w 2846845"/>
                        <a:gd name="connsiteY14" fmla="*/ 1891366 h 2812217"/>
                        <a:gd name="connsiteX15" fmla="*/ 58634 w 2846845"/>
                        <a:gd name="connsiteY15" fmla="*/ 1599534 h 2812217"/>
                        <a:gd name="connsiteX16" fmla="*/ 117001 w 2846845"/>
                        <a:gd name="connsiteY16" fmla="*/ 1088833 h 2812217"/>
                        <a:gd name="connsiteX0" fmla="*/ 117001 w 2846845"/>
                        <a:gd name="connsiteY0" fmla="*/ 1088833 h 2812217"/>
                        <a:gd name="connsiteX1" fmla="*/ 1007082 w 2846845"/>
                        <a:gd name="connsiteY1" fmla="*/ 116066 h 2812217"/>
                        <a:gd name="connsiteX2" fmla="*/ 1639380 w 2846845"/>
                        <a:gd name="connsiteY2" fmla="*/ 106339 h 2812217"/>
                        <a:gd name="connsiteX3" fmla="*/ 2568372 w 2846845"/>
                        <a:gd name="connsiteY3" fmla="*/ 237662 h 2812217"/>
                        <a:gd name="connsiteX4" fmla="*/ 2617010 w 2846845"/>
                        <a:gd name="connsiteY4" fmla="*/ 378715 h 2812217"/>
                        <a:gd name="connsiteX5" fmla="*/ 1566422 w 2846845"/>
                        <a:gd name="connsiteY5" fmla="*/ 461399 h 2812217"/>
                        <a:gd name="connsiteX6" fmla="*/ 1148132 w 2846845"/>
                        <a:gd name="connsiteY6" fmla="*/ 412761 h 2812217"/>
                        <a:gd name="connsiteX7" fmla="*/ 418558 w 2846845"/>
                        <a:gd name="connsiteY7" fmla="*/ 1225019 h 2812217"/>
                        <a:gd name="connsiteX8" fmla="*/ 399104 w 2846845"/>
                        <a:gd name="connsiteY8" fmla="*/ 1526577 h 2812217"/>
                        <a:gd name="connsiteX9" fmla="*/ 690934 w 2846845"/>
                        <a:gd name="connsiteY9" fmla="*/ 1832998 h 2812217"/>
                        <a:gd name="connsiteX10" fmla="*/ 827120 w 2846845"/>
                        <a:gd name="connsiteY10" fmla="*/ 2202651 h 2812217"/>
                        <a:gd name="connsiteX11" fmla="*/ 934125 w 2846845"/>
                        <a:gd name="connsiteY11" fmla="*/ 2611211 h 2812217"/>
                        <a:gd name="connsiteX12" fmla="*/ 715252 w 2846845"/>
                        <a:gd name="connsiteY12" fmla="*/ 2800901 h 2812217"/>
                        <a:gd name="connsiteX13" fmla="*/ 520699 w 2846845"/>
                        <a:gd name="connsiteY13" fmla="*/ 2304792 h 2812217"/>
                        <a:gd name="connsiteX14" fmla="*/ 296962 w 2846845"/>
                        <a:gd name="connsiteY14" fmla="*/ 1891366 h 2812217"/>
                        <a:gd name="connsiteX15" fmla="*/ 58634 w 2846845"/>
                        <a:gd name="connsiteY15" fmla="*/ 1599534 h 2812217"/>
                        <a:gd name="connsiteX16" fmla="*/ 117001 w 2846845"/>
                        <a:gd name="connsiteY16" fmla="*/ 1088833 h 2812217"/>
                        <a:gd name="connsiteX0" fmla="*/ 33194 w 2763038"/>
                        <a:gd name="connsiteY0" fmla="*/ 1088833 h 2812217"/>
                        <a:gd name="connsiteX1" fmla="*/ 923275 w 2763038"/>
                        <a:gd name="connsiteY1" fmla="*/ 116066 h 2812217"/>
                        <a:gd name="connsiteX2" fmla="*/ 1555573 w 2763038"/>
                        <a:gd name="connsiteY2" fmla="*/ 106339 h 2812217"/>
                        <a:gd name="connsiteX3" fmla="*/ 2484565 w 2763038"/>
                        <a:gd name="connsiteY3" fmla="*/ 237662 h 2812217"/>
                        <a:gd name="connsiteX4" fmla="*/ 2533203 w 2763038"/>
                        <a:gd name="connsiteY4" fmla="*/ 378715 h 2812217"/>
                        <a:gd name="connsiteX5" fmla="*/ 1482615 w 2763038"/>
                        <a:gd name="connsiteY5" fmla="*/ 461399 h 2812217"/>
                        <a:gd name="connsiteX6" fmla="*/ 1064325 w 2763038"/>
                        <a:gd name="connsiteY6" fmla="*/ 412761 h 2812217"/>
                        <a:gd name="connsiteX7" fmla="*/ 334751 w 2763038"/>
                        <a:gd name="connsiteY7" fmla="*/ 1225019 h 2812217"/>
                        <a:gd name="connsiteX8" fmla="*/ 315297 w 2763038"/>
                        <a:gd name="connsiteY8" fmla="*/ 1526577 h 2812217"/>
                        <a:gd name="connsiteX9" fmla="*/ 607127 w 2763038"/>
                        <a:gd name="connsiteY9" fmla="*/ 1832998 h 2812217"/>
                        <a:gd name="connsiteX10" fmla="*/ 743313 w 2763038"/>
                        <a:gd name="connsiteY10" fmla="*/ 2202651 h 2812217"/>
                        <a:gd name="connsiteX11" fmla="*/ 850318 w 2763038"/>
                        <a:gd name="connsiteY11" fmla="*/ 2611211 h 2812217"/>
                        <a:gd name="connsiteX12" fmla="*/ 631445 w 2763038"/>
                        <a:gd name="connsiteY12" fmla="*/ 2800901 h 2812217"/>
                        <a:gd name="connsiteX13" fmla="*/ 436892 w 2763038"/>
                        <a:gd name="connsiteY13" fmla="*/ 2304792 h 2812217"/>
                        <a:gd name="connsiteX14" fmla="*/ 213155 w 2763038"/>
                        <a:gd name="connsiteY14" fmla="*/ 1891366 h 2812217"/>
                        <a:gd name="connsiteX15" fmla="*/ 33194 w 2763038"/>
                        <a:gd name="connsiteY15" fmla="*/ 1088833 h 2812217"/>
                        <a:gd name="connsiteX0" fmla="*/ 95096 w 2824940"/>
                        <a:gd name="connsiteY0" fmla="*/ 1088833 h 2812217"/>
                        <a:gd name="connsiteX1" fmla="*/ 985177 w 2824940"/>
                        <a:gd name="connsiteY1" fmla="*/ 116066 h 2812217"/>
                        <a:gd name="connsiteX2" fmla="*/ 1617475 w 2824940"/>
                        <a:gd name="connsiteY2" fmla="*/ 106339 h 2812217"/>
                        <a:gd name="connsiteX3" fmla="*/ 2546467 w 2824940"/>
                        <a:gd name="connsiteY3" fmla="*/ 237662 h 2812217"/>
                        <a:gd name="connsiteX4" fmla="*/ 2595105 w 2824940"/>
                        <a:gd name="connsiteY4" fmla="*/ 378715 h 2812217"/>
                        <a:gd name="connsiteX5" fmla="*/ 1544517 w 2824940"/>
                        <a:gd name="connsiteY5" fmla="*/ 461399 h 2812217"/>
                        <a:gd name="connsiteX6" fmla="*/ 1126227 w 2824940"/>
                        <a:gd name="connsiteY6" fmla="*/ 412761 h 2812217"/>
                        <a:gd name="connsiteX7" fmla="*/ 396653 w 2824940"/>
                        <a:gd name="connsiteY7" fmla="*/ 1225019 h 2812217"/>
                        <a:gd name="connsiteX8" fmla="*/ 377199 w 2824940"/>
                        <a:gd name="connsiteY8" fmla="*/ 1526577 h 2812217"/>
                        <a:gd name="connsiteX9" fmla="*/ 669029 w 2824940"/>
                        <a:gd name="connsiteY9" fmla="*/ 1832998 h 2812217"/>
                        <a:gd name="connsiteX10" fmla="*/ 805215 w 2824940"/>
                        <a:gd name="connsiteY10" fmla="*/ 2202651 h 2812217"/>
                        <a:gd name="connsiteX11" fmla="*/ 912220 w 2824940"/>
                        <a:gd name="connsiteY11" fmla="*/ 2611211 h 2812217"/>
                        <a:gd name="connsiteX12" fmla="*/ 693347 w 2824940"/>
                        <a:gd name="connsiteY12" fmla="*/ 2800901 h 2812217"/>
                        <a:gd name="connsiteX13" fmla="*/ 498794 w 2824940"/>
                        <a:gd name="connsiteY13" fmla="*/ 2304792 h 2812217"/>
                        <a:gd name="connsiteX14" fmla="*/ 275057 w 2824940"/>
                        <a:gd name="connsiteY14" fmla="*/ 1891366 h 2812217"/>
                        <a:gd name="connsiteX15" fmla="*/ 95096 w 2824940"/>
                        <a:gd name="connsiteY15" fmla="*/ 1088833 h 2812217"/>
                        <a:gd name="connsiteX0" fmla="*/ 121910 w 2851754"/>
                        <a:gd name="connsiteY0" fmla="*/ 1088833 h 2812217"/>
                        <a:gd name="connsiteX1" fmla="*/ 1011991 w 2851754"/>
                        <a:gd name="connsiteY1" fmla="*/ 116066 h 2812217"/>
                        <a:gd name="connsiteX2" fmla="*/ 1644289 w 2851754"/>
                        <a:gd name="connsiteY2" fmla="*/ 106339 h 2812217"/>
                        <a:gd name="connsiteX3" fmla="*/ 2573281 w 2851754"/>
                        <a:gd name="connsiteY3" fmla="*/ 237662 h 2812217"/>
                        <a:gd name="connsiteX4" fmla="*/ 2621919 w 2851754"/>
                        <a:gd name="connsiteY4" fmla="*/ 378715 h 2812217"/>
                        <a:gd name="connsiteX5" fmla="*/ 1571331 w 2851754"/>
                        <a:gd name="connsiteY5" fmla="*/ 461399 h 2812217"/>
                        <a:gd name="connsiteX6" fmla="*/ 1153041 w 2851754"/>
                        <a:gd name="connsiteY6" fmla="*/ 412761 h 2812217"/>
                        <a:gd name="connsiteX7" fmla="*/ 423467 w 2851754"/>
                        <a:gd name="connsiteY7" fmla="*/ 1225019 h 2812217"/>
                        <a:gd name="connsiteX8" fmla="*/ 404013 w 2851754"/>
                        <a:gd name="connsiteY8" fmla="*/ 1526577 h 2812217"/>
                        <a:gd name="connsiteX9" fmla="*/ 695843 w 2851754"/>
                        <a:gd name="connsiteY9" fmla="*/ 1832998 h 2812217"/>
                        <a:gd name="connsiteX10" fmla="*/ 832029 w 2851754"/>
                        <a:gd name="connsiteY10" fmla="*/ 2202651 h 2812217"/>
                        <a:gd name="connsiteX11" fmla="*/ 939034 w 2851754"/>
                        <a:gd name="connsiteY11" fmla="*/ 2611211 h 2812217"/>
                        <a:gd name="connsiteX12" fmla="*/ 720161 w 2851754"/>
                        <a:gd name="connsiteY12" fmla="*/ 2800901 h 2812217"/>
                        <a:gd name="connsiteX13" fmla="*/ 525608 w 2851754"/>
                        <a:gd name="connsiteY13" fmla="*/ 2304792 h 2812217"/>
                        <a:gd name="connsiteX14" fmla="*/ 243505 w 2851754"/>
                        <a:gd name="connsiteY14" fmla="*/ 1842728 h 2812217"/>
                        <a:gd name="connsiteX15" fmla="*/ 121910 w 2851754"/>
                        <a:gd name="connsiteY15" fmla="*/ 1088833 h 2812217"/>
                        <a:gd name="connsiteX0" fmla="*/ 121910 w 2851754"/>
                        <a:gd name="connsiteY0" fmla="*/ 1088833 h 2812217"/>
                        <a:gd name="connsiteX1" fmla="*/ 1011991 w 2851754"/>
                        <a:gd name="connsiteY1" fmla="*/ 116066 h 2812217"/>
                        <a:gd name="connsiteX2" fmla="*/ 1644289 w 2851754"/>
                        <a:gd name="connsiteY2" fmla="*/ 106339 h 2812217"/>
                        <a:gd name="connsiteX3" fmla="*/ 2573281 w 2851754"/>
                        <a:gd name="connsiteY3" fmla="*/ 237662 h 2812217"/>
                        <a:gd name="connsiteX4" fmla="*/ 2621919 w 2851754"/>
                        <a:gd name="connsiteY4" fmla="*/ 378715 h 2812217"/>
                        <a:gd name="connsiteX5" fmla="*/ 1571331 w 2851754"/>
                        <a:gd name="connsiteY5" fmla="*/ 461399 h 2812217"/>
                        <a:gd name="connsiteX6" fmla="*/ 1153041 w 2851754"/>
                        <a:gd name="connsiteY6" fmla="*/ 412761 h 2812217"/>
                        <a:gd name="connsiteX7" fmla="*/ 423467 w 2851754"/>
                        <a:gd name="connsiteY7" fmla="*/ 1225019 h 2812217"/>
                        <a:gd name="connsiteX8" fmla="*/ 404013 w 2851754"/>
                        <a:gd name="connsiteY8" fmla="*/ 1526577 h 2812217"/>
                        <a:gd name="connsiteX9" fmla="*/ 695843 w 2851754"/>
                        <a:gd name="connsiteY9" fmla="*/ 1832998 h 2812217"/>
                        <a:gd name="connsiteX10" fmla="*/ 832029 w 2851754"/>
                        <a:gd name="connsiteY10" fmla="*/ 2202651 h 2812217"/>
                        <a:gd name="connsiteX11" fmla="*/ 939034 w 2851754"/>
                        <a:gd name="connsiteY11" fmla="*/ 2611211 h 2812217"/>
                        <a:gd name="connsiteX12" fmla="*/ 720161 w 2851754"/>
                        <a:gd name="connsiteY12" fmla="*/ 2800901 h 2812217"/>
                        <a:gd name="connsiteX13" fmla="*/ 525608 w 2851754"/>
                        <a:gd name="connsiteY13" fmla="*/ 2304792 h 2812217"/>
                        <a:gd name="connsiteX14" fmla="*/ 243505 w 2851754"/>
                        <a:gd name="connsiteY14" fmla="*/ 1823273 h 2812217"/>
                        <a:gd name="connsiteX15" fmla="*/ 121910 w 2851754"/>
                        <a:gd name="connsiteY15" fmla="*/ 1088833 h 2812217"/>
                        <a:gd name="connsiteX0" fmla="*/ 98893 w 2828737"/>
                        <a:gd name="connsiteY0" fmla="*/ 1088833 h 2812217"/>
                        <a:gd name="connsiteX1" fmla="*/ 988974 w 2828737"/>
                        <a:gd name="connsiteY1" fmla="*/ 116066 h 2812217"/>
                        <a:gd name="connsiteX2" fmla="*/ 1621272 w 2828737"/>
                        <a:gd name="connsiteY2" fmla="*/ 106339 h 2812217"/>
                        <a:gd name="connsiteX3" fmla="*/ 2550264 w 2828737"/>
                        <a:gd name="connsiteY3" fmla="*/ 237662 h 2812217"/>
                        <a:gd name="connsiteX4" fmla="*/ 2598902 w 2828737"/>
                        <a:gd name="connsiteY4" fmla="*/ 378715 h 2812217"/>
                        <a:gd name="connsiteX5" fmla="*/ 1548314 w 2828737"/>
                        <a:gd name="connsiteY5" fmla="*/ 461399 h 2812217"/>
                        <a:gd name="connsiteX6" fmla="*/ 1130024 w 2828737"/>
                        <a:gd name="connsiteY6" fmla="*/ 412761 h 2812217"/>
                        <a:gd name="connsiteX7" fmla="*/ 400450 w 2828737"/>
                        <a:gd name="connsiteY7" fmla="*/ 1225019 h 2812217"/>
                        <a:gd name="connsiteX8" fmla="*/ 380996 w 2828737"/>
                        <a:gd name="connsiteY8" fmla="*/ 1526577 h 2812217"/>
                        <a:gd name="connsiteX9" fmla="*/ 672826 w 2828737"/>
                        <a:gd name="connsiteY9" fmla="*/ 1832998 h 2812217"/>
                        <a:gd name="connsiteX10" fmla="*/ 809012 w 2828737"/>
                        <a:gd name="connsiteY10" fmla="*/ 2202651 h 2812217"/>
                        <a:gd name="connsiteX11" fmla="*/ 916017 w 2828737"/>
                        <a:gd name="connsiteY11" fmla="*/ 2611211 h 2812217"/>
                        <a:gd name="connsiteX12" fmla="*/ 697144 w 2828737"/>
                        <a:gd name="connsiteY12" fmla="*/ 2800901 h 2812217"/>
                        <a:gd name="connsiteX13" fmla="*/ 502591 w 2828737"/>
                        <a:gd name="connsiteY13" fmla="*/ 2304792 h 2812217"/>
                        <a:gd name="connsiteX14" fmla="*/ 220488 w 2828737"/>
                        <a:gd name="connsiteY14" fmla="*/ 1823273 h 2812217"/>
                        <a:gd name="connsiteX15" fmla="*/ 98893 w 2828737"/>
                        <a:gd name="connsiteY15" fmla="*/ 1088833 h 2812217"/>
                        <a:gd name="connsiteX0" fmla="*/ 98893 w 2828737"/>
                        <a:gd name="connsiteY0" fmla="*/ 1088833 h 2812217"/>
                        <a:gd name="connsiteX1" fmla="*/ 988974 w 2828737"/>
                        <a:gd name="connsiteY1" fmla="*/ 116066 h 2812217"/>
                        <a:gd name="connsiteX2" fmla="*/ 1621272 w 2828737"/>
                        <a:gd name="connsiteY2" fmla="*/ 106339 h 2812217"/>
                        <a:gd name="connsiteX3" fmla="*/ 2550264 w 2828737"/>
                        <a:gd name="connsiteY3" fmla="*/ 237662 h 2812217"/>
                        <a:gd name="connsiteX4" fmla="*/ 2598902 w 2828737"/>
                        <a:gd name="connsiteY4" fmla="*/ 378715 h 2812217"/>
                        <a:gd name="connsiteX5" fmla="*/ 1548314 w 2828737"/>
                        <a:gd name="connsiteY5" fmla="*/ 461399 h 2812217"/>
                        <a:gd name="connsiteX6" fmla="*/ 1130024 w 2828737"/>
                        <a:gd name="connsiteY6" fmla="*/ 412761 h 2812217"/>
                        <a:gd name="connsiteX7" fmla="*/ 400450 w 2828737"/>
                        <a:gd name="connsiteY7" fmla="*/ 1225019 h 2812217"/>
                        <a:gd name="connsiteX8" fmla="*/ 380996 w 2828737"/>
                        <a:gd name="connsiteY8" fmla="*/ 1526577 h 2812217"/>
                        <a:gd name="connsiteX9" fmla="*/ 672826 w 2828737"/>
                        <a:gd name="connsiteY9" fmla="*/ 1832998 h 2812217"/>
                        <a:gd name="connsiteX10" fmla="*/ 809012 w 2828737"/>
                        <a:gd name="connsiteY10" fmla="*/ 2202651 h 2812217"/>
                        <a:gd name="connsiteX11" fmla="*/ 916017 w 2828737"/>
                        <a:gd name="connsiteY11" fmla="*/ 2611211 h 2812217"/>
                        <a:gd name="connsiteX12" fmla="*/ 697144 w 2828737"/>
                        <a:gd name="connsiteY12" fmla="*/ 2800901 h 2812217"/>
                        <a:gd name="connsiteX13" fmla="*/ 502591 w 2828737"/>
                        <a:gd name="connsiteY13" fmla="*/ 2304792 h 2812217"/>
                        <a:gd name="connsiteX14" fmla="*/ 220488 w 2828737"/>
                        <a:gd name="connsiteY14" fmla="*/ 1823273 h 2812217"/>
                        <a:gd name="connsiteX15" fmla="*/ 98893 w 2828737"/>
                        <a:gd name="connsiteY15" fmla="*/ 1088833 h 2812217"/>
                        <a:gd name="connsiteX0" fmla="*/ 98893 w 2828737"/>
                        <a:gd name="connsiteY0" fmla="*/ 1088833 h 2812217"/>
                        <a:gd name="connsiteX1" fmla="*/ 988974 w 2828737"/>
                        <a:gd name="connsiteY1" fmla="*/ 116066 h 2812217"/>
                        <a:gd name="connsiteX2" fmla="*/ 1621272 w 2828737"/>
                        <a:gd name="connsiteY2" fmla="*/ 106339 h 2812217"/>
                        <a:gd name="connsiteX3" fmla="*/ 2550264 w 2828737"/>
                        <a:gd name="connsiteY3" fmla="*/ 237662 h 2812217"/>
                        <a:gd name="connsiteX4" fmla="*/ 2598902 w 2828737"/>
                        <a:gd name="connsiteY4" fmla="*/ 378715 h 2812217"/>
                        <a:gd name="connsiteX5" fmla="*/ 1548314 w 2828737"/>
                        <a:gd name="connsiteY5" fmla="*/ 461399 h 2812217"/>
                        <a:gd name="connsiteX6" fmla="*/ 1130024 w 2828737"/>
                        <a:gd name="connsiteY6" fmla="*/ 412761 h 2812217"/>
                        <a:gd name="connsiteX7" fmla="*/ 400450 w 2828737"/>
                        <a:gd name="connsiteY7" fmla="*/ 1225019 h 2812217"/>
                        <a:gd name="connsiteX8" fmla="*/ 380996 w 2828737"/>
                        <a:gd name="connsiteY8" fmla="*/ 1526577 h 2812217"/>
                        <a:gd name="connsiteX9" fmla="*/ 672826 w 2828737"/>
                        <a:gd name="connsiteY9" fmla="*/ 1832998 h 2812217"/>
                        <a:gd name="connsiteX10" fmla="*/ 809012 w 2828737"/>
                        <a:gd name="connsiteY10" fmla="*/ 2202651 h 2812217"/>
                        <a:gd name="connsiteX11" fmla="*/ 916017 w 2828737"/>
                        <a:gd name="connsiteY11" fmla="*/ 2611211 h 2812217"/>
                        <a:gd name="connsiteX12" fmla="*/ 697144 w 2828737"/>
                        <a:gd name="connsiteY12" fmla="*/ 2800901 h 2812217"/>
                        <a:gd name="connsiteX13" fmla="*/ 502591 w 2828737"/>
                        <a:gd name="connsiteY13" fmla="*/ 2304792 h 2812217"/>
                        <a:gd name="connsiteX14" fmla="*/ 220488 w 2828737"/>
                        <a:gd name="connsiteY14" fmla="*/ 1823273 h 2812217"/>
                        <a:gd name="connsiteX15" fmla="*/ 98893 w 2828737"/>
                        <a:gd name="connsiteY15" fmla="*/ 1088833 h 2812217"/>
                        <a:gd name="connsiteX0" fmla="*/ 98893 w 2828737"/>
                        <a:gd name="connsiteY0" fmla="*/ 1088833 h 2812217"/>
                        <a:gd name="connsiteX1" fmla="*/ 988974 w 2828737"/>
                        <a:gd name="connsiteY1" fmla="*/ 116066 h 2812217"/>
                        <a:gd name="connsiteX2" fmla="*/ 1621272 w 2828737"/>
                        <a:gd name="connsiteY2" fmla="*/ 106339 h 2812217"/>
                        <a:gd name="connsiteX3" fmla="*/ 2550264 w 2828737"/>
                        <a:gd name="connsiteY3" fmla="*/ 237662 h 2812217"/>
                        <a:gd name="connsiteX4" fmla="*/ 2598902 w 2828737"/>
                        <a:gd name="connsiteY4" fmla="*/ 378715 h 2812217"/>
                        <a:gd name="connsiteX5" fmla="*/ 1548314 w 2828737"/>
                        <a:gd name="connsiteY5" fmla="*/ 461399 h 2812217"/>
                        <a:gd name="connsiteX6" fmla="*/ 1130024 w 2828737"/>
                        <a:gd name="connsiteY6" fmla="*/ 412761 h 2812217"/>
                        <a:gd name="connsiteX7" fmla="*/ 400450 w 2828737"/>
                        <a:gd name="connsiteY7" fmla="*/ 1225019 h 2812217"/>
                        <a:gd name="connsiteX8" fmla="*/ 380996 w 2828737"/>
                        <a:gd name="connsiteY8" fmla="*/ 1526577 h 2812217"/>
                        <a:gd name="connsiteX9" fmla="*/ 672826 w 2828737"/>
                        <a:gd name="connsiteY9" fmla="*/ 1832998 h 2812217"/>
                        <a:gd name="connsiteX10" fmla="*/ 809012 w 2828737"/>
                        <a:gd name="connsiteY10" fmla="*/ 2202651 h 2812217"/>
                        <a:gd name="connsiteX11" fmla="*/ 916017 w 2828737"/>
                        <a:gd name="connsiteY11" fmla="*/ 2611211 h 2812217"/>
                        <a:gd name="connsiteX12" fmla="*/ 697144 w 2828737"/>
                        <a:gd name="connsiteY12" fmla="*/ 2800901 h 2812217"/>
                        <a:gd name="connsiteX13" fmla="*/ 502591 w 2828737"/>
                        <a:gd name="connsiteY13" fmla="*/ 2304792 h 2812217"/>
                        <a:gd name="connsiteX14" fmla="*/ 220488 w 2828737"/>
                        <a:gd name="connsiteY14" fmla="*/ 1823273 h 2812217"/>
                        <a:gd name="connsiteX15" fmla="*/ 98893 w 2828737"/>
                        <a:gd name="connsiteY15" fmla="*/ 1088833 h 281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28737" h="2812217">
                          <a:moveTo>
                            <a:pt x="98893" y="1088833"/>
                          </a:moveTo>
                          <a:lnTo>
                            <a:pt x="988974" y="116066"/>
                          </a:lnTo>
                          <a:cubicBezTo>
                            <a:pt x="1237028" y="-91457"/>
                            <a:pt x="1475359" y="26896"/>
                            <a:pt x="1621272" y="106339"/>
                          </a:cubicBezTo>
                          <a:cubicBezTo>
                            <a:pt x="1810961" y="223070"/>
                            <a:pt x="1859599" y="480854"/>
                            <a:pt x="2550264" y="237662"/>
                          </a:cubicBezTo>
                          <a:cubicBezTo>
                            <a:pt x="3031783" y="163893"/>
                            <a:pt x="2780485" y="263604"/>
                            <a:pt x="2598902" y="378715"/>
                          </a:cubicBezTo>
                          <a:cubicBezTo>
                            <a:pt x="2388135" y="493827"/>
                            <a:pt x="2276268" y="900764"/>
                            <a:pt x="1548314" y="461399"/>
                          </a:cubicBezTo>
                          <a:cubicBezTo>
                            <a:pt x="1345654" y="231178"/>
                            <a:pt x="1191633" y="331698"/>
                            <a:pt x="1130024" y="412761"/>
                          </a:cubicBezTo>
                          <a:lnTo>
                            <a:pt x="400450" y="1225019"/>
                          </a:lnTo>
                          <a:cubicBezTo>
                            <a:pt x="269938" y="1340129"/>
                            <a:pt x="328305" y="1447946"/>
                            <a:pt x="380996" y="1526577"/>
                          </a:cubicBezTo>
                          <a:cubicBezTo>
                            <a:pt x="462061" y="1650605"/>
                            <a:pt x="544746" y="1661953"/>
                            <a:pt x="672826" y="1832998"/>
                          </a:cubicBezTo>
                          <a:cubicBezTo>
                            <a:pt x="812256" y="1950541"/>
                            <a:pt x="781450" y="2086730"/>
                            <a:pt x="809012" y="2202651"/>
                          </a:cubicBezTo>
                          <a:cubicBezTo>
                            <a:pt x="831709" y="2401257"/>
                            <a:pt x="895751" y="2530959"/>
                            <a:pt x="916017" y="2611211"/>
                          </a:cubicBezTo>
                          <a:cubicBezTo>
                            <a:pt x="821171" y="2696329"/>
                            <a:pt x="678499" y="2856024"/>
                            <a:pt x="697144" y="2800901"/>
                          </a:cubicBezTo>
                          <a:cubicBezTo>
                            <a:pt x="628240" y="2749831"/>
                            <a:pt x="554471" y="2548794"/>
                            <a:pt x="502591" y="2304792"/>
                          </a:cubicBezTo>
                          <a:cubicBezTo>
                            <a:pt x="513940" y="1968378"/>
                            <a:pt x="326682" y="1955407"/>
                            <a:pt x="220488" y="1823273"/>
                          </a:cubicBezTo>
                          <a:cubicBezTo>
                            <a:pt x="-85124" y="1523337"/>
                            <a:pt x="-19460" y="1384716"/>
                            <a:pt x="98893" y="1088833"/>
                          </a:cubicBezTo>
                          <a:close/>
                        </a:path>
                      </a:pathLst>
                    </a:custGeom>
                    <a:grp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Arial"/>
                      </a:endParaRPr>
                    </a:p>
                  </p:txBody>
                </p:sp>
                <p:sp>
                  <p:nvSpPr>
                    <p:cNvPr id="49" name="Freeform 33"/>
                    <p:cNvSpPr/>
                    <p:nvPr/>
                  </p:nvSpPr>
                  <p:spPr>
                    <a:xfrm rot="13561719">
                      <a:off x="7418586" y="1869442"/>
                      <a:ext cx="413362" cy="187108"/>
                    </a:xfrm>
                    <a:custGeom>
                      <a:avLst/>
                      <a:gdLst>
                        <a:gd name="connsiteX0" fmla="*/ 2919340 w 3034342"/>
                        <a:gd name="connsiteY0" fmla="*/ 983691 h 1373490"/>
                        <a:gd name="connsiteX1" fmla="*/ 2641702 w 3034342"/>
                        <a:gd name="connsiteY1" fmla="*/ 1098692 h 1373490"/>
                        <a:gd name="connsiteX2" fmla="*/ 2641703 w 3034342"/>
                        <a:gd name="connsiteY2" fmla="*/ 1098691 h 1373490"/>
                        <a:gd name="connsiteX3" fmla="*/ 2279920 w 3034342"/>
                        <a:gd name="connsiteY3" fmla="*/ 858885 h 1373490"/>
                        <a:gd name="connsiteX4" fmla="*/ 2265342 w 3034342"/>
                        <a:gd name="connsiteY4" fmla="*/ 811923 h 1373490"/>
                        <a:gd name="connsiteX5" fmla="*/ 2261956 w 3034342"/>
                        <a:gd name="connsiteY5" fmla="*/ 822831 h 1373490"/>
                        <a:gd name="connsiteX6" fmla="*/ 2174458 w 3034342"/>
                        <a:gd name="connsiteY6" fmla="*/ 952607 h 1373490"/>
                        <a:gd name="connsiteX7" fmla="*/ 1885762 w 3034342"/>
                        <a:gd name="connsiteY7" fmla="*/ 1072190 h 1373490"/>
                        <a:gd name="connsiteX8" fmla="*/ 1885762 w 3034342"/>
                        <a:gd name="connsiteY8" fmla="*/ 1072189 h 1373490"/>
                        <a:gd name="connsiteX9" fmla="*/ 1547211 w 3034342"/>
                        <a:gd name="connsiteY9" fmla="*/ 892182 h 1373490"/>
                        <a:gd name="connsiteX10" fmla="*/ 1543596 w 3034342"/>
                        <a:gd name="connsiteY10" fmla="*/ 885521 h 1373490"/>
                        <a:gd name="connsiteX11" fmla="*/ 1540499 w 3034342"/>
                        <a:gd name="connsiteY11" fmla="*/ 916235 h 1373490"/>
                        <a:gd name="connsiteX12" fmla="*/ 1433405 w 3034342"/>
                        <a:gd name="connsiteY12" fmla="*/ 1114872 h 1373490"/>
                        <a:gd name="connsiteX13" fmla="*/ 1155585 w 3034342"/>
                        <a:gd name="connsiteY13" fmla="*/ 1229949 h 1373490"/>
                        <a:gd name="connsiteX14" fmla="*/ 1114820 w 3034342"/>
                        <a:gd name="connsiteY14" fmla="*/ 1229949 h 1373490"/>
                        <a:gd name="connsiteX15" fmla="*/ 789023 w 3034342"/>
                        <a:gd name="connsiteY15" fmla="*/ 1056724 h 1373490"/>
                        <a:gd name="connsiteX16" fmla="*/ 787530 w 3034342"/>
                        <a:gd name="connsiteY16" fmla="*/ 1053973 h 1373490"/>
                        <a:gd name="connsiteX17" fmla="*/ 768370 w 3034342"/>
                        <a:gd name="connsiteY17" fmla="*/ 1118431 h 1373490"/>
                        <a:gd name="connsiteX18" fmla="*/ 399898 w 3034342"/>
                        <a:gd name="connsiteY18" fmla="*/ 1373490 h 1373490"/>
                        <a:gd name="connsiteX19" fmla="*/ 0 w 3034342"/>
                        <a:gd name="connsiteY19" fmla="*/ 955877 h 1373490"/>
                        <a:gd name="connsiteX20" fmla="*/ 399898 w 3034342"/>
                        <a:gd name="connsiteY20" fmla="*/ 538264 h 1373490"/>
                        <a:gd name="connsiteX21" fmla="*/ 682669 w 3034342"/>
                        <a:gd name="connsiteY21" fmla="*/ 660580 h 1373490"/>
                        <a:gd name="connsiteX22" fmla="*/ 721923 w 3034342"/>
                        <a:gd name="connsiteY22" fmla="*/ 710264 h 1373490"/>
                        <a:gd name="connsiteX23" fmla="*/ 721923 w 3034342"/>
                        <a:gd name="connsiteY23" fmla="*/ 662287 h 1373490"/>
                        <a:gd name="connsiteX24" fmla="*/ 1114820 w 3034342"/>
                        <a:gd name="connsiteY24" fmla="*/ 269390 h 1373490"/>
                        <a:gd name="connsiteX25" fmla="*/ 1155585 w 3034342"/>
                        <a:gd name="connsiteY25" fmla="*/ 269390 h 1373490"/>
                        <a:gd name="connsiteX26" fmla="*/ 1433405 w 3034342"/>
                        <a:gd name="connsiteY26" fmla="*/ 384467 h 1373490"/>
                        <a:gd name="connsiteX27" fmla="*/ 1477483 w 3034342"/>
                        <a:gd name="connsiteY27" fmla="*/ 437891 h 1373490"/>
                        <a:gd name="connsiteX28" fmla="*/ 1477483 w 3034342"/>
                        <a:gd name="connsiteY28" fmla="*/ 408279 h 1373490"/>
                        <a:gd name="connsiteX29" fmla="*/ 1885762 w 3034342"/>
                        <a:gd name="connsiteY29" fmla="*/ 0 h 1373490"/>
                        <a:gd name="connsiteX30" fmla="*/ 2285747 w 3034342"/>
                        <a:gd name="connsiteY30" fmla="*/ 325996 h 1373490"/>
                        <a:gd name="connsiteX31" fmla="*/ 2290609 w 3034342"/>
                        <a:gd name="connsiteY31" fmla="*/ 374229 h 1373490"/>
                        <a:gd name="connsiteX32" fmla="*/ 2316121 w 3034342"/>
                        <a:gd name="connsiteY32" fmla="*/ 327227 h 1373490"/>
                        <a:gd name="connsiteX33" fmla="*/ 2641703 w 3034342"/>
                        <a:gd name="connsiteY33" fmla="*/ 154117 h 1373490"/>
                        <a:gd name="connsiteX34" fmla="*/ 3034342 w 3034342"/>
                        <a:gd name="connsiteY34" fmla="*/ 546756 h 1373490"/>
                        <a:gd name="connsiteX35" fmla="*/ 3034341 w 3034342"/>
                        <a:gd name="connsiteY35" fmla="*/ 706053 h 1373490"/>
                        <a:gd name="connsiteX36" fmla="*/ 2919340 w 3034342"/>
                        <a:gd name="connsiteY36" fmla="*/ 983691 h 137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034342" h="1373490">
                          <a:moveTo>
                            <a:pt x="2919340" y="983691"/>
                          </a:moveTo>
                          <a:cubicBezTo>
                            <a:pt x="2848286" y="1054744"/>
                            <a:pt x="2750127" y="1098692"/>
                            <a:pt x="2641702" y="1098692"/>
                          </a:cubicBezTo>
                          <a:lnTo>
                            <a:pt x="2641703" y="1098691"/>
                          </a:lnTo>
                          <a:cubicBezTo>
                            <a:pt x="2479067" y="1098691"/>
                            <a:pt x="2339525" y="999809"/>
                            <a:pt x="2279920" y="858885"/>
                          </a:cubicBezTo>
                          <a:lnTo>
                            <a:pt x="2265342" y="811923"/>
                          </a:lnTo>
                          <a:lnTo>
                            <a:pt x="2261956" y="822831"/>
                          </a:lnTo>
                          <a:cubicBezTo>
                            <a:pt x="2241296" y="871677"/>
                            <a:pt x="2211400" y="915665"/>
                            <a:pt x="2174458" y="952607"/>
                          </a:cubicBezTo>
                          <a:cubicBezTo>
                            <a:pt x="2100574" y="1026491"/>
                            <a:pt x="1998504" y="1072190"/>
                            <a:pt x="1885762" y="1072190"/>
                          </a:cubicBezTo>
                          <a:lnTo>
                            <a:pt x="1885762" y="1072189"/>
                          </a:lnTo>
                          <a:cubicBezTo>
                            <a:pt x="1744834" y="1072189"/>
                            <a:pt x="1620582" y="1000785"/>
                            <a:pt x="1547211" y="892182"/>
                          </a:cubicBezTo>
                          <a:lnTo>
                            <a:pt x="1543596" y="885521"/>
                          </a:lnTo>
                          <a:lnTo>
                            <a:pt x="1540499" y="916235"/>
                          </a:lnTo>
                          <a:cubicBezTo>
                            <a:pt x="1524798" y="992965"/>
                            <a:pt x="1486730" y="1061547"/>
                            <a:pt x="1433405" y="1114872"/>
                          </a:cubicBezTo>
                          <a:cubicBezTo>
                            <a:pt x="1362305" y="1185973"/>
                            <a:pt x="1264080" y="1229949"/>
                            <a:pt x="1155585" y="1229949"/>
                          </a:cubicBezTo>
                          <a:lnTo>
                            <a:pt x="1114820" y="1229949"/>
                          </a:lnTo>
                          <a:cubicBezTo>
                            <a:pt x="979200" y="1229949"/>
                            <a:pt x="859630" y="1161236"/>
                            <a:pt x="789023" y="1056724"/>
                          </a:cubicBezTo>
                          <a:lnTo>
                            <a:pt x="787530" y="1053973"/>
                          </a:lnTo>
                          <a:lnTo>
                            <a:pt x="768370" y="1118431"/>
                          </a:lnTo>
                          <a:cubicBezTo>
                            <a:pt x="707662" y="1268318"/>
                            <a:pt x="565541" y="1373490"/>
                            <a:pt x="399898" y="1373490"/>
                          </a:cubicBezTo>
                          <a:cubicBezTo>
                            <a:pt x="179040" y="1373490"/>
                            <a:pt x="0" y="1186518"/>
                            <a:pt x="0" y="955877"/>
                          </a:cubicBezTo>
                          <a:cubicBezTo>
                            <a:pt x="0" y="725236"/>
                            <a:pt x="179040" y="538264"/>
                            <a:pt x="399898" y="538264"/>
                          </a:cubicBezTo>
                          <a:cubicBezTo>
                            <a:pt x="510327" y="538264"/>
                            <a:pt x="610301" y="585007"/>
                            <a:pt x="682669" y="660580"/>
                          </a:cubicBezTo>
                          <a:lnTo>
                            <a:pt x="721923" y="710264"/>
                          </a:lnTo>
                          <a:lnTo>
                            <a:pt x="721923" y="662287"/>
                          </a:lnTo>
                          <a:cubicBezTo>
                            <a:pt x="721923" y="445296"/>
                            <a:pt x="897829" y="269390"/>
                            <a:pt x="1114820" y="269390"/>
                          </a:cubicBezTo>
                          <a:lnTo>
                            <a:pt x="1155585" y="269390"/>
                          </a:lnTo>
                          <a:cubicBezTo>
                            <a:pt x="1264080" y="269390"/>
                            <a:pt x="1362304" y="313367"/>
                            <a:pt x="1433405" y="384467"/>
                          </a:cubicBezTo>
                          <a:lnTo>
                            <a:pt x="1477483" y="437891"/>
                          </a:lnTo>
                          <a:lnTo>
                            <a:pt x="1477483" y="408279"/>
                          </a:lnTo>
                          <a:cubicBezTo>
                            <a:pt x="1477483" y="182793"/>
                            <a:pt x="1660277" y="0"/>
                            <a:pt x="1885762" y="0"/>
                          </a:cubicBezTo>
                          <a:cubicBezTo>
                            <a:pt x="2083063" y="0"/>
                            <a:pt x="2247676" y="139951"/>
                            <a:pt x="2285747" y="325996"/>
                          </a:cubicBezTo>
                          <a:lnTo>
                            <a:pt x="2290609" y="374229"/>
                          </a:lnTo>
                          <a:lnTo>
                            <a:pt x="2316121" y="327227"/>
                          </a:lnTo>
                          <a:cubicBezTo>
                            <a:pt x="2386681" y="222784"/>
                            <a:pt x="2506173" y="154117"/>
                            <a:pt x="2641703" y="154117"/>
                          </a:cubicBezTo>
                          <a:cubicBezTo>
                            <a:pt x="2858552" y="154117"/>
                            <a:pt x="3034342" y="329907"/>
                            <a:pt x="3034342" y="546756"/>
                          </a:cubicBezTo>
                          <a:cubicBezTo>
                            <a:pt x="3034342" y="599855"/>
                            <a:pt x="3034341" y="652954"/>
                            <a:pt x="3034341" y="706053"/>
                          </a:cubicBezTo>
                          <a:cubicBezTo>
                            <a:pt x="3034341" y="814477"/>
                            <a:pt x="2990394" y="912637"/>
                            <a:pt x="2919340" y="983691"/>
                          </a:cubicBezTo>
                          <a:close/>
                        </a:path>
                      </a:pathLst>
                    </a:custGeom>
                    <a:grp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Arial"/>
                      </a:endParaRPr>
                    </a:p>
                  </p:txBody>
                </p:sp>
                <p:sp>
                  <p:nvSpPr>
                    <p:cNvPr id="50" name="Rectangle 4"/>
                    <p:cNvSpPr/>
                    <p:nvPr/>
                  </p:nvSpPr>
                  <p:spPr>
                    <a:xfrm>
                      <a:off x="7828881" y="1621427"/>
                      <a:ext cx="302420" cy="494280"/>
                    </a:xfrm>
                    <a:custGeom>
                      <a:avLst/>
                      <a:gdLst>
                        <a:gd name="connsiteX0" fmla="*/ 0 w 1431890"/>
                        <a:gd name="connsiteY0" fmla="*/ 0 h 2160396"/>
                        <a:gd name="connsiteX1" fmla="*/ 1431890 w 1431890"/>
                        <a:gd name="connsiteY1" fmla="*/ 0 h 2160396"/>
                        <a:gd name="connsiteX2" fmla="*/ 1431890 w 1431890"/>
                        <a:gd name="connsiteY2" fmla="*/ 2160396 h 2160396"/>
                        <a:gd name="connsiteX3" fmla="*/ 0 w 1431890"/>
                        <a:gd name="connsiteY3" fmla="*/ 2160396 h 2160396"/>
                        <a:gd name="connsiteX4" fmla="*/ 0 w 1431890"/>
                        <a:gd name="connsiteY4" fmla="*/ 0 h 2160396"/>
                        <a:gd name="connsiteX0" fmla="*/ 266282 w 1698172"/>
                        <a:gd name="connsiteY0" fmla="*/ 0 h 2356338"/>
                        <a:gd name="connsiteX1" fmla="*/ 1698172 w 1698172"/>
                        <a:gd name="connsiteY1" fmla="*/ 0 h 2356338"/>
                        <a:gd name="connsiteX2" fmla="*/ 1698172 w 1698172"/>
                        <a:gd name="connsiteY2" fmla="*/ 2160396 h 2356338"/>
                        <a:gd name="connsiteX3" fmla="*/ 0 w 1698172"/>
                        <a:gd name="connsiteY3" fmla="*/ 2356338 h 2356338"/>
                        <a:gd name="connsiteX4" fmla="*/ 266282 w 1698172"/>
                        <a:gd name="connsiteY4" fmla="*/ 0 h 2356338"/>
                        <a:gd name="connsiteX0" fmla="*/ 266282 w 1698172"/>
                        <a:gd name="connsiteY0" fmla="*/ 0 h 2356338"/>
                        <a:gd name="connsiteX1" fmla="*/ 1698172 w 1698172"/>
                        <a:gd name="connsiteY1" fmla="*/ 0 h 2356338"/>
                        <a:gd name="connsiteX2" fmla="*/ 839038 w 1698172"/>
                        <a:gd name="connsiteY2" fmla="*/ 2105130 h 2356338"/>
                        <a:gd name="connsiteX3" fmla="*/ 0 w 1698172"/>
                        <a:gd name="connsiteY3" fmla="*/ 2356338 h 2356338"/>
                        <a:gd name="connsiteX4" fmla="*/ 266282 w 1698172"/>
                        <a:gd name="connsiteY4" fmla="*/ 0 h 2356338"/>
                        <a:gd name="connsiteX0" fmla="*/ 266282 w 1698172"/>
                        <a:gd name="connsiteY0" fmla="*/ 0 h 2392578"/>
                        <a:gd name="connsiteX1" fmla="*/ 1698172 w 1698172"/>
                        <a:gd name="connsiteY1" fmla="*/ 0 h 2392578"/>
                        <a:gd name="connsiteX2" fmla="*/ 839038 w 1698172"/>
                        <a:gd name="connsiteY2" fmla="*/ 2105130 h 2392578"/>
                        <a:gd name="connsiteX3" fmla="*/ 0 w 1698172"/>
                        <a:gd name="connsiteY3" fmla="*/ 2356338 h 2392578"/>
                        <a:gd name="connsiteX4" fmla="*/ 266282 w 1698172"/>
                        <a:gd name="connsiteY4" fmla="*/ 0 h 2392578"/>
                        <a:gd name="connsiteX0" fmla="*/ 266282 w 1698172"/>
                        <a:gd name="connsiteY0" fmla="*/ 0 h 2464004"/>
                        <a:gd name="connsiteX1" fmla="*/ 1698172 w 1698172"/>
                        <a:gd name="connsiteY1" fmla="*/ 0 h 2464004"/>
                        <a:gd name="connsiteX2" fmla="*/ 839038 w 1698172"/>
                        <a:gd name="connsiteY2" fmla="*/ 2105130 h 2464004"/>
                        <a:gd name="connsiteX3" fmla="*/ 0 w 1698172"/>
                        <a:gd name="connsiteY3" fmla="*/ 2356338 h 2464004"/>
                        <a:gd name="connsiteX4" fmla="*/ 266282 w 1698172"/>
                        <a:gd name="connsiteY4" fmla="*/ 0 h 246400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266282 w 1698172"/>
                        <a:gd name="connsiteY4" fmla="*/ 0 h 245891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90436 w 1698172"/>
                        <a:gd name="connsiteY4" fmla="*/ 1502229 h 2458914"/>
                        <a:gd name="connsiteX5" fmla="*/ 266282 w 1698172"/>
                        <a:gd name="connsiteY5" fmla="*/ 0 h 245891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542612 w 1698172"/>
                        <a:gd name="connsiteY4" fmla="*/ 1924260 h 2458914"/>
                        <a:gd name="connsiteX5" fmla="*/ 266282 w 1698172"/>
                        <a:gd name="connsiteY5" fmla="*/ 0 h 245891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226089 w 1698172"/>
                        <a:gd name="connsiteY4" fmla="*/ 2170444 h 2458914"/>
                        <a:gd name="connsiteX5" fmla="*/ 542612 w 1698172"/>
                        <a:gd name="connsiteY5" fmla="*/ 1924260 h 2458914"/>
                        <a:gd name="connsiteX6" fmla="*/ 266282 w 1698172"/>
                        <a:gd name="connsiteY6" fmla="*/ 0 h 2458914"/>
                        <a:gd name="connsiteX0" fmla="*/ 266282 w 1698172"/>
                        <a:gd name="connsiteY0" fmla="*/ 0 h 2458914"/>
                        <a:gd name="connsiteX1" fmla="*/ 1698172 w 1698172"/>
                        <a:gd name="connsiteY1" fmla="*/ 0 h 2458914"/>
                        <a:gd name="connsiteX2" fmla="*/ 839038 w 1698172"/>
                        <a:gd name="connsiteY2" fmla="*/ 2105130 h 2458914"/>
                        <a:gd name="connsiteX3" fmla="*/ 0 w 1698172"/>
                        <a:gd name="connsiteY3" fmla="*/ 2356338 h 2458914"/>
                        <a:gd name="connsiteX4" fmla="*/ 110533 w 1698172"/>
                        <a:gd name="connsiteY4" fmla="*/ 2044840 h 2458914"/>
                        <a:gd name="connsiteX5" fmla="*/ 542612 w 1698172"/>
                        <a:gd name="connsiteY5" fmla="*/ 1924260 h 2458914"/>
                        <a:gd name="connsiteX6" fmla="*/ 266282 w 1698172"/>
                        <a:gd name="connsiteY6" fmla="*/ 0 h 2458914"/>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864159 w 1723293"/>
                        <a:gd name="connsiteY2" fmla="*/ 2105130 h 2453208"/>
                        <a:gd name="connsiteX3" fmla="*/ 0 w 1723293"/>
                        <a:gd name="connsiteY3" fmla="*/ 2346290 h 2453208"/>
                        <a:gd name="connsiteX4" fmla="*/ 135654 w 1723293"/>
                        <a:gd name="connsiteY4" fmla="*/ 2044840 h 2453208"/>
                        <a:gd name="connsiteX5" fmla="*/ 567733 w 1723293"/>
                        <a:gd name="connsiteY5" fmla="*/ 1924260 h 2453208"/>
                        <a:gd name="connsiteX6" fmla="*/ 291403 w 1723293"/>
                        <a:gd name="connsiteY6" fmla="*/ 0 h 2453208"/>
                        <a:gd name="connsiteX0" fmla="*/ 291403 w 1723293"/>
                        <a:gd name="connsiteY0" fmla="*/ 0 h 2453208"/>
                        <a:gd name="connsiteX1" fmla="*/ 1723293 w 1723293"/>
                        <a:gd name="connsiteY1" fmla="*/ 0 h 2453208"/>
                        <a:gd name="connsiteX2" fmla="*/ 1085224 w 1723293"/>
                        <a:gd name="connsiteY2" fmla="*/ 1542422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698172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577593 w 1723293"/>
                        <a:gd name="connsiteY2" fmla="*/ 1833824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703195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703195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703195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462037 w 1723293"/>
                        <a:gd name="connsiteY2" fmla="*/ 1703195 h 2453208"/>
                        <a:gd name="connsiteX3" fmla="*/ 864159 w 1723293"/>
                        <a:gd name="connsiteY3" fmla="*/ 2105130 h 2453208"/>
                        <a:gd name="connsiteX4" fmla="*/ 0 w 1723293"/>
                        <a:gd name="connsiteY4" fmla="*/ 2346290 h 2453208"/>
                        <a:gd name="connsiteX5" fmla="*/ 135654 w 1723293"/>
                        <a:gd name="connsiteY5" fmla="*/ 2044840 h 2453208"/>
                        <a:gd name="connsiteX6" fmla="*/ 567733 w 1723293"/>
                        <a:gd name="connsiteY6" fmla="*/ 1924260 h 2453208"/>
                        <a:gd name="connsiteX7" fmla="*/ 291403 w 1723293"/>
                        <a:gd name="connsiteY7" fmla="*/ 0 h 2453208"/>
                        <a:gd name="connsiteX0" fmla="*/ 291403 w 1723293"/>
                        <a:gd name="connsiteY0" fmla="*/ 0 h 2453208"/>
                        <a:gd name="connsiteX1" fmla="*/ 1723293 w 1723293"/>
                        <a:gd name="connsiteY1" fmla="*/ 0 h 2453208"/>
                        <a:gd name="connsiteX2" fmla="*/ 1552473 w 1723293"/>
                        <a:gd name="connsiteY2" fmla="*/ 1034980 h 2453208"/>
                        <a:gd name="connsiteX3" fmla="*/ 1462037 w 1723293"/>
                        <a:gd name="connsiteY3" fmla="*/ 1703195 h 2453208"/>
                        <a:gd name="connsiteX4" fmla="*/ 864159 w 1723293"/>
                        <a:gd name="connsiteY4" fmla="*/ 2105130 h 2453208"/>
                        <a:gd name="connsiteX5" fmla="*/ 0 w 1723293"/>
                        <a:gd name="connsiteY5" fmla="*/ 2346290 h 2453208"/>
                        <a:gd name="connsiteX6" fmla="*/ 135654 w 1723293"/>
                        <a:gd name="connsiteY6" fmla="*/ 2044840 h 2453208"/>
                        <a:gd name="connsiteX7" fmla="*/ 567733 w 1723293"/>
                        <a:gd name="connsiteY7" fmla="*/ 1924260 h 2453208"/>
                        <a:gd name="connsiteX8" fmla="*/ 291403 w 1723293"/>
                        <a:gd name="connsiteY8" fmla="*/ 0 h 2453208"/>
                        <a:gd name="connsiteX0" fmla="*/ 291403 w 1919238"/>
                        <a:gd name="connsiteY0" fmla="*/ 0 h 2453208"/>
                        <a:gd name="connsiteX1" fmla="*/ 1723293 w 1919238"/>
                        <a:gd name="connsiteY1" fmla="*/ 0 h 2453208"/>
                        <a:gd name="connsiteX2" fmla="*/ 1919238 w 1919238"/>
                        <a:gd name="connsiteY2" fmla="*/ 1065125 h 2453208"/>
                        <a:gd name="connsiteX3" fmla="*/ 1462037 w 1919238"/>
                        <a:gd name="connsiteY3" fmla="*/ 1703195 h 2453208"/>
                        <a:gd name="connsiteX4" fmla="*/ 864159 w 1919238"/>
                        <a:gd name="connsiteY4" fmla="*/ 2105130 h 2453208"/>
                        <a:gd name="connsiteX5" fmla="*/ 0 w 1919238"/>
                        <a:gd name="connsiteY5" fmla="*/ 2346290 h 2453208"/>
                        <a:gd name="connsiteX6" fmla="*/ 135654 w 1919238"/>
                        <a:gd name="connsiteY6" fmla="*/ 2044840 h 2453208"/>
                        <a:gd name="connsiteX7" fmla="*/ 567733 w 1919238"/>
                        <a:gd name="connsiteY7" fmla="*/ 1924260 h 2453208"/>
                        <a:gd name="connsiteX8" fmla="*/ 291403 w 1919238"/>
                        <a:gd name="connsiteY8" fmla="*/ 0 h 2453208"/>
                        <a:gd name="connsiteX0" fmla="*/ 291403 w 1940010"/>
                        <a:gd name="connsiteY0" fmla="*/ 0 h 2453208"/>
                        <a:gd name="connsiteX1" fmla="*/ 1723293 w 1940010"/>
                        <a:gd name="connsiteY1" fmla="*/ 0 h 2453208"/>
                        <a:gd name="connsiteX2" fmla="*/ 1919238 w 1940010"/>
                        <a:gd name="connsiteY2" fmla="*/ 1065125 h 2453208"/>
                        <a:gd name="connsiteX3" fmla="*/ 1462037 w 1940010"/>
                        <a:gd name="connsiteY3" fmla="*/ 1703195 h 2453208"/>
                        <a:gd name="connsiteX4" fmla="*/ 864159 w 1940010"/>
                        <a:gd name="connsiteY4" fmla="*/ 2105130 h 2453208"/>
                        <a:gd name="connsiteX5" fmla="*/ 0 w 1940010"/>
                        <a:gd name="connsiteY5" fmla="*/ 2346290 h 2453208"/>
                        <a:gd name="connsiteX6" fmla="*/ 135654 w 1940010"/>
                        <a:gd name="connsiteY6" fmla="*/ 2044840 h 2453208"/>
                        <a:gd name="connsiteX7" fmla="*/ 567733 w 1940010"/>
                        <a:gd name="connsiteY7" fmla="*/ 1924260 h 2453208"/>
                        <a:gd name="connsiteX8" fmla="*/ 291403 w 1940010"/>
                        <a:gd name="connsiteY8" fmla="*/ 0 h 2453208"/>
                        <a:gd name="connsiteX0" fmla="*/ 291403 w 1939235"/>
                        <a:gd name="connsiteY0" fmla="*/ 0 h 2453208"/>
                        <a:gd name="connsiteX1" fmla="*/ 1723293 w 1939235"/>
                        <a:gd name="connsiteY1" fmla="*/ 0 h 2453208"/>
                        <a:gd name="connsiteX2" fmla="*/ 1919238 w 1939235"/>
                        <a:gd name="connsiteY2" fmla="*/ 1065125 h 2453208"/>
                        <a:gd name="connsiteX3" fmla="*/ 1441941 w 1939235"/>
                        <a:gd name="connsiteY3" fmla="*/ 1713244 h 2453208"/>
                        <a:gd name="connsiteX4" fmla="*/ 864159 w 1939235"/>
                        <a:gd name="connsiteY4" fmla="*/ 2105130 h 2453208"/>
                        <a:gd name="connsiteX5" fmla="*/ 0 w 1939235"/>
                        <a:gd name="connsiteY5" fmla="*/ 2346290 h 2453208"/>
                        <a:gd name="connsiteX6" fmla="*/ 135654 w 1939235"/>
                        <a:gd name="connsiteY6" fmla="*/ 2044840 h 2453208"/>
                        <a:gd name="connsiteX7" fmla="*/ 567733 w 1939235"/>
                        <a:gd name="connsiteY7" fmla="*/ 1924260 h 2453208"/>
                        <a:gd name="connsiteX8" fmla="*/ 291403 w 1939235"/>
                        <a:gd name="connsiteY8" fmla="*/ 0 h 2453208"/>
                        <a:gd name="connsiteX0" fmla="*/ 291403 w 1938883"/>
                        <a:gd name="connsiteY0" fmla="*/ 0 h 2453208"/>
                        <a:gd name="connsiteX1" fmla="*/ 1723293 w 1938883"/>
                        <a:gd name="connsiteY1" fmla="*/ 0 h 2453208"/>
                        <a:gd name="connsiteX2" fmla="*/ 1919238 w 1938883"/>
                        <a:gd name="connsiteY2" fmla="*/ 1065125 h 2453208"/>
                        <a:gd name="connsiteX3" fmla="*/ 1441941 w 1938883"/>
                        <a:gd name="connsiteY3" fmla="*/ 1713244 h 2453208"/>
                        <a:gd name="connsiteX4" fmla="*/ 864159 w 1938883"/>
                        <a:gd name="connsiteY4" fmla="*/ 2105130 h 2453208"/>
                        <a:gd name="connsiteX5" fmla="*/ 0 w 1938883"/>
                        <a:gd name="connsiteY5" fmla="*/ 2346290 h 2453208"/>
                        <a:gd name="connsiteX6" fmla="*/ 135654 w 1938883"/>
                        <a:gd name="connsiteY6" fmla="*/ 2044840 h 2453208"/>
                        <a:gd name="connsiteX7" fmla="*/ 567733 w 1938883"/>
                        <a:gd name="connsiteY7" fmla="*/ 1924260 h 2453208"/>
                        <a:gd name="connsiteX8" fmla="*/ 291403 w 1938883"/>
                        <a:gd name="connsiteY8" fmla="*/ 0 h 2453208"/>
                        <a:gd name="connsiteX0" fmla="*/ 291403 w 1938704"/>
                        <a:gd name="connsiteY0" fmla="*/ 0 h 2453208"/>
                        <a:gd name="connsiteX1" fmla="*/ 1723293 w 1938704"/>
                        <a:gd name="connsiteY1" fmla="*/ 0 h 2453208"/>
                        <a:gd name="connsiteX2" fmla="*/ 1919238 w 1938704"/>
                        <a:gd name="connsiteY2" fmla="*/ 1065125 h 2453208"/>
                        <a:gd name="connsiteX3" fmla="*/ 1436916 w 1938704"/>
                        <a:gd name="connsiteY3" fmla="*/ 1693147 h 2453208"/>
                        <a:gd name="connsiteX4" fmla="*/ 864159 w 1938704"/>
                        <a:gd name="connsiteY4" fmla="*/ 2105130 h 2453208"/>
                        <a:gd name="connsiteX5" fmla="*/ 0 w 1938704"/>
                        <a:gd name="connsiteY5" fmla="*/ 2346290 h 2453208"/>
                        <a:gd name="connsiteX6" fmla="*/ 135654 w 1938704"/>
                        <a:gd name="connsiteY6" fmla="*/ 2044840 h 2453208"/>
                        <a:gd name="connsiteX7" fmla="*/ 567733 w 1938704"/>
                        <a:gd name="connsiteY7" fmla="*/ 1924260 h 2453208"/>
                        <a:gd name="connsiteX8" fmla="*/ 291403 w 1938704"/>
                        <a:gd name="connsiteY8" fmla="*/ 0 h 2453208"/>
                        <a:gd name="connsiteX0" fmla="*/ 291403 w 1938704"/>
                        <a:gd name="connsiteY0" fmla="*/ 0 h 2453208"/>
                        <a:gd name="connsiteX1" fmla="*/ 1723293 w 1938704"/>
                        <a:gd name="connsiteY1" fmla="*/ 0 h 2453208"/>
                        <a:gd name="connsiteX2" fmla="*/ 1919238 w 1938704"/>
                        <a:gd name="connsiteY2" fmla="*/ 1065125 h 2453208"/>
                        <a:gd name="connsiteX3" fmla="*/ 1436916 w 1938704"/>
                        <a:gd name="connsiteY3" fmla="*/ 1693147 h 2453208"/>
                        <a:gd name="connsiteX4" fmla="*/ 864159 w 1938704"/>
                        <a:gd name="connsiteY4" fmla="*/ 2105130 h 2453208"/>
                        <a:gd name="connsiteX5" fmla="*/ 0 w 1938704"/>
                        <a:gd name="connsiteY5" fmla="*/ 2346290 h 2453208"/>
                        <a:gd name="connsiteX6" fmla="*/ 135654 w 1938704"/>
                        <a:gd name="connsiteY6" fmla="*/ 2044840 h 2453208"/>
                        <a:gd name="connsiteX7" fmla="*/ 567733 w 1938704"/>
                        <a:gd name="connsiteY7" fmla="*/ 1924260 h 2453208"/>
                        <a:gd name="connsiteX8" fmla="*/ 291403 w 1938704"/>
                        <a:gd name="connsiteY8" fmla="*/ 0 h 2453208"/>
                        <a:gd name="connsiteX0" fmla="*/ 291403 w 1938704"/>
                        <a:gd name="connsiteY0" fmla="*/ 0 h 2453208"/>
                        <a:gd name="connsiteX1" fmla="*/ 1723293 w 1938704"/>
                        <a:gd name="connsiteY1" fmla="*/ 0 h 2453208"/>
                        <a:gd name="connsiteX2" fmla="*/ 1919238 w 1938704"/>
                        <a:gd name="connsiteY2" fmla="*/ 1065125 h 2453208"/>
                        <a:gd name="connsiteX3" fmla="*/ 1436916 w 1938704"/>
                        <a:gd name="connsiteY3" fmla="*/ 1693147 h 2453208"/>
                        <a:gd name="connsiteX4" fmla="*/ 864159 w 1938704"/>
                        <a:gd name="connsiteY4" fmla="*/ 2105130 h 2453208"/>
                        <a:gd name="connsiteX5" fmla="*/ 0 w 1938704"/>
                        <a:gd name="connsiteY5" fmla="*/ 2346290 h 2453208"/>
                        <a:gd name="connsiteX6" fmla="*/ 135654 w 1938704"/>
                        <a:gd name="connsiteY6" fmla="*/ 2044840 h 2453208"/>
                        <a:gd name="connsiteX7" fmla="*/ 567733 w 1938704"/>
                        <a:gd name="connsiteY7" fmla="*/ 1924260 h 2453208"/>
                        <a:gd name="connsiteX8" fmla="*/ 291403 w 1938704"/>
                        <a:gd name="connsiteY8" fmla="*/ 0 h 2453208"/>
                        <a:gd name="connsiteX0" fmla="*/ 291403 w 1932387"/>
                        <a:gd name="connsiteY0" fmla="*/ 0 h 2453208"/>
                        <a:gd name="connsiteX1" fmla="*/ 1723293 w 1932387"/>
                        <a:gd name="connsiteY1" fmla="*/ 0 h 2453208"/>
                        <a:gd name="connsiteX2" fmla="*/ 1919238 w 1932387"/>
                        <a:gd name="connsiteY2" fmla="*/ 1065125 h 2453208"/>
                        <a:gd name="connsiteX3" fmla="*/ 1436916 w 1932387"/>
                        <a:gd name="connsiteY3" fmla="*/ 1693147 h 2453208"/>
                        <a:gd name="connsiteX4" fmla="*/ 864159 w 1932387"/>
                        <a:gd name="connsiteY4" fmla="*/ 2105130 h 2453208"/>
                        <a:gd name="connsiteX5" fmla="*/ 0 w 1932387"/>
                        <a:gd name="connsiteY5" fmla="*/ 2346290 h 2453208"/>
                        <a:gd name="connsiteX6" fmla="*/ 135654 w 1932387"/>
                        <a:gd name="connsiteY6" fmla="*/ 2044840 h 2453208"/>
                        <a:gd name="connsiteX7" fmla="*/ 567733 w 1932387"/>
                        <a:gd name="connsiteY7" fmla="*/ 1924260 h 2453208"/>
                        <a:gd name="connsiteX8" fmla="*/ 291403 w 1932387"/>
                        <a:gd name="connsiteY8" fmla="*/ 0 h 2453208"/>
                        <a:gd name="connsiteX0" fmla="*/ 291403 w 1932262"/>
                        <a:gd name="connsiteY0" fmla="*/ 0 h 2453208"/>
                        <a:gd name="connsiteX1" fmla="*/ 1723293 w 1932262"/>
                        <a:gd name="connsiteY1" fmla="*/ 0 h 2453208"/>
                        <a:gd name="connsiteX2" fmla="*/ 1919238 w 1932262"/>
                        <a:gd name="connsiteY2" fmla="*/ 1065125 h 2453208"/>
                        <a:gd name="connsiteX3" fmla="*/ 1436916 w 1932262"/>
                        <a:gd name="connsiteY3" fmla="*/ 1693147 h 2453208"/>
                        <a:gd name="connsiteX4" fmla="*/ 864159 w 1932262"/>
                        <a:gd name="connsiteY4" fmla="*/ 2105130 h 2453208"/>
                        <a:gd name="connsiteX5" fmla="*/ 0 w 1932262"/>
                        <a:gd name="connsiteY5" fmla="*/ 2346290 h 2453208"/>
                        <a:gd name="connsiteX6" fmla="*/ 135654 w 1932262"/>
                        <a:gd name="connsiteY6" fmla="*/ 2044840 h 2453208"/>
                        <a:gd name="connsiteX7" fmla="*/ 567733 w 1932262"/>
                        <a:gd name="connsiteY7" fmla="*/ 1924260 h 2453208"/>
                        <a:gd name="connsiteX8" fmla="*/ 291403 w 1932262"/>
                        <a:gd name="connsiteY8" fmla="*/ 0 h 2453208"/>
                        <a:gd name="connsiteX0" fmla="*/ 291403 w 2175469"/>
                        <a:gd name="connsiteY0" fmla="*/ 0 h 2453208"/>
                        <a:gd name="connsiteX1" fmla="*/ 2175469 w 2175469"/>
                        <a:gd name="connsiteY1" fmla="*/ 356716 h 2453208"/>
                        <a:gd name="connsiteX2" fmla="*/ 1919238 w 2175469"/>
                        <a:gd name="connsiteY2" fmla="*/ 1065125 h 2453208"/>
                        <a:gd name="connsiteX3" fmla="*/ 1436916 w 2175469"/>
                        <a:gd name="connsiteY3" fmla="*/ 1693147 h 2453208"/>
                        <a:gd name="connsiteX4" fmla="*/ 864159 w 2175469"/>
                        <a:gd name="connsiteY4" fmla="*/ 2105130 h 2453208"/>
                        <a:gd name="connsiteX5" fmla="*/ 0 w 2175469"/>
                        <a:gd name="connsiteY5" fmla="*/ 2346290 h 2453208"/>
                        <a:gd name="connsiteX6" fmla="*/ 135654 w 2175469"/>
                        <a:gd name="connsiteY6" fmla="*/ 2044840 h 2453208"/>
                        <a:gd name="connsiteX7" fmla="*/ 567733 w 2175469"/>
                        <a:gd name="connsiteY7" fmla="*/ 1924260 h 2453208"/>
                        <a:gd name="connsiteX8" fmla="*/ 291403 w 2175469"/>
                        <a:gd name="connsiteY8" fmla="*/ 0 h 2453208"/>
                        <a:gd name="connsiteX0" fmla="*/ 291403 w 2215117"/>
                        <a:gd name="connsiteY0" fmla="*/ 0 h 2453208"/>
                        <a:gd name="connsiteX1" fmla="*/ 2175469 w 2215117"/>
                        <a:gd name="connsiteY1" fmla="*/ 356716 h 2453208"/>
                        <a:gd name="connsiteX2" fmla="*/ 1919238 w 2215117"/>
                        <a:gd name="connsiteY2" fmla="*/ 1065125 h 2453208"/>
                        <a:gd name="connsiteX3" fmla="*/ 1436916 w 2215117"/>
                        <a:gd name="connsiteY3" fmla="*/ 1693147 h 2453208"/>
                        <a:gd name="connsiteX4" fmla="*/ 864159 w 2215117"/>
                        <a:gd name="connsiteY4" fmla="*/ 2105130 h 2453208"/>
                        <a:gd name="connsiteX5" fmla="*/ 0 w 2215117"/>
                        <a:gd name="connsiteY5" fmla="*/ 2346290 h 2453208"/>
                        <a:gd name="connsiteX6" fmla="*/ 135654 w 2215117"/>
                        <a:gd name="connsiteY6" fmla="*/ 2044840 h 2453208"/>
                        <a:gd name="connsiteX7" fmla="*/ 567733 w 2215117"/>
                        <a:gd name="connsiteY7" fmla="*/ 1924260 h 2453208"/>
                        <a:gd name="connsiteX8" fmla="*/ 291403 w 2215117"/>
                        <a:gd name="connsiteY8" fmla="*/ 0 h 2453208"/>
                        <a:gd name="connsiteX0" fmla="*/ 291403 w 2217798"/>
                        <a:gd name="connsiteY0" fmla="*/ 0 h 2453208"/>
                        <a:gd name="connsiteX1" fmla="*/ 2175469 w 2217798"/>
                        <a:gd name="connsiteY1" fmla="*/ 356716 h 2453208"/>
                        <a:gd name="connsiteX2" fmla="*/ 1919238 w 2217798"/>
                        <a:gd name="connsiteY2" fmla="*/ 1065125 h 2453208"/>
                        <a:gd name="connsiteX3" fmla="*/ 1436916 w 2217798"/>
                        <a:gd name="connsiteY3" fmla="*/ 1693147 h 2453208"/>
                        <a:gd name="connsiteX4" fmla="*/ 864159 w 2217798"/>
                        <a:gd name="connsiteY4" fmla="*/ 2105130 h 2453208"/>
                        <a:gd name="connsiteX5" fmla="*/ 0 w 2217798"/>
                        <a:gd name="connsiteY5" fmla="*/ 2346290 h 2453208"/>
                        <a:gd name="connsiteX6" fmla="*/ 135654 w 2217798"/>
                        <a:gd name="connsiteY6" fmla="*/ 2044840 h 2453208"/>
                        <a:gd name="connsiteX7" fmla="*/ 567733 w 2217798"/>
                        <a:gd name="connsiteY7" fmla="*/ 1924260 h 2453208"/>
                        <a:gd name="connsiteX8" fmla="*/ 291403 w 2217798"/>
                        <a:gd name="connsiteY8" fmla="*/ 0 h 2453208"/>
                        <a:gd name="connsiteX0" fmla="*/ 291403 w 2217798"/>
                        <a:gd name="connsiteY0" fmla="*/ 0 h 2453208"/>
                        <a:gd name="connsiteX1" fmla="*/ 1165611 w 2217798"/>
                        <a:gd name="connsiteY1" fmla="*/ 165798 h 2453208"/>
                        <a:gd name="connsiteX2" fmla="*/ 2175469 w 2217798"/>
                        <a:gd name="connsiteY2" fmla="*/ 356716 h 2453208"/>
                        <a:gd name="connsiteX3" fmla="*/ 1919238 w 2217798"/>
                        <a:gd name="connsiteY3" fmla="*/ 1065125 h 2453208"/>
                        <a:gd name="connsiteX4" fmla="*/ 1436916 w 2217798"/>
                        <a:gd name="connsiteY4" fmla="*/ 1693147 h 2453208"/>
                        <a:gd name="connsiteX5" fmla="*/ 864159 w 2217798"/>
                        <a:gd name="connsiteY5" fmla="*/ 2105130 h 2453208"/>
                        <a:gd name="connsiteX6" fmla="*/ 0 w 2217798"/>
                        <a:gd name="connsiteY6" fmla="*/ 2346290 h 2453208"/>
                        <a:gd name="connsiteX7" fmla="*/ 135654 w 2217798"/>
                        <a:gd name="connsiteY7" fmla="*/ 2044840 h 2453208"/>
                        <a:gd name="connsiteX8" fmla="*/ 567733 w 2217798"/>
                        <a:gd name="connsiteY8" fmla="*/ 1924260 h 2453208"/>
                        <a:gd name="connsiteX9" fmla="*/ 291403 w 2217798"/>
                        <a:gd name="connsiteY9" fmla="*/ 0 h 2453208"/>
                        <a:gd name="connsiteX0" fmla="*/ 291403 w 2217798"/>
                        <a:gd name="connsiteY0" fmla="*/ 1170633 h 3623841"/>
                        <a:gd name="connsiteX1" fmla="*/ 532565 w 2217798"/>
                        <a:gd name="connsiteY1" fmla="*/ 0 h 3623841"/>
                        <a:gd name="connsiteX2" fmla="*/ 2175469 w 2217798"/>
                        <a:gd name="connsiteY2" fmla="*/ 1527349 h 3623841"/>
                        <a:gd name="connsiteX3" fmla="*/ 1919238 w 2217798"/>
                        <a:gd name="connsiteY3" fmla="*/ 2235758 h 3623841"/>
                        <a:gd name="connsiteX4" fmla="*/ 1436916 w 2217798"/>
                        <a:gd name="connsiteY4" fmla="*/ 2863780 h 3623841"/>
                        <a:gd name="connsiteX5" fmla="*/ 864159 w 2217798"/>
                        <a:gd name="connsiteY5" fmla="*/ 3275763 h 3623841"/>
                        <a:gd name="connsiteX6" fmla="*/ 0 w 2217798"/>
                        <a:gd name="connsiteY6" fmla="*/ 3516923 h 3623841"/>
                        <a:gd name="connsiteX7" fmla="*/ 135654 w 2217798"/>
                        <a:gd name="connsiteY7" fmla="*/ 3215473 h 3623841"/>
                        <a:gd name="connsiteX8" fmla="*/ 567733 w 2217798"/>
                        <a:gd name="connsiteY8" fmla="*/ 3094893 h 3623841"/>
                        <a:gd name="connsiteX9" fmla="*/ 291403 w 2217798"/>
                        <a:gd name="connsiteY9" fmla="*/ 1170633 h 3623841"/>
                        <a:gd name="connsiteX0" fmla="*/ 291403 w 2217798"/>
                        <a:gd name="connsiteY0" fmla="*/ 1170633 h 3623841"/>
                        <a:gd name="connsiteX1" fmla="*/ 532565 w 2217798"/>
                        <a:gd name="connsiteY1" fmla="*/ 0 h 3623841"/>
                        <a:gd name="connsiteX2" fmla="*/ 2175469 w 2217798"/>
                        <a:gd name="connsiteY2" fmla="*/ 1527349 h 3623841"/>
                        <a:gd name="connsiteX3" fmla="*/ 1919238 w 2217798"/>
                        <a:gd name="connsiteY3" fmla="*/ 2235758 h 3623841"/>
                        <a:gd name="connsiteX4" fmla="*/ 1436916 w 2217798"/>
                        <a:gd name="connsiteY4" fmla="*/ 2863780 h 3623841"/>
                        <a:gd name="connsiteX5" fmla="*/ 864159 w 2217798"/>
                        <a:gd name="connsiteY5" fmla="*/ 3275763 h 3623841"/>
                        <a:gd name="connsiteX6" fmla="*/ 0 w 2217798"/>
                        <a:gd name="connsiteY6" fmla="*/ 3516923 h 3623841"/>
                        <a:gd name="connsiteX7" fmla="*/ 135654 w 2217798"/>
                        <a:gd name="connsiteY7" fmla="*/ 3215473 h 3623841"/>
                        <a:gd name="connsiteX8" fmla="*/ 567733 w 2217798"/>
                        <a:gd name="connsiteY8" fmla="*/ 3094893 h 3623841"/>
                        <a:gd name="connsiteX9" fmla="*/ 291403 w 2217798"/>
                        <a:gd name="connsiteY9" fmla="*/ 1170633 h 3623841"/>
                        <a:gd name="connsiteX0" fmla="*/ 291403 w 2213292"/>
                        <a:gd name="connsiteY0" fmla="*/ 1170633 h 3623841"/>
                        <a:gd name="connsiteX1" fmla="*/ 532565 w 2213292"/>
                        <a:gd name="connsiteY1" fmla="*/ 0 h 3623841"/>
                        <a:gd name="connsiteX2" fmla="*/ 2170445 w 2213292"/>
                        <a:gd name="connsiteY2" fmla="*/ 1507252 h 3623841"/>
                        <a:gd name="connsiteX3" fmla="*/ 1919238 w 2213292"/>
                        <a:gd name="connsiteY3" fmla="*/ 2235758 h 3623841"/>
                        <a:gd name="connsiteX4" fmla="*/ 1436916 w 2213292"/>
                        <a:gd name="connsiteY4" fmla="*/ 2863780 h 3623841"/>
                        <a:gd name="connsiteX5" fmla="*/ 864159 w 2213292"/>
                        <a:gd name="connsiteY5" fmla="*/ 3275763 h 3623841"/>
                        <a:gd name="connsiteX6" fmla="*/ 0 w 2213292"/>
                        <a:gd name="connsiteY6" fmla="*/ 3516923 h 3623841"/>
                        <a:gd name="connsiteX7" fmla="*/ 135654 w 2213292"/>
                        <a:gd name="connsiteY7" fmla="*/ 3215473 h 3623841"/>
                        <a:gd name="connsiteX8" fmla="*/ 567733 w 2213292"/>
                        <a:gd name="connsiteY8" fmla="*/ 3094893 h 3623841"/>
                        <a:gd name="connsiteX9" fmla="*/ 291403 w 2213292"/>
                        <a:gd name="connsiteY9" fmla="*/ 1170633 h 3623841"/>
                        <a:gd name="connsiteX0" fmla="*/ 291403 w 2114143"/>
                        <a:gd name="connsiteY0" fmla="*/ 1170633 h 3623841"/>
                        <a:gd name="connsiteX1" fmla="*/ 532565 w 2114143"/>
                        <a:gd name="connsiteY1" fmla="*/ 0 h 3623841"/>
                        <a:gd name="connsiteX2" fmla="*/ 2054889 w 2114143"/>
                        <a:gd name="connsiteY2" fmla="*/ 1381647 h 3623841"/>
                        <a:gd name="connsiteX3" fmla="*/ 1919238 w 2114143"/>
                        <a:gd name="connsiteY3" fmla="*/ 2235758 h 3623841"/>
                        <a:gd name="connsiteX4" fmla="*/ 1436916 w 2114143"/>
                        <a:gd name="connsiteY4" fmla="*/ 2863780 h 3623841"/>
                        <a:gd name="connsiteX5" fmla="*/ 864159 w 2114143"/>
                        <a:gd name="connsiteY5" fmla="*/ 3275763 h 3623841"/>
                        <a:gd name="connsiteX6" fmla="*/ 0 w 2114143"/>
                        <a:gd name="connsiteY6" fmla="*/ 3516923 h 3623841"/>
                        <a:gd name="connsiteX7" fmla="*/ 135654 w 2114143"/>
                        <a:gd name="connsiteY7" fmla="*/ 3215473 h 3623841"/>
                        <a:gd name="connsiteX8" fmla="*/ 567733 w 2114143"/>
                        <a:gd name="connsiteY8" fmla="*/ 3094893 h 3623841"/>
                        <a:gd name="connsiteX9" fmla="*/ 291403 w 2114143"/>
                        <a:gd name="connsiteY9" fmla="*/ 1170633 h 3623841"/>
                        <a:gd name="connsiteX0" fmla="*/ 291403 w 2209251"/>
                        <a:gd name="connsiteY0" fmla="*/ 1170633 h 3623841"/>
                        <a:gd name="connsiteX1" fmla="*/ 532565 w 2209251"/>
                        <a:gd name="connsiteY1" fmla="*/ 0 h 3623841"/>
                        <a:gd name="connsiteX2" fmla="*/ 2054889 w 2209251"/>
                        <a:gd name="connsiteY2" fmla="*/ 1381647 h 3623841"/>
                        <a:gd name="connsiteX3" fmla="*/ 1919238 w 2209251"/>
                        <a:gd name="connsiteY3" fmla="*/ 2235758 h 3623841"/>
                        <a:gd name="connsiteX4" fmla="*/ 1436916 w 2209251"/>
                        <a:gd name="connsiteY4" fmla="*/ 2863780 h 3623841"/>
                        <a:gd name="connsiteX5" fmla="*/ 864159 w 2209251"/>
                        <a:gd name="connsiteY5" fmla="*/ 3275763 h 3623841"/>
                        <a:gd name="connsiteX6" fmla="*/ 0 w 2209251"/>
                        <a:gd name="connsiteY6" fmla="*/ 3516923 h 3623841"/>
                        <a:gd name="connsiteX7" fmla="*/ 135654 w 2209251"/>
                        <a:gd name="connsiteY7" fmla="*/ 3215473 h 3623841"/>
                        <a:gd name="connsiteX8" fmla="*/ 567733 w 2209251"/>
                        <a:gd name="connsiteY8" fmla="*/ 3094893 h 3623841"/>
                        <a:gd name="connsiteX9" fmla="*/ 291403 w 2209251"/>
                        <a:gd name="connsiteY9" fmla="*/ 1170633 h 3623841"/>
                        <a:gd name="connsiteX0" fmla="*/ 291403 w 2215920"/>
                        <a:gd name="connsiteY0" fmla="*/ 1170633 h 3623841"/>
                        <a:gd name="connsiteX1" fmla="*/ 532565 w 2215920"/>
                        <a:gd name="connsiteY1" fmla="*/ 0 h 3623841"/>
                        <a:gd name="connsiteX2" fmla="*/ 2054889 w 2215920"/>
                        <a:gd name="connsiteY2" fmla="*/ 1381647 h 3623841"/>
                        <a:gd name="connsiteX3" fmla="*/ 1919238 w 2215920"/>
                        <a:gd name="connsiteY3" fmla="*/ 2235758 h 3623841"/>
                        <a:gd name="connsiteX4" fmla="*/ 1436916 w 2215920"/>
                        <a:gd name="connsiteY4" fmla="*/ 2863780 h 3623841"/>
                        <a:gd name="connsiteX5" fmla="*/ 864159 w 2215920"/>
                        <a:gd name="connsiteY5" fmla="*/ 3275763 h 3623841"/>
                        <a:gd name="connsiteX6" fmla="*/ 0 w 2215920"/>
                        <a:gd name="connsiteY6" fmla="*/ 3516923 h 3623841"/>
                        <a:gd name="connsiteX7" fmla="*/ 135654 w 2215920"/>
                        <a:gd name="connsiteY7" fmla="*/ 3215473 h 3623841"/>
                        <a:gd name="connsiteX8" fmla="*/ 567733 w 2215920"/>
                        <a:gd name="connsiteY8" fmla="*/ 3094893 h 3623841"/>
                        <a:gd name="connsiteX9" fmla="*/ 291403 w 2215920"/>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91403 w 2219964"/>
                        <a:gd name="connsiteY0" fmla="*/ 1170633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91403 w 2219964"/>
                        <a:gd name="connsiteY9" fmla="*/ 1170633 h 3623841"/>
                        <a:gd name="connsiteX0" fmla="*/ 211016 w 2219964"/>
                        <a:gd name="connsiteY0" fmla="*/ 120580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11016 w 2219964"/>
                        <a:gd name="connsiteY9" fmla="*/ 120580 h 3623841"/>
                        <a:gd name="connsiteX0" fmla="*/ 211016 w 2219964"/>
                        <a:gd name="connsiteY0" fmla="*/ 120580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11016 w 2219964"/>
                        <a:gd name="connsiteY9" fmla="*/ 120580 h 3623841"/>
                        <a:gd name="connsiteX0" fmla="*/ 211016 w 2219964"/>
                        <a:gd name="connsiteY0" fmla="*/ 120580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11016 w 2219964"/>
                        <a:gd name="connsiteY9" fmla="*/ 120580 h 3623841"/>
                        <a:gd name="connsiteX0" fmla="*/ 211016 w 2219964"/>
                        <a:gd name="connsiteY0" fmla="*/ 120580 h 3623841"/>
                        <a:gd name="connsiteX1" fmla="*/ 532565 w 2219964"/>
                        <a:gd name="connsiteY1" fmla="*/ 0 h 3623841"/>
                        <a:gd name="connsiteX2" fmla="*/ 2054889 w 2219964"/>
                        <a:gd name="connsiteY2" fmla="*/ 1381647 h 3623841"/>
                        <a:gd name="connsiteX3" fmla="*/ 1919238 w 2219964"/>
                        <a:gd name="connsiteY3" fmla="*/ 2235758 h 3623841"/>
                        <a:gd name="connsiteX4" fmla="*/ 1436916 w 2219964"/>
                        <a:gd name="connsiteY4" fmla="*/ 2863780 h 3623841"/>
                        <a:gd name="connsiteX5" fmla="*/ 864159 w 2219964"/>
                        <a:gd name="connsiteY5" fmla="*/ 3275763 h 3623841"/>
                        <a:gd name="connsiteX6" fmla="*/ 0 w 2219964"/>
                        <a:gd name="connsiteY6" fmla="*/ 3516923 h 3623841"/>
                        <a:gd name="connsiteX7" fmla="*/ 135654 w 2219964"/>
                        <a:gd name="connsiteY7" fmla="*/ 3215473 h 3623841"/>
                        <a:gd name="connsiteX8" fmla="*/ 567733 w 2219964"/>
                        <a:gd name="connsiteY8" fmla="*/ 3094893 h 3623841"/>
                        <a:gd name="connsiteX9" fmla="*/ 211016 w 2219964"/>
                        <a:gd name="connsiteY9" fmla="*/ 120580 h 3623841"/>
                        <a:gd name="connsiteX0" fmla="*/ 211016 w 2219964"/>
                        <a:gd name="connsiteY0" fmla="*/ 138966 h 3642227"/>
                        <a:gd name="connsiteX1" fmla="*/ 532565 w 2219964"/>
                        <a:gd name="connsiteY1" fmla="*/ 18386 h 3642227"/>
                        <a:gd name="connsiteX2" fmla="*/ 2054889 w 2219964"/>
                        <a:gd name="connsiteY2" fmla="*/ 1400033 h 3642227"/>
                        <a:gd name="connsiteX3" fmla="*/ 1919238 w 2219964"/>
                        <a:gd name="connsiteY3" fmla="*/ 2254144 h 3642227"/>
                        <a:gd name="connsiteX4" fmla="*/ 1436916 w 2219964"/>
                        <a:gd name="connsiteY4" fmla="*/ 2882166 h 3642227"/>
                        <a:gd name="connsiteX5" fmla="*/ 864159 w 2219964"/>
                        <a:gd name="connsiteY5" fmla="*/ 3294149 h 3642227"/>
                        <a:gd name="connsiteX6" fmla="*/ 0 w 2219964"/>
                        <a:gd name="connsiteY6" fmla="*/ 3535309 h 3642227"/>
                        <a:gd name="connsiteX7" fmla="*/ 135654 w 2219964"/>
                        <a:gd name="connsiteY7" fmla="*/ 3233859 h 3642227"/>
                        <a:gd name="connsiteX8" fmla="*/ 567733 w 2219964"/>
                        <a:gd name="connsiteY8" fmla="*/ 3113279 h 3642227"/>
                        <a:gd name="connsiteX9" fmla="*/ 211016 w 2219964"/>
                        <a:gd name="connsiteY9" fmla="*/ 138966 h 3642227"/>
                        <a:gd name="connsiteX0" fmla="*/ 211016 w 2219964"/>
                        <a:gd name="connsiteY0" fmla="*/ 134584 h 3637845"/>
                        <a:gd name="connsiteX1" fmla="*/ 532565 w 2219964"/>
                        <a:gd name="connsiteY1" fmla="*/ 14004 h 3637845"/>
                        <a:gd name="connsiteX2" fmla="*/ 2054889 w 2219964"/>
                        <a:gd name="connsiteY2" fmla="*/ 1395651 h 3637845"/>
                        <a:gd name="connsiteX3" fmla="*/ 1919238 w 2219964"/>
                        <a:gd name="connsiteY3" fmla="*/ 2249762 h 3637845"/>
                        <a:gd name="connsiteX4" fmla="*/ 1436916 w 2219964"/>
                        <a:gd name="connsiteY4" fmla="*/ 2877784 h 3637845"/>
                        <a:gd name="connsiteX5" fmla="*/ 864159 w 2219964"/>
                        <a:gd name="connsiteY5" fmla="*/ 3289767 h 3637845"/>
                        <a:gd name="connsiteX6" fmla="*/ 0 w 2219964"/>
                        <a:gd name="connsiteY6" fmla="*/ 3530927 h 3637845"/>
                        <a:gd name="connsiteX7" fmla="*/ 135654 w 2219964"/>
                        <a:gd name="connsiteY7" fmla="*/ 3229477 h 3637845"/>
                        <a:gd name="connsiteX8" fmla="*/ 567733 w 2219964"/>
                        <a:gd name="connsiteY8" fmla="*/ 3108897 h 3637845"/>
                        <a:gd name="connsiteX9" fmla="*/ 211016 w 2219964"/>
                        <a:gd name="connsiteY9" fmla="*/ 134584 h 3637845"/>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211016 w 2219964"/>
                        <a:gd name="connsiteY9"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386864 w 2219964"/>
                        <a:gd name="connsiteY9" fmla="*/ 1692616 h 3628333"/>
                        <a:gd name="connsiteX10" fmla="*/ 211016 w 2219964"/>
                        <a:gd name="connsiteY10"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58464 w 2219964"/>
                        <a:gd name="connsiteY9" fmla="*/ 1531842 h 3628333"/>
                        <a:gd name="connsiteX10" fmla="*/ 211016 w 2219964"/>
                        <a:gd name="connsiteY10"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421844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48416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48416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48416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748416 w 2219964"/>
                        <a:gd name="connsiteY9" fmla="*/ 1958897 h 3628333"/>
                        <a:gd name="connsiteX10" fmla="*/ 1758464 w 2219964"/>
                        <a:gd name="connsiteY10" fmla="*/ 1531842 h 3628333"/>
                        <a:gd name="connsiteX11" fmla="*/ 211016 w 2219964"/>
                        <a:gd name="connsiteY1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306288 w 2219964"/>
                        <a:gd name="connsiteY9" fmla="*/ 2380928 h 3628333"/>
                        <a:gd name="connsiteX10" fmla="*/ 1748416 w 2219964"/>
                        <a:gd name="connsiteY10" fmla="*/ 1958897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748416 w 2219964"/>
                        <a:gd name="connsiteY10" fmla="*/ 1958897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758464 w 2219964"/>
                        <a:gd name="connsiteY11" fmla="*/ 153184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5224 w 2219964"/>
                        <a:gd name="connsiteY9" fmla="*/ 1501697 h 3628333"/>
                        <a:gd name="connsiteX10" fmla="*/ 1607739 w 2219964"/>
                        <a:gd name="connsiteY10" fmla="*/ 1873486 h 3628333"/>
                        <a:gd name="connsiteX11" fmla="*/ 1808706 w 2219964"/>
                        <a:gd name="connsiteY11" fmla="*/ 1592132 h 3628333"/>
                        <a:gd name="connsiteX12" fmla="*/ 211016 w 2219964"/>
                        <a:gd name="connsiteY12"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813919 w 2219964"/>
                        <a:gd name="connsiteY9" fmla="*/ 2325662 h 3628333"/>
                        <a:gd name="connsiteX10" fmla="*/ 1085224 w 2219964"/>
                        <a:gd name="connsiteY10" fmla="*/ 1501697 h 3628333"/>
                        <a:gd name="connsiteX11" fmla="*/ 1607739 w 2219964"/>
                        <a:gd name="connsiteY11" fmla="*/ 1873486 h 3628333"/>
                        <a:gd name="connsiteX12" fmla="*/ 1808706 w 2219964"/>
                        <a:gd name="connsiteY12" fmla="*/ 1592132 h 3628333"/>
                        <a:gd name="connsiteX13" fmla="*/ 211016 w 2219964"/>
                        <a:gd name="connsiteY13"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1085224 w 2219964"/>
                        <a:gd name="connsiteY10" fmla="*/ 1501697 h 3628333"/>
                        <a:gd name="connsiteX11" fmla="*/ 1607739 w 2219964"/>
                        <a:gd name="connsiteY11" fmla="*/ 1873486 h 3628333"/>
                        <a:gd name="connsiteX12" fmla="*/ 1808706 w 2219964"/>
                        <a:gd name="connsiteY12" fmla="*/ 1592132 h 3628333"/>
                        <a:gd name="connsiteX13" fmla="*/ 211016 w 2219964"/>
                        <a:gd name="connsiteY13"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813919 w 2219964"/>
                        <a:gd name="connsiteY10" fmla="*/ 1883535 h 3628333"/>
                        <a:gd name="connsiteX11" fmla="*/ 1085224 w 2219964"/>
                        <a:gd name="connsiteY11" fmla="*/ 1501697 h 3628333"/>
                        <a:gd name="connsiteX12" fmla="*/ 1607739 w 2219964"/>
                        <a:gd name="connsiteY12" fmla="*/ 1873486 h 3628333"/>
                        <a:gd name="connsiteX13" fmla="*/ 1808706 w 2219964"/>
                        <a:gd name="connsiteY13" fmla="*/ 1592132 h 3628333"/>
                        <a:gd name="connsiteX14" fmla="*/ 211016 w 2219964"/>
                        <a:gd name="connsiteY14"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944547 w 2219964"/>
                        <a:gd name="connsiteY10" fmla="*/ 1767979 h 3628333"/>
                        <a:gd name="connsiteX11" fmla="*/ 1085224 w 2219964"/>
                        <a:gd name="connsiteY11" fmla="*/ 1501697 h 3628333"/>
                        <a:gd name="connsiteX12" fmla="*/ 1607739 w 2219964"/>
                        <a:gd name="connsiteY12" fmla="*/ 1873486 h 3628333"/>
                        <a:gd name="connsiteX13" fmla="*/ 1808706 w 2219964"/>
                        <a:gd name="connsiteY13" fmla="*/ 1592132 h 3628333"/>
                        <a:gd name="connsiteX14" fmla="*/ 211016 w 2219964"/>
                        <a:gd name="connsiteY14"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73725 w 2219964"/>
                        <a:gd name="connsiteY10" fmla="*/ 2009139 h 3628333"/>
                        <a:gd name="connsiteX11" fmla="*/ 944547 w 2219964"/>
                        <a:gd name="connsiteY11" fmla="*/ 1767979 h 3628333"/>
                        <a:gd name="connsiteX12" fmla="*/ 1085224 w 2219964"/>
                        <a:gd name="connsiteY12" fmla="*/ 1501697 h 3628333"/>
                        <a:gd name="connsiteX13" fmla="*/ 1607739 w 2219964"/>
                        <a:gd name="connsiteY13" fmla="*/ 1873486 h 3628333"/>
                        <a:gd name="connsiteX14" fmla="*/ 1808706 w 2219964"/>
                        <a:gd name="connsiteY14" fmla="*/ 1592132 h 3628333"/>
                        <a:gd name="connsiteX15" fmla="*/ 211016 w 2219964"/>
                        <a:gd name="connsiteY15"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944547 w 2219964"/>
                        <a:gd name="connsiteY11" fmla="*/ 1767979 h 3628333"/>
                        <a:gd name="connsiteX12" fmla="*/ 1085224 w 2219964"/>
                        <a:gd name="connsiteY12" fmla="*/ 1501697 h 3628333"/>
                        <a:gd name="connsiteX13" fmla="*/ 1607739 w 2219964"/>
                        <a:gd name="connsiteY13" fmla="*/ 1873486 h 3628333"/>
                        <a:gd name="connsiteX14" fmla="*/ 1808706 w 2219964"/>
                        <a:gd name="connsiteY14" fmla="*/ 1592132 h 3628333"/>
                        <a:gd name="connsiteX15" fmla="*/ 211016 w 2219964"/>
                        <a:gd name="connsiteY15"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944547 w 2219964"/>
                        <a:gd name="connsiteY11" fmla="*/ 1767979 h 3628333"/>
                        <a:gd name="connsiteX12" fmla="*/ 1085224 w 2219964"/>
                        <a:gd name="connsiteY12" fmla="*/ 1501697 h 3628333"/>
                        <a:gd name="connsiteX13" fmla="*/ 1607739 w 2219964"/>
                        <a:gd name="connsiteY13" fmla="*/ 1873486 h 3628333"/>
                        <a:gd name="connsiteX14" fmla="*/ 1808706 w 2219964"/>
                        <a:gd name="connsiteY14" fmla="*/ 1592132 h 3628333"/>
                        <a:gd name="connsiteX15" fmla="*/ 211016 w 2219964"/>
                        <a:gd name="connsiteY15"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090248 w 2219964"/>
                        <a:gd name="connsiteY11" fmla="*/ 2024212 h 3628333"/>
                        <a:gd name="connsiteX12" fmla="*/ 944547 w 2219964"/>
                        <a:gd name="connsiteY12" fmla="*/ 1767979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44547 w 2219964"/>
                        <a:gd name="connsiteY12" fmla="*/ 1767979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84741 w 2219964"/>
                        <a:gd name="connsiteY12" fmla="*/ 1783052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84741 w 2219964"/>
                        <a:gd name="connsiteY12" fmla="*/ 1783052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84741 w 2219964"/>
                        <a:gd name="connsiteY12" fmla="*/ 1783052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577593 w 2219964"/>
                        <a:gd name="connsiteY11" fmla="*/ 2280445 h 3628333"/>
                        <a:gd name="connsiteX12" fmla="*/ 929475 w 2219964"/>
                        <a:gd name="connsiteY12" fmla="*/ 1762955 h 3628333"/>
                        <a:gd name="connsiteX13" fmla="*/ 1085224 w 2219964"/>
                        <a:gd name="connsiteY13" fmla="*/ 1501697 h 3628333"/>
                        <a:gd name="connsiteX14" fmla="*/ 1607739 w 2219964"/>
                        <a:gd name="connsiteY14" fmla="*/ 1873486 h 3628333"/>
                        <a:gd name="connsiteX15" fmla="*/ 1808706 w 2219964"/>
                        <a:gd name="connsiteY15" fmla="*/ 1592132 h 3628333"/>
                        <a:gd name="connsiteX16" fmla="*/ 211016 w 2219964"/>
                        <a:gd name="connsiteY16"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245998 w 2219964"/>
                        <a:gd name="connsiteY11" fmla="*/ 2190010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65372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90493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90493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567735 w 2219964"/>
                        <a:gd name="connsiteY9" fmla="*/ 2290493 h 3628333"/>
                        <a:gd name="connsiteX10" fmla="*/ 763677 w 2219964"/>
                        <a:gd name="connsiteY10" fmla="*/ 2049333 h 3628333"/>
                        <a:gd name="connsiteX11" fmla="*/ 1381651 w 2219964"/>
                        <a:gd name="connsiteY11" fmla="*/ 2521605 h 3628333"/>
                        <a:gd name="connsiteX12" fmla="*/ 1577593 w 2219964"/>
                        <a:gd name="connsiteY12" fmla="*/ 2280445 h 3628333"/>
                        <a:gd name="connsiteX13" fmla="*/ 929475 w 2219964"/>
                        <a:gd name="connsiteY13" fmla="*/ 1762955 h 3628333"/>
                        <a:gd name="connsiteX14" fmla="*/ 1085224 w 2219964"/>
                        <a:gd name="connsiteY14" fmla="*/ 1501697 h 3628333"/>
                        <a:gd name="connsiteX15" fmla="*/ 1607739 w 2219964"/>
                        <a:gd name="connsiteY15" fmla="*/ 1873486 h 3628333"/>
                        <a:gd name="connsiteX16" fmla="*/ 1808706 w 2219964"/>
                        <a:gd name="connsiteY16" fmla="*/ 1592132 h 3628333"/>
                        <a:gd name="connsiteX17" fmla="*/ 211016 w 2219964"/>
                        <a:gd name="connsiteY17"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713435 w 2219964"/>
                        <a:gd name="connsiteY9" fmla="*/ 2692427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70151 w 2219964"/>
                        <a:gd name="connsiteY9" fmla="*/ 2727597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70151 w 2219964"/>
                        <a:gd name="connsiteY9" fmla="*/ 2727597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70151 w 2219964"/>
                        <a:gd name="connsiteY9" fmla="*/ 2727597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50054 w 2219964"/>
                        <a:gd name="connsiteY9" fmla="*/ 2692428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0199 w 2219964"/>
                        <a:gd name="connsiteY9" fmla="*/ 2702476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0199 w 2219964"/>
                        <a:gd name="connsiteY9" fmla="*/ 2702476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080199 w 2219964"/>
                        <a:gd name="connsiteY9" fmla="*/ 2702476 h 3628333"/>
                        <a:gd name="connsiteX10" fmla="*/ 567735 w 2219964"/>
                        <a:gd name="connsiteY10" fmla="*/ 2290493 h 3628333"/>
                        <a:gd name="connsiteX11" fmla="*/ 763677 w 2219964"/>
                        <a:gd name="connsiteY11" fmla="*/ 2049333 h 3628333"/>
                        <a:gd name="connsiteX12" fmla="*/ 1381651 w 2219964"/>
                        <a:gd name="connsiteY12" fmla="*/ 2521605 h 3628333"/>
                        <a:gd name="connsiteX13" fmla="*/ 1577593 w 2219964"/>
                        <a:gd name="connsiteY13" fmla="*/ 2280445 h 3628333"/>
                        <a:gd name="connsiteX14" fmla="*/ 929475 w 2219964"/>
                        <a:gd name="connsiteY14" fmla="*/ 1762955 h 3628333"/>
                        <a:gd name="connsiteX15" fmla="*/ 1085224 w 2219964"/>
                        <a:gd name="connsiteY15" fmla="*/ 1501697 h 3628333"/>
                        <a:gd name="connsiteX16" fmla="*/ 1607739 w 2219964"/>
                        <a:gd name="connsiteY16" fmla="*/ 1873486 h 3628333"/>
                        <a:gd name="connsiteX17" fmla="*/ 1808706 w 2219964"/>
                        <a:gd name="connsiteY17" fmla="*/ 1592132 h 3628333"/>
                        <a:gd name="connsiteX18" fmla="*/ 211016 w 2219964"/>
                        <a:gd name="connsiteY18"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874209 w 2219964"/>
                        <a:gd name="connsiteY9" fmla="*/ 2988853 h 3628333"/>
                        <a:gd name="connsiteX10" fmla="*/ 1080199 w 2219964"/>
                        <a:gd name="connsiteY10" fmla="*/ 2702476 h 3628333"/>
                        <a:gd name="connsiteX11" fmla="*/ 567735 w 2219964"/>
                        <a:gd name="connsiteY11" fmla="*/ 2290493 h 3628333"/>
                        <a:gd name="connsiteX12" fmla="*/ 763677 w 2219964"/>
                        <a:gd name="connsiteY12" fmla="*/ 2049333 h 3628333"/>
                        <a:gd name="connsiteX13" fmla="*/ 1381651 w 2219964"/>
                        <a:gd name="connsiteY13" fmla="*/ 2521605 h 3628333"/>
                        <a:gd name="connsiteX14" fmla="*/ 1577593 w 2219964"/>
                        <a:gd name="connsiteY14" fmla="*/ 2280445 h 3628333"/>
                        <a:gd name="connsiteX15" fmla="*/ 929475 w 2219964"/>
                        <a:gd name="connsiteY15" fmla="*/ 1762955 h 3628333"/>
                        <a:gd name="connsiteX16" fmla="*/ 1085224 w 2219964"/>
                        <a:gd name="connsiteY16" fmla="*/ 1501697 h 3628333"/>
                        <a:gd name="connsiteX17" fmla="*/ 1607739 w 2219964"/>
                        <a:gd name="connsiteY17" fmla="*/ 1873486 h 3628333"/>
                        <a:gd name="connsiteX18" fmla="*/ 1808706 w 2219964"/>
                        <a:gd name="connsiteY18" fmla="*/ 1592132 h 3628333"/>
                        <a:gd name="connsiteX19" fmla="*/ 211016 w 2219964"/>
                        <a:gd name="connsiteY19"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316525 w 2219964"/>
                        <a:gd name="connsiteY9" fmla="*/ 2506532 h 3628333"/>
                        <a:gd name="connsiteX10" fmla="*/ 1080199 w 2219964"/>
                        <a:gd name="connsiteY10" fmla="*/ 2702476 h 3628333"/>
                        <a:gd name="connsiteX11" fmla="*/ 567735 w 2219964"/>
                        <a:gd name="connsiteY11" fmla="*/ 2290493 h 3628333"/>
                        <a:gd name="connsiteX12" fmla="*/ 763677 w 2219964"/>
                        <a:gd name="connsiteY12" fmla="*/ 2049333 h 3628333"/>
                        <a:gd name="connsiteX13" fmla="*/ 1381651 w 2219964"/>
                        <a:gd name="connsiteY13" fmla="*/ 2521605 h 3628333"/>
                        <a:gd name="connsiteX14" fmla="*/ 1577593 w 2219964"/>
                        <a:gd name="connsiteY14" fmla="*/ 2280445 h 3628333"/>
                        <a:gd name="connsiteX15" fmla="*/ 929475 w 2219964"/>
                        <a:gd name="connsiteY15" fmla="*/ 1762955 h 3628333"/>
                        <a:gd name="connsiteX16" fmla="*/ 1085224 w 2219964"/>
                        <a:gd name="connsiteY16" fmla="*/ 1501697 h 3628333"/>
                        <a:gd name="connsiteX17" fmla="*/ 1607739 w 2219964"/>
                        <a:gd name="connsiteY17" fmla="*/ 1873486 h 3628333"/>
                        <a:gd name="connsiteX18" fmla="*/ 1808706 w 2219964"/>
                        <a:gd name="connsiteY18" fmla="*/ 1592132 h 3628333"/>
                        <a:gd name="connsiteX19" fmla="*/ 211016 w 2219964"/>
                        <a:gd name="connsiteY19"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371791 w 2219964"/>
                        <a:gd name="connsiteY9" fmla="*/ 2687403 h 3628333"/>
                        <a:gd name="connsiteX10" fmla="*/ 316525 w 2219964"/>
                        <a:gd name="connsiteY10" fmla="*/ 2506532 h 3628333"/>
                        <a:gd name="connsiteX11" fmla="*/ 1080199 w 2219964"/>
                        <a:gd name="connsiteY11" fmla="*/ 2702476 h 3628333"/>
                        <a:gd name="connsiteX12" fmla="*/ 567735 w 2219964"/>
                        <a:gd name="connsiteY12" fmla="*/ 2290493 h 3628333"/>
                        <a:gd name="connsiteX13" fmla="*/ 763677 w 2219964"/>
                        <a:gd name="connsiteY13" fmla="*/ 2049333 h 3628333"/>
                        <a:gd name="connsiteX14" fmla="*/ 1381651 w 2219964"/>
                        <a:gd name="connsiteY14" fmla="*/ 2521605 h 3628333"/>
                        <a:gd name="connsiteX15" fmla="*/ 1577593 w 2219964"/>
                        <a:gd name="connsiteY15" fmla="*/ 2280445 h 3628333"/>
                        <a:gd name="connsiteX16" fmla="*/ 929475 w 2219964"/>
                        <a:gd name="connsiteY16" fmla="*/ 1762955 h 3628333"/>
                        <a:gd name="connsiteX17" fmla="*/ 1085224 w 2219964"/>
                        <a:gd name="connsiteY17" fmla="*/ 1501697 h 3628333"/>
                        <a:gd name="connsiteX18" fmla="*/ 1607739 w 2219964"/>
                        <a:gd name="connsiteY18" fmla="*/ 1873486 h 3628333"/>
                        <a:gd name="connsiteX19" fmla="*/ 1808706 w 2219964"/>
                        <a:gd name="connsiteY19" fmla="*/ 1592132 h 3628333"/>
                        <a:gd name="connsiteX20" fmla="*/ 211016 w 2219964"/>
                        <a:gd name="connsiteY20"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1080199 w 2219964"/>
                        <a:gd name="connsiteY11" fmla="*/ 2702476 h 3628333"/>
                        <a:gd name="connsiteX12" fmla="*/ 567735 w 2219964"/>
                        <a:gd name="connsiteY12" fmla="*/ 2290493 h 3628333"/>
                        <a:gd name="connsiteX13" fmla="*/ 763677 w 2219964"/>
                        <a:gd name="connsiteY13" fmla="*/ 2049333 h 3628333"/>
                        <a:gd name="connsiteX14" fmla="*/ 1381651 w 2219964"/>
                        <a:gd name="connsiteY14" fmla="*/ 2521605 h 3628333"/>
                        <a:gd name="connsiteX15" fmla="*/ 1577593 w 2219964"/>
                        <a:gd name="connsiteY15" fmla="*/ 2280445 h 3628333"/>
                        <a:gd name="connsiteX16" fmla="*/ 929475 w 2219964"/>
                        <a:gd name="connsiteY16" fmla="*/ 1762955 h 3628333"/>
                        <a:gd name="connsiteX17" fmla="*/ 1085224 w 2219964"/>
                        <a:gd name="connsiteY17" fmla="*/ 1501697 h 3628333"/>
                        <a:gd name="connsiteX18" fmla="*/ 1607739 w 2219964"/>
                        <a:gd name="connsiteY18" fmla="*/ 1873486 h 3628333"/>
                        <a:gd name="connsiteX19" fmla="*/ 1808706 w 2219964"/>
                        <a:gd name="connsiteY19" fmla="*/ 1592132 h 3628333"/>
                        <a:gd name="connsiteX20" fmla="*/ 211016 w 2219964"/>
                        <a:gd name="connsiteY20"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768701 w 2219964"/>
                        <a:gd name="connsiteY11" fmla="*/ 2647210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16525 w 2219964"/>
                        <a:gd name="connsiteY10" fmla="*/ 2506532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21549 w 2219964"/>
                        <a:gd name="connsiteY10" fmla="*/ 2541701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21549 w 2219964"/>
                        <a:gd name="connsiteY10" fmla="*/ 2541701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21549 w 2219964"/>
                        <a:gd name="connsiteY10" fmla="*/ 2541701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67733 w 2219964"/>
                        <a:gd name="connsiteY8" fmla="*/ 3099385 h 3628333"/>
                        <a:gd name="connsiteX9" fmla="*/ 150727 w 2219964"/>
                        <a:gd name="connsiteY9" fmla="*/ 2752718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50727 w 2219964"/>
                        <a:gd name="connsiteY9" fmla="*/ 2752718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50727 w 2219964"/>
                        <a:gd name="connsiteY9" fmla="*/ 2752718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50727 w 2219964"/>
                        <a:gd name="connsiteY9" fmla="*/ 2752718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25606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25606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40679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40679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40679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 name="connsiteX0" fmla="*/ 211016 w 2219964"/>
                        <a:gd name="connsiteY0" fmla="*/ 125072 h 3628333"/>
                        <a:gd name="connsiteX1" fmla="*/ 532565 w 2219964"/>
                        <a:gd name="connsiteY1" fmla="*/ 4492 h 3628333"/>
                        <a:gd name="connsiteX2" fmla="*/ 2054889 w 2219964"/>
                        <a:gd name="connsiteY2" fmla="*/ 1386139 h 3628333"/>
                        <a:gd name="connsiteX3" fmla="*/ 1919238 w 2219964"/>
                        <a:gd name="connsiteY3" fmla="*/ 2240250 h 3628333"/>
                        <a:gd name="connsiteX4" fmla="*/ 1436916 w 2219964"/>
                        <a:gd name="connsiteY4" fmla="*/ 2868272 h 3628333"/>
                        <a:gd name="connsiteX5" fmla="*/ 864159 w 2219964"/>
                        <a:gd name="connsiteY5" fmla="*/ 3280255 h 3628333"/>
                        <a:gd name="connsiteX6" fmla="*/ 0 w 2219964"/>
                        <a:gd name="connsiteY6" fmla="*/ 3521415 h 3628333"/>
                        <a:gd name="connsiteX7" fmla="*/ 135654 w 2219964"/>
                        <a:gd name="connsiteY7" fmla="*/ 3219965 h 3628333"/>
                        <a:gd name="connsiteX8" fmla="*/ 552660 w 2219964"/>
                        <a:gd name="connsiteY8" fmla="*/ 3129530 h 3628333"/>
                        <a:gd name="connsiteX9" fmla="*/ 140679 w 2219964"/>
                        <a:gd name="connsiteY9" fmla="*/ 2757742 h 3628333"/>
                        <a:gd name="connsiteX10" fmla="*/ 326573 w 2219964"/>
                        <a:gd name="connsiteY10" fmla="*/ 2521604 h 3628333"/>
                        <a:gd name="connsiteX11" fmla="*/ 884257 w 2219964"/>
                        <a:gd name="connsiteY11" fmla="*/ 2938612 h 3628333"/>
                        <a:gd name="connsiteX12" fmla="*/ 1080199 w 2219964"/>
                        <a:gd name="connsiteY12" fmla="*/ 2702476 h 3628333"/>
                        <a:gd name="connsiteX13" fmla="*/ 567735 w 2219964"/>
                        <a:gd name="connsiteY13" fmla="*/ 2290493 h 3628333"/>
                        <a:gd name="connsiteX14" fmla="*/ 763677 w 2219964"/>
                        <a:gd name="connsiteY14" fmla="*/ 2049333 h 3628333"/>
                        <a:gd name="connsiteX15" fmla="*/ 1381651 w 2219964"/>
                        <a:gd name="connsiteY15" fmla="*/ 2521605 h 3628333"/>
                        <a:gd name="connsiteX16" fmla="*/ 1577593 w 2219964"/>
                        <a:gd name="connsiteY16" fmla="*/ 2280445 h 3628333"/>
                        <a:gd name="connsiteX17" fmla="*/ 929475 w 2219964"/>
                        <a:gd name="connsiteY17" fmla="*/ 1762955 h 3628333"/>
                        <a:gd name="connsiteX18" fmla="*/ 1085224 w 2219964"/>
                        <a:gd name="connsiteY18" fmla="*/ 1501697 h 3628333"/>
                        <a:gd name="connsiteX19" fmla="*/ 1607739 w 2219964"/>
                        <a:gd name="connsiteY19" fmla="*/ 1873486 h 3628333"/>
                        <a:gd name="connsiteX20" fmla="*/ 1808706 w 2219964"/>
                        <a:gd name="connsiteY20" fmla="*/ 1592132 h 3628333"/>
                        <a:gd name="connsiteX21" fmla="*/ 211016 w 2219964"/>
                        <a:gd name="connsiteY21" fmla="*/ 125072 h 362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19964" h="3628333">
                          <a:moveTo>
                            <a:pt x="211016" y="125072"/>
                          </a:moveTo>
                          <a:cubicBezTo>
                            <a:pt x="82063" y="-10581"/>
                            <a:pt x="415334" y="-5556"/>
                            <a:pt x="532565" y="4492"/>
                          </a:cubicBezTo>
                          <a:cubicBezTo>
                            <a:pt x="1316336" y="749744"/>
                            <a:pt x="1562521" y="897119"/>
                            <a:pt x="2054889" y="1386139"/>
                          </a:cubicBezTo>
                          <a:cubicBezTo>
                            <a:pt x="2436727" y="1853387"/>
                            <a:pt x="2054890" y="2184984"/>
                            <a:pt x="1919238" y="2240250"/>
                          </a:cubicBezTo>
                          <a:cubicBezTo>
                            <a:pt x="2013024" y="2829754"/>
                            <a:pt x="1574243" y="2861572"/>
                            <a:pt x="1436916" y="2868272"/>
                          </a:cubicBezTo>
                          <a:cubicBezTo>
                            <a:pt x="1318010" y="3369015"/>
                            <a:pt x="993113" y="3251785"/>
                            <a:pt x="864159" y="3280255"/>
                          </a:cubicBezTo>
                          <a:cubicBezTo>
                            <a:pt x="689988" y="3775973"/>
                            <a:pt x="128953" y="3628598"/>
                            <a:pt x="0" y="3521415"/>
                          </a:cubicBezTo>
                          <a:lnTo>
                            <a:pt x="135654" y="3219965"/>
                          </a:lnTo>
                          <a:cubicBezTo>
                            <a:pt x="480646" y="3471175"/>
                            <a:pt x="574432" y="3204892"/>
                            <a:pt x="552660" y="3129530"/>
                          </a:cubicBezTo>
                          <a:cubicBezTo>
                            <a:pt x="592016" y="3040770"/>
                            <a:pt x="242837" y="2901769"/>
                            <a:pt x="140679" y="2757742"/>
                          </a:cubicBezTo>
                          <a:cubicBezTo>
                            <a:pt x="38521" y="2658933"/>
                            <a:pt x="138167" y="2418609"/>
                            <a:pt x="326573" y="2521604"/>
                          </a:cubicBezTo>
                          <a:cubicBezTo>
                            <a:pt x="449666" y="2609527"/>
                            <a:pt x="756978" y="2905955"/>
                            <a:pt x="884257" y="2938612"/>
                          </a:cubicBezTo>
                          <a:cubicBezTo>
                            <a:pt x="1142164" y="3031559"/>
                            <a:pt x="1168959" y="2766953"/>
                            <a:pt x="1080199" y="2702476"/>
                          </a:cubicBezTo>
                          <a:cubicBezTo>
                            <a:pt x="874208" y="2507371"/>
                            <a:pt x="825642" y="2548400"/>
                            <a:pt x="567735" y="2290493"/>
                          </a:cubicBezTo>
                          <a:cubicBezTo>
                            <a:pt x="487348" y="2178287"/>
                            <a:pt x="542613" y="2005790"/>
                            <a:pt x="763677" y="2049333"/>
                          </a:cubicBezTo>
                          <a:cubicBezTo>
                            <a:pt x="886769" y="2122184"/>
                            <a:pt x="1245998" y="2483086"/>
                            <a:pt x="1381651" y="2521605"/>
                          </a:cubicBezTo>
                          <a:cubicBezTo>
                            <a:pt x="1602715" y="2665631"/>
                            <a:pt x="1710734" y="2346597"/>
                            <a:pt x="1577593" y="2280445"/>
                          </a:cubicBezTo>
                          <a:cubicBezTo>
                            <a:pt x="1524839" y="2209269"/>
                            <a:pt x="1025771" y="1855065"/>
                            <a:pt x="929475" y="1762955"/>
                          </a:cubicBezTo>
                          <a:cubicBezTo>
                            <a:pt x="767027" y="1603855"/>
                            <a:pt x="966319" y="1414611"/>
                            <a:pt x="1085224" y="1501697"/>
                          </a:cubicBezTo>
                          <a:lnTo>
                            <a:pt x="1607739" y="1873486"/>
                          </a:lnTo>
                          <a:cubicBezTo>
                            <a:pt x="1847224" y="2077801"/>
                            <a:pt x="2001300" y="1724436"/>
                            <a:pt x="1808706" y="1592132"/>
                          </a:cubicBezTo>
                          <a:lnTo>
                            <a:pt x="211016" y="125072"/>
                          </a:lnTo>
                          <a:close/>
                        </a:path>
                      </a:pathLst>
                    </a:custGeom>
                    <a:grpFill/>
                    <a:ln w="12700" cap="flat" cmpd="sng" algn="ctr">
                      <a:noFill/>
                      <a:prstDash val="solid"/>
                      <a:miter lim="800000"/>
                    </a:ln>
                    <a:effectLst/>
                  </p:spPr>
                  <p:txBody>
                    <a:bodyPr rtlCol="0" anchor="ctr"/>
                    <a:lstStyle/>
                    <a:p>
                      <a:pPr algn="ctr" defTabSz="685800">
                        <a:defRPr/>
                      </a:pPr>
                      <a:endParaRPr lang="en-US" sz="1350" kern="0">
                        <a:solidFill>
                          <a:prstClr val="white"/>
                        </a:solidFill>
                        <a:latin typeface="Arial"/>
                      </a:endParaRPr>
                    </a:p>
                  </p:txBody>
                </p:sp>
              </p:grpSp>
            </p:grpSp>
            <p:grpSp>
              <p:nvGrpSpPr>
                <p:cNvPr id="15" name="Group 60"/>
                <p:cNvGrpSpPr/>
                <p:nvPr/>
              </p:nvGrpSpPr>
              <p:grpSpPr>
                <a:xfrm>
                  <a:off x="4658711" y="4545899"/>
                  <a:ext cx="1162896" cy="1333985"/>
                  <a:chOff x="4658711" y="4545899"/>
                  <a:chExt cx="1162896" cy="1333985"/>
                </a:xfrm>
              </p:grpSpPr>
              <p:sp>
                <p:nvSpPr>
                  <p:cNvPr id="43" name="Hexagon 20"/>
                  <p:cNvSpPr/>
                  <p:nvPr/>
                </p:nvSpPr>
                <p:spPr>
                  <a:xfrm rot="5400000">
                    <a:off x="4573166" y="4631444"/>
                    <a:ext cx="1333985" cy="1162896"/>
                  </a:xfrm>
                  <a:prstGeom prst="hexagon">
                    <a:avLst>
                      <a:gd name="adj" fmla="val 28638"/>
                      <a:gd name="vf" fmla="val 115470"/>
                    </a:avLst>
                  </a:prstGeom>
                  <a:solidFill>
                    <a:srgbClr val="470A6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sp>
                <p:nvSpPr>
                  <p:cNvPr id="44" name="Freeform 35"/>
                  <p:cNvSpPr/>
                  <p:nvPr/>
                </p:nvSpPr>
                <p:spPr>
                  <a:xfrm>
                    <a:off x="5070390" y="4968063"/>
                    <a:ext cx="339537" cy="489658"/>
                  </a:xfrm>
                  <a:custGeom>
                    <a:avLst/>
                    <a:gdLst>
                      <a:gd name="connsiteX0" fmla="*/ 429428 w 560646"/>
                      <a:gd name="connsiteY0" fmla="*/ 703064 h 816614"/>
                      <a:gd name="connsiteX1" fmla="*/ 429494 w 560646"/>
                      <a:gd name="connsiteY1" fmla="*/ 767268 h 816614"/>
                      <a:gd name="connsiteX2" fmla="*/ 353936 w 560646"/>
                      <a:gd name="connsiteY2" fmla="*/ 767163 h 816614"/>
                      <a:gd name="connsiteX3" fmla="*/ 353936 w 560646"/>
                      <a:gd name="connsiteY3" fmla="*/ 777446 h 816614"/>
                      <a:gd name="connsiteX4" fmla="*/ 314768 w 560646"/>
                      <a:gd name="connsiteY4" fmla="*/ 816614 h 816614"/>
                      <a:gd name="connsiteX5" fmla="*/ 252826 w 560646"/>
                      <a:gd name="connsiteY5" fmla="*/ 816614 h 816614"/>
                      <a:gd name="connsiteX6" fmla="*/ 213658 w 560646"/>
                      <a:gd name="connsiteY6" fmla="*/ 777446 h 816614"/>
                      <a:gd name="connsiteX7" fmla="*/ 213658 w 560646"/>
                      <a:gd name="connsiteY7" fmla="*/ 766967 h 816614"/>
                      <a:gd name="connsiteX8" fmla="*/ 139427 w 560646"/>
                      <a:gd name="connsiteY8" fmla="*/ 766863 h 816614"/>
                      <a:gd name="connsiteX9" fmla="*/ 139070 w 560646"/>
                      <a:gd name="connsiteY9" fmla="*/ 743204 h 816614"/>
                      <a:gd name="connsiteX10" fmla="*/ 430826 w 560646"/>
                      <a:gd name="connsiteY10" fmla="*/ 638515 h 816614"/>
                      <a:gd name="connsiteX11" fmla="*/ 430892 w 560646"/>
                      <a:gd name="connsiteY11" fmla="*/ 686535 h 816614"/>
                      <a:gd name="connsiteX12" fmla="*/ 139071 w 560646"/>
                      <a:gd name="connsiteY12" fmla="*/ 719001 h 816614"/>
                      <a:gd name="connsiteX13" fmla="*/ 139071 w 560646"/>
                      <a:gd name="connsiteY13" fmla="*/ 667944 h 816614"/>
                      <a:gd name="connsiteX14" fmla="*/ 314447 w 560646"/>
                      <a:gd name="connsiteY14" fmla="*/ 78944 h 816614"/>
                      <a:gd name="connsiteX15" fmla="*/ 303179 w 560646"/>
                      <a:gd name="connsiteY15" fmla="*/ 105972 h 816614"/>
                      <a:gd name="connsiteX16" fmla="*/ 163313 w 560646"/>
                      <a:gd name="connsiteY16" fmla="*/ 172157 h 816614"/>
                      <a:gd name="connsiteX17" fmla="*/ 103640 w 560646"/>
                      <a:gd name="connsiteY17" fmla="*/ 302433 h 816614"/>
                      <a:gd name="connsiteX18" fmla="*/ 75512 w 560646"/>
                      <a:gd name="connsiteY18" fmla="*/ 303024 h 816614"/>
                      <a:gd name="connsiteX19" fmla="*/ 140194 w 560646"/>
                      <a:gd name="connsiteY19" fmla="*/ 147456 h 816614"/>
                      <a:gd name="connsiteX20" fmla="*/ 314447 w 560646"/>
                      <a:gd name="connsiteY20" fmla="*/ 78944 h 816614"/>
                      <a:gd name="connsiteX21" fmla="*/ 280323 w 560646"/>
                      <a:gd name="connsiteY21" fmla="*/ 42384 h 816614"/>
                      <a:gd name="connsiteX22" fmla="*/ 42384 w 560646"/>
                      <a:gd name="connsiteY22" fmla="*/ 280322 h 816614"/>
                      <a:gd name="connsiteX23" fmla="*/ 166908 w 560646"/>
                      <a:gd name="connsiteY23" fmla="*/ 489543 h 816614"/>
                      <a:gd name="connsiteX24" fmla="*/ 177566 w 560646"/>
                      <a:gd name="connsiteY24" fmla="*/ 494911 h 816614"/>
                      <a:gd name="connsiteX25" fmla="*/ 177634 w 560646"/>
                      <a:gd name="connsiteY25" fmla="*/ 584720 h 816614"/>
                      <a:gd name="connsiteX26" fmla="*/ 382925 w 560646"/>
                      <a:gd name="connsiteY26" fmla="*/ 584720 h 816614"/>
                      <a:gd name="connsiteX27" fmla="*/ 383081 w 560646"/>
                      <a:gd name="connsiteY27" fmla="*/ 494911 h 816614"/>
                      <a:gd name="connsiteX28" fmla="*/ 393739 w 560646"/>
                      <a:gd name="connsiteY28" fmla="*/ 489543 h 816614"/>
                      <a:gd name="connsiteX29" fmla="*/ 518262 w 560646"/>
                      <a:gd name="connsiteY29" fmla="*/ 280322 h 816614"/>
                      <a:gd name="connsiteX30" fmla="*/ 280323 w 560646"/>
                      <a:gd name="connsiteY30" fmla="*/ 42384 h 816614"/>
                      <a:gd name="connsiteX31" fmla="*/ 280323 w 560646"/>
                      <a:gd name="connsiteY31" fmla="*/ 0 h 816614"/>
                      <a:gd name="connsiteX32" fmla="*/ 560646 w 560646"/>
                      <a:gd name="connsiteY32" fmla="*/ 280322 h 816614"/>
                      <a:gd name="connsiteX33" fmla="*/ 458635 w 560646"/>
                      <a:gd name="connsiteY33" fmla="*/ 496633 h 816614"/>
                      <a:gd name="connsiteX34" fmla="*/ 430147 w 560646"/>
                      <a:gd name="connsiteY34" fmla="*/ 516887 h 816614"/>
                      <a:gd name="connsiteX35" fmla="*/ 430433 w 560646"/>
                      <a:gd name="connsiteY35" fmla="*/ 621818 h 816614"/>
                      <a:gd name="connsiteX36" fmla="*/ 137515 w 560646"/>
                      <a:gd name="connsiteY36" fmla="*/ 640883 h 816614"/>
                      <a:gd name="connsiteX37" fmla="*/ 137515 w 560646"/>
                      <a:gd name="connsiteY37" fmla="*/ 521367 h 816614"/>
                      <a:gd name="connsiteX38" fmla="*/ 134966 w 560646"/>
                      <a:gd name="connsiteY38" fmla="*/ 520062 h 816614"/>
                      <a:gd name="connsiteX39" fmla="*/ 0 w 560646"/>
                      <a:gd name="connsiteY39" fmla="*/ 280322 h 816614"/>
                      <a:gd name="connsiteX40" fmla="*/ 280323 w 560646"/>
                      <a:gd name="connsiteY40" fmla="*/ 0 h 81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60646" h="816614">
                        <a:moveTo>
                          <a:pt x="429428" y="703064"/>
                        </a:moveTo>
                        <a:cubicBezTo>
                          <a:pt x="429428" y="715532"/>
                          <a:pt x="429494" y="754799"/>
                          <a:pt x="429494" y="767268"/>
                        </a:cubicBezTo>
                        <a:lnTo>
                          <a:pt x="353936" y="767163"/>
                        </a:lnTo>
                        <a:lnTo>
                          <a:pt x="353936" y="777446"/>
                        </a:lnTo>
                        <a:cubicBezTo>
                          <a:pt x="353936" y="799078"/>
                          <a:pt x="336401" y="816614"/>
                          <a:pt x="314768" y="816614"/>
                        </a:cubicBezTo>
                        <a:lnTo>
                          <a:pt x="252826" y="816614"/>
                        </a:lnTo>
                        <a:cubicBezTo>
                          <a:pt x="231194" y="816614"/>
                          <a:pt x="213658" y="799078"/>
                          <a:pt x="213658" y="777446"/>
                        </a:cubicBezTo>
                        <a:lnTo>
                          <a:pt x="213658" y="766967"/>
                        </a:lnTo>
                        <a:lnTo>
                          <a:pt x="139427" y="766863"/>
                        </a:lnTo>
                        <a:cubicBezTo>
                          <a:pt x="139308" y="758977"/>
                          <a:pt x="139189" y="751090"/>
                          <a:pt x="139070" y="743204"/>
                        </a:cubicBezTo>
                        <a:close/>
                        <a:moveTo>
                          <a:pt x="430826" y="638515"/>
                        </a:moveTo>
                        <a:cubicBezTo>
                          <a:pt x="430826" y="650983"/>
                          <a:pt x="430892" y="674067"/>
                          <a:pt x="430892" y="686535"/>
                        </a:cubicBezTo>
                        <a:lnTo>
                          <a:pt x="139071" y="719001"/>
                        </a:lnTo>
                        <a:lnTo>
                          <a:pt x="139071" y="667944"/>
                        </a:lnTo>
                        <a:close/>
                        <a:moveTo>
                          <a:pt x="314447" y="78944"/>
                        </a:moveTo>
                        <a:cubicBezTo>
                          <a:pt x="337580" y="84984"/>
                          <a:pt x="321906" y="105539"/>
                          <a:pt x="303179" y="105972"/>
                        </a:cubicBezTo>
                        <a:cubicBezTo>
                          <a:pt x="259453" y="111873"/>
                          <a:pt x="198310" y="139936"/>
                          <a:pt x="163313" y="172157"/>
                        </a:cubicBezTo>
                        <a:cubicBezTo>
                          <a:pt x="128315" y="204378"/>
                          <a:pt x="112110" y="256392"/>
                          <a:pt x="103640" y="302433"/>
                        </a:cubicBezTo>
                        <a:cubicBezTo>
                          <a:pt x="100013" y="321990"/>
                          <a:pt x="76866" y="319702"/>
                          <a:pt x="75512" y="303024"/>
                        </a:cubicBezTo>
                        <a:cubicBezTo>
                          <a:pt x="74625" y="254490"/>
                          <a:pt x="102479" y="182781"/>
                          <a:pt x="140194" y="147456"/>
                        </a:cubicBezTo>
                        <a:cubicBezTo>
                          <a:pt x="193973" y="95726"/>
                          <a:pt x="274414" y="73778"/>
                          <a:pt x="314447" y="78944"/>
                        </a:cubicBezTo>
                        <a:close/>
                        <a:moveTo>
                          <a:pt x="280323" y="42384"/>
                        </a:moveTo>
                        <a:cubicBezTo>
                          <a:pt x="148913" y="42384"/>
                          <a:pt x="42384" y="148913"/>
                          <a:pt x="42384" y="280322"/>
                        </a:cubicBezTo>
                        <a:cubicBezTo>
                          <a:pt x="42384" y="370667"/>
                          <a:pt x="92736" y="449251"/>
                          <a:pt x="166908" y="489543"/>
                        </a:cubicBezTo>
                        <a:lnTo>
                          <a:pt x="177566" y="494911"/>
                        </a:lnTo>
                        <a:cubicBezTo>
                          <a:pt x="177427" y="524847"/>
                          <a:pt x="177773" y="554784"/>
                          <a:pt x="177634" y="584720"/>
                        </a:cubicBezTo>
                        <a:lnTo>
                          <a:pt x="382925" y="584720"/>
                        </a:lnTo>
                        <a:cubicBezTo>
                          <a:pt x="382815" y="554784"/>
                          <a:pt x="383191" y="524847"/>
                          <a:pt x="383081" y="494911"/>
                        </a:cubicBezTo>
                        <a:lnTo>
                          <a:pt x="393739" y="489543"/>
                        </a:lnTo>
                        <a:cubicBezTo>
                          <a:pt x="467910" y="449251"/>
                          <a:pt x="518262" y="370667"/>
                          <a:pt x="518262" y="280322"/>
                        </a:cubicBezTo>
                        <a:cubicBezTo>
                          <a:pt x="518262" y="148913"/>
                          <a:pt x="411733" y="42384"/>
                          <a:pt x="280323" y="42384"/>
                        </a:cubicBezTo>
                        <a:close/>
                        <a:moveTo>
                          <a:pt x="280323" y="0"/>
                        </a:moveTo>
                        <a:cubicBezTo>
                          <a:pt x="435142" y="0"/>
                          <a:pt x="560646" y="125505"/>
                          <a:pt x="560646" y="280322"/>
                        </a:cubicBezTo>
                        <a:cubicBezTo>
                          <a:pt x="560646" y="367408"/>
                          <a:pt x="520936" y="445218"/>
                          <a:pt x="458635" y="496633"/>
                        </a:cubicBezTo>
                        <a:lnTo>
                          <a:pt x="430147" y="516887"/>
                        </a:lnTo>
                        <a:cubicBezTo>
                          <a:pt x="429972" y="550358"/>
                          <a:pt x="430608" y="588348"/>
                          <a:pt x="430433" y="621818"/>
                        </a:cubicBezTo>
                        <a:lnTo>
                          <a:pt x="137515" y="640883"/>
                        </a:lnTo>
                        <a:lnTo>
                          <a:pt x="137515" y="521367"/>
                        </a:lnTo>
                        <a:lnTo>
                          <a:pt x="134966" y="520062"/>
                        </a:lnTo>
                        <a:cubicBezTo>
                          <a:pt x="54051" y="470897"/>
                          <a:pt x="0" y="381922"/>
                          <a:pt x="0" y="280322"/>
                        </a:cubicBezTo>
                        <a:cubicBezTo>
                          <a:pt x="0" y="125505"/>
                          <a:pt x="125506" y="0"/>
                          <a:pt x="280323" y="0"/>
                        </a:cubicBezTo>
                        <a:close/>
                      </a:path>
                    </a:pathLst>
                  </a:custGeom>
                  <a:solidFill>
                    <a:schemeClr val="bg1"/>
                  </a:solidFill>
                  <a:ln w="12700" cap="flat" cmpd="sng" algn="ctr">
                    <a:noFill/>
                    <a:prstDash val="solid"/>
                    <a:miter lim="800000"/>
                  </a:ln>
                  <a:effectLst/>
                </p:spPr>
                <p:txBody>
                  <a:bodyPr wrap="square" rtlCol="0" anchor="ctr">
                    <a:noAutofit/>
                  </a:bodyPr>
                  <a:lstStyle/>
                  <a:p>
                    <a:pPr algn="ctr" defTabSz="685800">
                      <a:defRPr/>
                    </a:pPr>
                    <a:endParaRPr lang="en-US" sz="1350" kern="0">
                      <a:solidFill>
                        <a:prstClr val="white"/>
                      </a:solidFill>
                      <a:latin typeface="Arial"/>
                    </a:endParaRPr>
                  </a:p>
                </p:txBody>
              </p:sp>
            </p:grpSp>
            <p:grpSp>
              <p:nvGrpSpPr>
                <p:cNvPr id="16" name="Group 57"/>
                <p:cNvGrpSpPr/>
                <p:nvPr/>
              </p:nvGrpSpPr>
              <p:grpSpPr>
                <a:xfrm>
                  <a:off x="4658711" y="2209800"/>
                  <a:ext cx="1162896" cy="1333985"/>
                  <a:chOff x="4658711" y="2209800"/>
                  <a:chExt cx="1162896" cy="1333985"/>
                </a:xfrm>
              </p:grpSpPr>
              <p:sp>
                <p:nvSpPr>
                  <p:cNvPr id="34" name="Hexagon 28"/>
                  <p:cNvSpPr/>
                  <p:nvPr/>
                </p:nvSpPr>
                <p:spPr>
                  <a:xfrm rot="5400000">
                    <a:off x="4573166" y="2295345"/>
                    <a:ext cx="1333985" cy="1162896"/>
                  </a:xfrm>
                  <a:prstGeom prst="hexagon">
                    <a:avLst>
                      <a:gd name="adj" fmla="val 28638"/>
                      <a:gd name="vf" fmla="val 115470"/>
                    </a:avLst>
                  </a:prstGeom>
                  <a:solidFill>
                    <a:srgbClr val="0091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nvGrpSpPr>
                  <p:cNvPr id="35" name="Group 36"/>
                  <p:cNvGrpSpPr/>
                  <p:nvPr/>
                </p:nvGrpSpPr>
                <p:grpSpPr>
                  <a:xfrm>
                    <a:off x="5059717" y="2703140"/>
                    <a:ext cx="360899" cy="347307"/>
                    <a:chOff x="6366103" y="5656329"/>
                    <a:chExt cx="798116" cy="768056"/>
                  </a:xfrm>
                  <a:solidFill>
                    <a:schemeClr val="bg1"/>
                  </a:solidFill>
                </p:grpSpPr>
                <p:sp>
                  <p:nvSpPr>
                    <p:cNvPr id="36" name="Freeform 37"/>
                    <p:cNvSpPr>
                      <a:spLocks/>
                    </p:cNvSpPr>
                    <p:nvPr/>
                  </p:nvSpPr>
                  <p:spPr bwMode="auto">
                    <a:xfrm>
                      <a:off x="6951657" y="5656329"/>
                      <a:ext cx="212562" cy="768056"/>
                    </a:xfrm>
                    <a:custGeom>
                      <a:avLst/>
                      <a:gdLst>
                        <a:gd name="connsiteX0" fmla="*/ 0 w 212562"/>
                        <a:gd name="connsiteY0" fmla="*/ 0 h 768056"/>
                        <a:gd name="connsiteX1" fmla="*/ 212562 w 212562"/>
                        <a:gd name="connsiteY1" fmla="*/ 0 h 768056"/>
                        <a:gd name="connsiteX2" fmla="*/ 212562 w 212562"/>
                        <a:gd name="connsiteY2" fmla="*/ 768056 h 768056"/>
                        <a:gd name="connsiteX3" fmla="*/ 0 w 212562"/>
                        <a:gd name="connsiteY3" fmla="*/ 768056 h 768056"/>
                        <a:gd name="connsiteX4" fmla="*/ 0 w 212562"/>
                        <a:gd name="connsiteY4" fmla="*/ 441563 h 768056"/>
                        <a:gd name="connsiteX5" fmla="*/ 20653 w 212562"/>
                        <a:gd name="connsiteY5" fmla="*/ 416532 h 768056"/>
                        <a:gd name="connsiteX6" fmla="*/ 60383 w 212562"/>
                        <a:gd name="connsiteY6" fmla="*/ 286462 h 768056"/>
                        <a:gd name="connsiteX7" fmla="*/ 20653 w 212562"/>
                        <a:gd name="connsiteY7" fmla="*/ 156393 h 768056"/>
                        <a:gd name="connsiteX8" fmla="*/ 0 w 212562"/>
                        <a:gd name="connsiteY8" fmla="*/ 131362 h 768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2562" h="768056">
                          <a:moveTo>
                            <a:pt x="0" y="0"/>
                          </a:moveTo>
                          <a:lnTo>
                            <a:pt x="212562" y="0"/>
                          </a:lnTo>
                          <a:lnTo>
                            <a:pt x="212562" y="768056"/>
                          </a:lnTo>
                          <a:lnTo>
                            <a:pt x="0" y="768056"/>
                          </a:lnTo>
                          <a:lnTo>
                            <a:pt x="0" y="441563"/>
                          </a:lnTo>
                          <a:lnTo>
                            <a:pt x="20653" y="416532"/>
                          </a:lnTo>
                          <a:cubicBezTo>
                            <a:pt x="45736" y="379403"/>
                            <a:pt x="60383" y="334643"/>
                            <a:pt x="60383" y="286462"/>
                          </a:cubicBezTo>
                          <a:cubicBezTo>
                            <a:pt x="60383" y="238282"/>
                            <a:pt x="45736" y="193522"/>
                            <a:pt x="20653" y="156393"/>
                          </a:cubicBezTo>
                          <a:lnTo>
                            <a:pt x="0" y="131362"/>
                          </a:lnTo>
                          <a:close/>
                        </a:path>
                      </a:pathLst>
                    </a:custGeom>
                    <a:grpFill/>
                    <a:ln w="0">
                      <a:noFill/>
                      <a:prstDash val="solid"/>
                      <a:round/>
                      <a:headEnd/>
                      <a:tailEnd/>
                    </a:ln>
                    <a:effectLst/>
                  </p:spPr>
                  <p:txBody>
                    <a:bodyPr vert="horz" wrap="square" lIns="68580" tIns="34290" rIns="68580" bIns="34290" numCol="1" anchor="t" anchorCtr="0" compatLnSpc="1">
                      <a:prstTxWarp prst="textNoShape">
                        <a:avLst/>
                      </a:prstTxWarp>
                      <a:noAutofit/>
                    </a:bodyPr>
                    <a:lstStyle/>
                    <a:p>
                      <a:pPr defTabSz="685800">
                        <a:defRPr/>
                      </a:pPr>
                      <a:endParaRPr lang="en-US" sz="1350" kern="0">
                        <a:solidFill>
                          <a:prstClr val="black"/>
                        </a:solidFill>
                        <a:latin typeface="Arial" panose="020B0604020202020204" pitchFamily="34" charset="0"/>
                        <a:cs typeface="Arial" panose="020B0604020202020204" pitchFamily="34" charset="0"/>
                      </a:endParaRPr>
                    </a:p>
                  </p:txBody>
                </p:sp>
                <p:sp>
                  <p:nvSpPr>
                    <p:cNvPr id="37" name="Freeform 31"/>
                    <p:cNvSpPr>
                      <a:spLocks/>
                    </p:cNvSpPr>
                    <p:nvPr/>
                  </p:nvSpPr>
                  <p:spPr bwMode="auto">
                    <a:xfrm>
                      <a:off x="6659738" y="6143804"/>
                      <a:ext cx="218230" cy="280581"/>
                    </a:xfrm>
                    <a:custGeom>
                      <a:avLst/>
                      <a:gdLst>
                        <a:gd name="T0" fmla="*/ 39 w 77"/>
                        <a:gd name="T1" fmla="*/ 10 h 99"/>
                        <a:gd name="T2" fmla="*/ 58 w 77"/>
                        <a:gd name="T3" fmla="*/ 7 h 99"/>
                        <a:gd name="T4" fmla="*/ 77 w 77"/>
                        <a:gd name="T5" fmla="*/ 1 h 99"/>
                        <a:gd name="T6" fmla="*/ 77 w 77"/>
                        <a:gd name="T7" fmla="*/ 99 h 99"/>
                        <a:gd name="T8" fmla="*/ 0 w 77"/>
                        <a:gd name="T9" fmla="*/ 99 h 99"/>
                        <a:gd name="T10" fmla="*/ 0 w 77"/>
                        <a:gd name="T11" fmla="*/ 0 h 99"/>
                        <a:gd name="T12" fmla="*/ 19 w 77"/>
                        <a:gd name="T13" fmla="*/ 7 h 99"/>
                        <a:gd name="T14" fmla="*/ 39 w 77"/>
                        <a:gd name="T15" fmla="*/ 10 h 99"/>
                        <a:gd name="connsiteX0" fmla="*/ 5065 w 10000"/>
                        <a:gd name="connsiteY0" fmla="*/ 1010 h 10000"/>
                        <a:gd name="connsiteX1" fmla="*/ 7532 w 10000"/>
                        <a:gd name="connsiteY1" fmla="*/ 707 h 10000"/>
                        <a:gd name="connsiteX2" fmla="*/ 10000 w 10000"/>
                        <a:gd name="connsiteY2" fmla="*/ 101 h 10000"/>
                        <a:gd name="connsiteX3" fmla="*/ 10000 w 10000"/>
                        <a:gd name="connsiteY3" fmla="*/ 10000 h 10000"/>
                        <a:gd name="connsiteX4" fmla="*/ 0 w 10000"/>
                        <a:gd name="connsiteY4" fmla="*/ 10000 h 10000"/>
                        <a:gd name="connsiteX5" fmla="*/ 0 w 10000"/>
                        <a:gd name="connsiteY5" fmla="*/ 0 h 10000"/>
                        <a:gd name="connsiteX6" fmla="*/ 5065 w 10000"/>
                        <a:gd name="connsiteY6" fmla="*/ 1010 h 10000"/>
                        <a:gd name="connsiteX0" fmla="*/ 0 w 10000"/>
                        <a:gd name="connsiteY0" fmla="*/ 0 h 10000"/>
                        <a:gd name="connsiteX1" fmla="*/ 7532 w 10000"/>
                        <a:gd name="connsiteY1" fmla="*/ 707 h 10000"/>
                        <a:gd name="connsiteX2" fmla="*/ 10000 w 10000"/>
                        <a:gd name="connsiteY2" fmla="*/ 101 h 10000"/>
                        <a:gd name="connsiteX3" fmla="*/ 10000 w 10000"/>
                        <a:gd name="connsiteY3" fmla="*/ 10000 h 10000"/>
                        <a:gd name="connsiteX4" fmla="*/ 0 w 10000"/>
                        <a:gd name="connsiteY4" fmla="*/ 10000 h 10000"/>
                        <a:gd name="connsiteX5" fmla="*/ 0 w 10000"/>
                        <a:gd name="connsiteY5" fmla="*/ 0 h 10000"/>
                        <a:gd name="connsiteX0" fmla="*/ 0 w 10000"/>
                        <a:gd name="connsiteY0" fmla="*/ 0 h 10000"/>
                        <a:gd name="connsiteX1" fmla="*/ 10000 w 10000"/>
                        <a:gd name="connsiteY1" fmla="*/ 101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101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101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101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101 h 10000"/>
                        <a:gd name="connsiteX2" fmla="*/ 10000 w 10000"/>
                        <a:gd name="connsiteY2" fmla="*/ 10000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cubicBezTo>
                            <a:pt x="1446" y="811"/>
                            <a:pt x="5778" y="2053"/>
                            <a:pt x="10000" y="101"/>
                          </a:cubicBezTo>
                          <a:lnTo>
                            <a:pt x="10000" y="10000"/>
                          </a:lnTo>
                          <a:lnTo>
                            <a:pt x="0" y="10000"/>
                          </a:lnTo>
                          <a:lnTo>
                            <a:pt x="0" y="0"/>
                          </a:lnTo>
                          <a:close/>
                        </a:path>
                      </a:pathLst>
                    </a:custGeom>
                    <a:grpFill/>
                    <a:ln w="0">
                      <a:noFill/>
                      <a:prstDash val="solid"/>
                      <a:roun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Arial" panose="020B0604020202020204" pitchFamily="34" charset="0"/>
                        <a:cs typeface="Arial" panose="020B0604020202020204" pitchFamily="34" charset="0"/>
                      </a:endParaRPr>
                    </a:p>
                  </p:txBody>
                </p:sp>
                <p:sp>
                  <p:nvSpPr>
                    <p:cNvPr id="38" name="Freeform 35"/>
                    <p:cNvSpPr>
                      <a:spLocks/>
                    </p:cNvSpPr>
                    <p:nvPr/>
                  </p:nvSpPr>
                  <p:spPr bwMode="auto">
                    <a:xfrm>
                      <a:off x="6381140" y="6046666"/>
                      <a:ext cx="219081" cy="377717"/>
                    </a:xfrm>
                    <a:custGeom>
                      <a:avLst/>
                      <a:gdLst>
                        <a:gd name="T0" fmla="*/ 77 w 77"/>
                        <a:gd name="T1" fmla="*/ 55 h 140"/>
                        <a:gd name="T2" fmla="*/ 77 w 77"/>
                        <a:gd name="T3" fmla="*/ 140 h 140"/>
                        <a:gd name="T4" fmla="*/ 0 w 77"/>
                        <a:gd name="T5" fmla="*/ 140 h 140"/>
                        <a:gd name="T6" fmla="*/ 0 w 77"/>
                        <a:gd name="T7" fmla="*/ 0 h 140"/>
                        <a:gd name="T8" fmla="*/ 61 w 77"/>
                        <a:gd name="T9" fmla="*/ 0 h 140"/>
                        <a:gd name="T10" fmla="*/ 67 w 77"/>
                        <a:gd name="T11" fmla="*/ 10 h 140"/>
                        <a:gd name="T12" fmla="*/ 22 w 77"/>
                        <a:gd name="T13" fmla="*/ 54 h 140"/>
                        <a:gd name="T14" fmla="*/ 16 w 77"/>
                        <a:gd name="T15" fmla="*/ 62 h 140"/>
                        <a:gd name="T16" fmla="*/ 16 w 77"/>
                        <a:gd name="T17" fmla="*/ 72 h 140"/>
                        <a:gd name="T18" fmla="*/ 20 w 77"/>
                        <a:gd name="T19" fmla="*/ 83 h 140"/>
                        <a:gd name="T20" fmla="*/ 29 w 77"/>
                        <a:gd name="T21" fmla="*/ 87 h 140"/>
                        <a:gd name="T22" fmla="*/ 39 w 77"/>
                        <a:gd name="T23" fmla="*/ 87 h 140"/>
                        <a:gd name="T24" fmla="*/ 48 w 77"/>
                        <a:gd name="T25" fmla="*/ 83 h 140"/>
                        <a:gd name="T26" fmla="*/ 77 w 77"/>
                        <a:gd name="T27" fmla="*/ 55 h 14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2078 w 10000"/>
                        <a:gd name="connsiteY7" fmla="*/ 5143 h 10000"/>
                        <a:gd name="connsiteX8" fmla="*/ 2597 w 10000"/>
                        <a:gd name="connsiteY8" fmla="*/ 5929 h 10000"/>
                        <a:gd name="connsiteX9" fmla="*/ 3766 w 10000"/>
                        <a:gd name="connsiteY9" fmla="*/ 6214 h 10000"/>
                        <a:gd name="connsiteX10" fmla="*/ 5065 w 10000"/>
                        <a:gd name="connsiteY10" fmla="*/ 6214 h 10000"/>
                        <a:gd name="connsiteX11" fmla="*/ 6234 w 10000"/>
                        <a:gd name="connsiteY11" fmla="*/ 5929 h 10000"/>
                        <a:gd name="connsiteX12" fmla="*/ 10000 w 10000"/>
                        <a:gd name="connsiteY12"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2597 w 10000"/>
                        <a:gd name="connsiteY7" fmla="*/ 5929 h 10000"/>
                        <a:gd name="connsiteX8" fmla="*/ 3766 w 10000"/>
                        <a:gd name="connsiteY8" fmla="*/ 6214 h 10000"/>
                        <a:gd name="connsiteX9" fmla="*/ 5065 w 10000"/>
                        <a:gd name="connsiteY9" fmla="*/ 6214 h 10000"/>
                        <a:gd name="connsiteX10" fmla="*/ 6234 w 10000"/>
                        <a:gd name="connsiteY10" fmla="*/ 5929 h 10000"/>
                        <a:gd name="connsiteX11" fmla="*/ 10000 w 10000"/>
                        <a:gd name="connsiteY11"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3766 w 10000"/>
                        <a:gd name="connsiteY7" fmla="*/ 6214 h 10000"/>
                        <a:gd name="connsiteX8" fmla="*/ 5065 w 10000"/>
                        <a:gd name="connsiteY8" fmla="*/ 6214 h 10000"/>
                        <a:gd name="connsiteX9" fmla="*/ 6234 w 10000"/>
                        <a:gd name="connsiteY9" fmla="*/ 5929 h 10000"/>
                        <a:gd name="connsiteX10" fmla="*/ 10000 w 10000"/>
                        <a:gd name="connsiteY10"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5065 w 10000"/>
                        <a:gd name="connsiteY7" fmla="*/ 6214 h 10000"/>
                        <a:gd name="connsiteX8" fmla="*/ 6234 w 10000"/>
                        <a:gd name="connsiteY8" fmla="*/ 5929 h 10000"/>
                        <a:gd name="connsiteX9" fmla="*/ 10000 w 10000"/>
                        <a:gd name="connsiteY9"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6234 w 10000"/>
                        <a:gd name="connsiteY7" fmla="*/ 5929 h 10000"/>
                        <a:gd name="connsiteX8" fmla="*/ 10000 w 10000"/>
                        <a:gd name="connsiteY8"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6234 w 10000"/>
                        <a:gd name="connsiteY7" fmla="*/ 5929 h 10000"/>
                        <a:gd name="connsiteX8" fmla="*/ 10000 w 10000"/>
                        <a:gd name="connsiteY8"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8701 w 10000"/>
                        <a:gd name="connsiteY5" fmla="*/ 714 h 10000"/>
                        <a:gd name="connsiteX6" fmla="*/ 2857 w 10000"/>
                        <a:gd name="connsiteY6" fmla="*/ 3857 h 10000"/>
                        <a:gd name="connsiteX7" fmla="*/ 6234 w 10000"/>
                        <a:gd name="connsiteY7" fmla="*/ 5929 h 10000"/>
                        <a:gd name="connsiteX8" fmla="*/ 10000 w 10000"/>
                        <a:gd name="connsiteY8"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9034 w 10000"/>
                        <a:gd name="connsiteY5" fmla="*/ 531 h 10000"/>
                        <a:gd name="connsiteX6" fmla="*/ 2857 w 10000"/>
                        <a:gd name="connsiteY6" fmla="*/ 3857 h 10000"/>
                        <a:gd name="connsiteX7" fmla="*/ 6234 w 10000"/>
                        <a:gd name="connsiteY7" fmla="*/ 5929 h 10000"/>
                        <a:gd name="connsiteX8" fmla="*/ 10000 w 10000"/>
                        <a:gd name="connsiteY8" fmla="*/ 3929 h 10000"/>
                        <a:gd name="connsiteX0" fmla="*/ 10000 w 10000"/>
                        <a:gd name="connsiteY0" fmla="*/ 3948 h 10019"/>
                        <a:gd name="connsiteX1" fmla="*/ 10000 w 10000"/>
                        <a:gd name="connsiteY1" fmla="*/ 10019 h 10019"/>
                        <a:gd name="connsiteX2" fmla="*/ 0 w 10000"/>
                        <a:gd name="connsiteY2" fmla="*/ 10019 h 10019"/>
                        <a:gd name="connsiteX3" fmla="*/ 0 w 10000"/>
                        <a:gd name="connsiteY3" fmla="*/ 19 h 10019"/>
                        <a:gd name="connsiteX4" fmla="*/ 7922 w 10000"/>
                        <a:gd name="connsiteY4" fmla="*/ 19 h 10019"/>
                        <a:gd name="connsiteX5" fmla="*/ 9589 w 10000"/>
                        <a:gd name="connsiteY5" fmla="*/ 0 h 10019"/>
                        <a:gd name="connsiteX6" fmla="*/ 2857 w 10000"/>
                        <a:gd name="connsiteY6" fmla="*/ 3876 h 10019"/>
                        <a:gd name="connsiteX7" fmla="*/ 6234 w 10000"/>
                        <a:gd name="connsiteY7" fmla="*/ 5948 h 10019"/>
                        <a:gd name="connsiteX8" fmla="*/ 10000 w 10000"/>
                        <a:gd name="connsiteY8" fmla="*/ 3948 h 10019"/>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7922 w 10000"/>
                        <a:gd name="connsiteY4" fmla="*/ 0 h 10000"/>
                        <a:gd name="connsiteX5" fmla="*/ 9034 w 10000"/>
                        <a:gd name="connsiteY5" fmla="*/ 347 h 10000"/>
                        <a:gd name="connsiteX6" fmla="*/ 2857 w 10000"/>
                        <a:gd name="connsiteY6" fmla="*/ 3857 h 10000"/>
                        <a:gd name="connsiteX7" fmla="*/ 6234 w 10000"/>
                        <a:gd name="connsiteY7" fmla="*/ 5929 h 10000"/>
                        <a:gd name="connsiteX8" fmla="*/ 10000 w 10000"/>
                        <a:gd name="connsiteY8"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9034 w 10000"/>
                        <a:gd name="connsiteY4" fmla="*/ 347 h 10000"/>
                        <a:gd name="connsiteX5" fmla="*/ 2857 w 10000"/>
                        <a:gd name="connsiteY5" fmla="*/ 3857 h 10000"/>
                        <a:gd name="connsiteX6" fmla="*/ 6234 w 10000"/>
                        <a:gd name="connsiteY6" fmla="*/ 5929 h 10000"/>
                        <a:gd name="connsiteX7" fmla="*/ 10000 w 10000"/>
                        <a:gd name="connsiteY7"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8701 w 10000"/>
                        <a:gd name="connsiteY4" fmla="*/ 42 h 10000"/>
                        <a:gd name="connsiteX5" fmla="*/ 2857 w 10000"/>
                        <a:gd name="connsiteY5" fmla="*/ 3857 h 10000"/>
                        <a:gd name="connsiteX6" fmla="*/ 6234 w 10000"/>
                        <a:gd name="connsiteY6" fmla="*/ 5929 h 10000"/>
                        <a:gd name="connsiteX7" fmla="*/ 10000 w 10000"/>
                        <a:gd name="connsiteY7" fmla="*/ 3929 h 10000"/>
                        <a:gd name="connsiteX0" fmla="*/ 10000 w 10000"/>
                        <a:gd name="connsiteY0" fmla="*/ 3929 h 10000"/>
                        <a:gd name="connsiteX1" fmla="*/ 10000 w 10000"/>
                        <a:gd name="connsiteY1" fmla="*/ 10000 h 10000"/>
                        <a:gd name="connsiteX2" fmla="*/ 0 w 10000"/>
                        <a:gd name="connsiteY2" fmla="*/ 10000 h 10000"/>
                        <a:gd name="connsiteX3" fmla="*/ 0 w 10000"/>
                        <a:gd name="connsiteY3" fmla="*/ 0 h 10000"/>
                        <a:gd name="connsiteX4" fmla="*/ 9145 w 10000"/>
                        <a:gd name="connsiteY4" fmla="*/ 469 h 10000"/>
                        <a:gd name="connsiteX5" fmla="*/ 2857 w 10000"/>
                        <a:gd name="connsiteY5" fmla="*/ 3857 h 10000"/>
                        <a:gd name="connsiteX6" fmla="*/ 6234 w 10000"/>
                        <a:gd name="connsiteY6" fmla="*/ 5929 h 10000"/>
                        <a:gd name="connsiteX7" fmla="*/ 10000 w 10000"/>
                        <a:gd name="connsiteY7" fmla="*/ 3929 h 10000"/>
                        <a:gd name="connsiteX0" fmla="*/ 10000 w 10000"/>
                        <a:gd name="connsiteY0" fmla="*/ 3460 h 9531"/>
                        <a:gd name="connsiteX1" fmla="*/ 10000 w 10000"/>
                        <a:gd name="connsiteY1" fmla="*/ 9531 h 9531"/>
                        <a:gd name="connsiteX2" fmla="*/ 0 w 10000"/>
                        <a:gd name="connsiteY2" fmla="*/ 9531 h 9531"/>
                        <a:gd name="connsiteX3" fmla="*/ 111 w 10000"/>
                        <a:gd name="connsiteY3" fmla="*/ 20 h 9531"/>
                        <a:gd name="connsiteX4" fmla="*/ 9145 w 10000"/>
                        <a:gd name="connsiteY4" fmla="*/ 0 h 9531"/>
                        <a:gd name="connsiteX5" fmla="*/ 2857 w 10000"/>
                        <a:gd name="connsiteY5" fmla="*/ 3388 h 9531"/>
                        <a:gd name="connsiteX6" fmla="*/ 6234 w 10000"/>
                        <a:gd name="connsiteY6" fmla="*/ 5460 h 9531"/>
                        <a:gd name="connsiteX7" fmla="*/ 10000 w 10000"/>
                        <a:gd name="connsiteY7" fmla="*/ 3460 h 9531"/>
                        <a:gd name="connsiteX0" fmla="*/ 10000 w 10000"/>
                        <a:gd name="connsiteY0" fmla="*/ 3630 h 10000"/>
                        <a:gd name="connsiteX1" fmla="*/ 10000 w 10000"/>
                        <a:gd name="connsiteY1" fmla="*/ 10000 h 10000"/>
                        <a:gd name="connsiteX2" fmla="*/ 0 w 10000"/>
                        <a:gd name="connsiteY2" fmla="*/ 10000 h 10000"/>
                        <a:gd name="connsiteX3" fmla="*/ 111 w 10000"/>
                        <a:gd name="connsiteY3" fmla="*/ 21 h 10000"/>
                        <a:gd name="connsiteX4" fmla="*/ 8479 w 10000"/>
                        <a:gd name="connsiteY4" fmla="*/ 0 h 10000"/>
                        <a:gd name="connsiteX5" fmla="*/ 2857 w 10000"/>
                        <a:gd name="connsiteY5" fmla="*/ 3555 h 10000"/>
                        <a:gd name="connsiteX6" fmla="*/ 6234 w 10000"/>
                        <a:gd name="connsiteY6" fmla="*/ 5729 h 10000"/>
                        <a:gd name="connsiteX7" fmla="*/ 10000 w 10000"/>
                        <a:gd name="connsiteY7" fmla="*/ 3630 h 10000"/>
                        <a:gd name="connsiteX0" fmla="*/ 10000 w 10000"/>
                        <a:gd name="connsiteY0" fmla="*/ 3609 h 9979"/>
                        <a:gd name="connsiteX1" fmla="*/ 10000 w 10000"/>
                        <a:gd name="connsiteY1" fmla="*/ 9979 h 9979"/>
                        <a:gd name="connsiteX2" fmla="*/ 0 w 10000"/>
                        <a:gd name="connsiteY2" fmla="*/ 9979 h 9979"/>
                        <a:gd name="connsiteX3" fmla="*/ 111 w 10000"/>
                        <a:gd name="connsiteY3" fmla="*/ 0 h 9979"/>
                        <a:gd name="connsiteX4" fmla="*/ 8923 w 10000"/>
                        <a:gd name="connsiteY4" fmla="*/ 107 h 9979"/>
                        <a:gd name="connsiteX5" fmla="*/ 2857 w 10000"/>
                        <a:gd name="connsiteY5" fmla="*/ 3534 h 9979"/>
                        <a:gd name="connsiteX6" fmla="*/ 6234 w 10000"/>
                        <a:gd name="connsiteY6" fmla="*/ 5708 h 9979"/>
                        <a:gd name="connsiteX7" fmla="*/ 10000 w 10000"/>
                        <a:gd name="connsiteY7" fmla="*/ 3609 h 9979"/>
                        <a:gd name="connsiteX0" fmla="*/ 10000 w 10000"/>
                        <a:gd name="connsiteY0" fmla="*/ 3617 h 10000"/>
                        <a:gd name="connsiteX1" fmla="*/ 10000 w 10000"/>
                        <a:gd name="connsiteY1" fmla="*/ 10000 h 10000"/>
                        <a:gd name="connsiteX2" fmla="*/ 0 w 10000"/>
                        <a:gd name="connsiteY2" fmla="*/ 10000 h 10000"/>
                        <a:gd name="connsiteX3" fmla="*/ 11 w 10000"/>
                        <a:gd name="connsiteY3" fmla="*/ 0 h 10000"/>
                        <a:gd name="connsiteX4" fmla="*/ 8923 w 10000"/>
                        <a:gd name="connsiteY4" fmla="*/ 107 h 10000"/>
                        <a:gd name="connsiteX5" fmla="*/ 2857 w 10000"/>
                        <a:gd name="connsiteY5" fmla="*/ 3541 h 10000"/>
                        <a:gd name="connsiteX6" fmla="*/ 6234 w 10000"/>
                        <a:gd name="connsiteY6" fmla="*/ 5720 h 10000"/>
                        <a:gd name="connsiteX7" fmla="*/ 10000 w 10000"/>
                        <a:gd name="connsiteY7" fmla="*/ 3617 h 10000"/>
                        <a:gd name="connsiteX0" fmla="*/ 10039 w 10039"/>
                        <a:gd name="connsiteY0" fmla="*/ 3617 h 10000"/>
                        <a:gd name="connsiteX1" fmla="*/ 10039 w 10039"/>
                        <a:gd name="connsiteY1" fmla="*/ 10000 h 10000"/>
                        <a:gd name="connsiteX2" fmla="*/ 39 w 10039"/>
                        <a:gd name="connsiteY2" fmla="*/ 10000 h 10000"/>
                        <a:gd name="connsiteX3" fmla="*/ 0 w 10039"/>
                        <a:gd name="connsiteY3" fmla="*/ 0 h 10000"/>
                        <a:gd name="connsiteX4" fmla="*/ 8962 w 10039"/>
                        <a:gd name="connsiteY4" fmla="*/ 107 h 10000"/>
                        <a:gd name="connsiteX5" fmla="*/ 2896 w 10039"/>
                        <a:gd name="connsiteY5" fmla="*/ 3541 h 10000"/>
                        <a:gd name="connsiteX6" fmla="*/ 6273 w 10039"/>
                        <a:gd name="connsiteY6" fmla="*/ 5720 h 10000"/>
                        <a:gd name="connsiteX7" fmla="*/ 10039 w 10039"/>
                        <a:gd name="connsiteY7" fmla="*/ 3617 h 10000"/>
                        <a:gd name="connsiteX0" fmla="*/ 10039 w 10039"/>
                        <a:gd name="connsiteY0" fmla="*/ 3617 h 10000"/>
                        <a:gd name="connsiteX1" fmla="*/ 10039 w 10039"/>
                        <a:gd name="connsiteY1" fmla="*/ 10000 h 10000"/>
                        <a:gd name="connsiteX2" fmla="*/ 39 w 10039"/>
                        <a:gd name="connsiteY2" fmla="*/ 10000 h 10000"/>
                        <a:gd name="connsiteX3" fmla="*/ 0 w 10039"/>
                        <a:gd name="connsiteY3" fmla="*/ 0 h 10000"/>
                        <a:gd name="connsiteX4" fmla="*/ 9012 w 10039"/>
                        <a:gd name="connsiteY4" fmla="*/ 20 h 10000"/>
                        <a:gd name="connsiteX5" fmla="*/ 2896 w 10039"/>
                        <a:gd name="connsiteY5" fmla="*/ 3541 h 10000"/>
                        <a:gd name="connsiteX6" fmla="*/ 6273 w 10039"/>
                        <a:gd name="connsiteY6" fmla="*/ 5720 h 10000"/>
                        <a:gd name="connsiteX7" fmla="*/ 10039 w 10039"/>
                        <a:gd name="connsiteY7" fmla="*/ 3617 h 10000"/>
                        <a:gd name="connsiteX0" fmla="*/ 10039 w 10039"/>
                        <a:gd name="connsiteY0" fmla="*/ 3626 h 10009"/>
                        <a:gd name="connsiteX1" fmla="*/ 10039 w 10039"/>
                        <a:gd name="connsiteY1" fmla="*/ 10009 h 10009"/>
                        <a:gd name="connsiteX2" fmla="*/ 39 w 10039"/>
                        <a:gd name="connsiteY2" fmla="*/ 10009 h 10009"/>
                        <a:gd name="connsiteX3" fmla="*/ 0 w 10039"/>
                        <a:gd name="connsiteY3" fmla="*/ 9 h 10009"/>
                        <a:gd name="connsiteX4" fmla="*/ 9062 w 10039"/>
                        <a:gd name="connsiteY4" fmla="*/ 0 h 10009"/>
                        <a:gd name="connsiteX5" fmla="*/ 2896 w 10039"/>
                        <a:gd name="connsiteY5" fmla="*/ 3550 h 10009"/>
                        <a:gd name="connsiteX6" fmla="*/ 6273 w 10039"/>
                        <a:gd name="connsiteY6" fmla="*/ 5729 h 10009"/>
                        <a:gd name="connsiteX7" fmla="*/ 10039 w 10039"/>
                        <a:gd name="connsiteY7" fmla="*/ 3626 h 10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39" h="10009">
                          <a:moveTo>
                            <a:pt x="10039" y="3626"/>
                          </a:moveTo>
                          <a:lnTo>
                            <a:pt x="10039" y="10009"/>
                          </a:lnTo>
                          <a:lnTo>
                            <a:pt x="39" y="10009"/>
                          </a:lnTo>
                          <a:cubicBezTo>
                            <a:pt x="43" y="6676"/>
                            <a:pt x="-4" y="3342"/>
                            <a:pt x="0" y="9"/>
                          </a:cubicBezTo>
                          <a:lnTo>
                            <a:pt x="9062" y="0"/>
                          </a:lnTo>
                          <a:lnTo>
                            <a:pt x="2896" y="3550"/>
                          </a:lnTo>
                          <a:cubicBezTo>
                            <a:pt x="819" y="4463"/>
                            <a:pt x="3528" y="6871"/>
                            <a:pt x="6273" y="5729"/>
                          </a:cubicBezTo>
                          <a:lnTo>
                            <a:pt x="10039" y="3626"/>
                          </a:lnTo>
                          <a:close/>
                        </a:path>
                      </a:pathLst>
                    </a:custGeom>
                    <a:grpFill/>
                    <a:ln w="0">
                      <a:noFill/>
                      <a:prstDash val="solid"/>
                      <a:roun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Arial" panose="020B0604020202020204" pitchFamily="34" charset="0"/>
                        <a:cs typeface="Arial" panose="020B0604020202020204" pitchFamily="34" charset="0"/>
                      </a:endParaRPr>
                    </a:p>
                  </p:txBody>
                </p:sp>
                <p:grpSp>
                  <p:nvGrpSpPr>
                    <p:cNvPr id="39" name="Group 40"/>
                    <p:cNvGrpSpPr/>
                    <p:nvPr/>
                  </p:nvGrpSpPr>
                  <p:grpSpPr>
                    <a:xfrm>
                      <a:off x="6366103" y="5821305"/>
                      <a:ext cx="635571" cy="400421"/>
                      <a:chOff x="-1645415" y="359051"/>
                      <a:chExt cx="4135140" cy="2605176"/>
                    </a:xfrm>
                    <a:grpFill/>
                  </p:grpSpPr>
                  <p:sp>
                    <p:nvSpPr>
                      <p:cNvPr id="40" name="Freeform 32"/>
                      <p:cNvSpPr>
                        <a:spLocks/>
                      </p:cNvSpPr>
                      <p:nvPr/>
                    </p:nvSpPr>
                    <p:spPr bwMode="auto">
                      <a:xfrm>
                        <a:off x="1092128" y="900613"/>
                        <a:ext cx="479428" cy="682262"/>
                      </a:xfrm>
                      <a:custGeom>
                        <a:avLst/>
                        <a:gdLst>
                          <a:gd name="T0" fmla="*/ 26 w 26"/>
                          <a:gd name="T1" fmla="*/ 19 h 37"/>
                          <a:gd name="T2" fmla="*/ 13 w 26"/>
                          <a:gd name="T3" fmla="*/ 37 h 37"/>
                          <a:gd name="T4" fmla="*/ 0 w 26"/>
                          <a:gd name="T5" fmla="*/ 19 h 37"/>
                          <a:gd name="T6" fmla="*/ 7 w 26"/>
                          <a:gd name="T7" fmla="*/ 19 h 37"/>
                          <a:gd name="T8" fmla="*/ 7 w 26"/>
                          <a:gd name="T9" fmla="*/ 0 h 37"/>
                          <a:gd name="T10" fmla="*/ 18 w 26"/>
                          <a:gd name="T11" fmla="*/ 0 h 37"/>
                          <a:gd name="T12" fmla="*/ 18 w 26"/>
                          <a:gd name="T13" fmla="*/ 19 h 37"/>
                          <a:gd name="T14" fmla="*/ 26 w 26"/>
                          <a:gd name="T15" fmla="*/ 19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7">
                            <a:moveTo>
                              <a:pt x="26" y="19"/>
                            </a:moveTo>
                            <a:lnTo>
                              <a:pt x="13" y="37"/>
                            </a:lnTo>
                            <a:lnTo>
                              <a:pt x="0" y="19"/>
                            </a:lnTo>
                            <a:lnTo>
                              <a:pt x="7" y="19"/>
                            </a:lnTo>
                            <a:lnTo>
                              <a:pt x="7" y="0"/>
                            </a:lnTo>
                            <a:lnTo>
                              <a:pt x="18" y="0"/>
                            </a:lnTo>
                            <a:lnTo>
                              <a:pt x="18" y="19"/>
                            </a:lnTo>
                            <a:lnTo>
                              <a:pt x="26" y="19"/>
                            </a:lnTo>
                            <a:close/>
                          </a:path>
                        </a:pathLst>
                      </a:custGeom>
                      <a:grpFill/>
                      <a:ln w="0">
                        <a:noFill/>
                        <a:prstDash val="solid"/>
                        <a:roun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Arial" panose="020B0604020202020204" pitchFamily="34" charset="0"/>
                          <a:cs typeface="Arial" panose="020B0604020202020204" pitchFamily="34" charset="0"/>
                        </a:endParaRPr>
                      </a:p>
                    </p:txBody>
                  </p:sp>
                  <p:sp>
                    <p:nvSpPr>
                      <p:cNvPr id="41" name="Freeform 34"/>
                      <p:cNvSpPr>
                        <a:spLocks/>
                      </p:cNvSpPr>
                      <p:nvPr/>
                    </p:nvSpPr>
                    <p:spPr bwMode="auto">
                      <a:xfrm>
                        <a:off x="446742" y="550266"/>
                        <a:ext cx="479428" cy="700695"/>
                      </a:xfrm>
                      <a:custGeom>
                        <a:avLst/>
                        <a:gdLst>
                          <a:gd name="T0" fmla="*/ 26 w 26"/>
                          <a:gd name="T1" fmla="*/ 19 h 38"/>
                          <a:gd name="T2" fmla="*/ 19 w 26"/>
                          <a:gd name="T3" fmla="*/ 19 h 38"/>
                          <a:gd name="T4" fmla="*/ 19 w 26"/>
                          <a:gd name="T5" fmla="*/ 38 h 38"/>
                          <a:gd name="T6" fmla="*/ 7 w 26"/>
                          <a:gd name="T7" fmla="*/ 38 h 38"/>
                          <a:gd name="T8" fmla="*/ 7 w 26"/>
                          <a:gd name="T9" fmla="*/ 19 h 38"/>
                          <a:gd name="T10" fmla="*/ 0 w 26"/>
                          <a:gd name="T11" fmla="*/ 19 h 38"/>
                          <a:gd name="T12" fmla="*/ 13 w 26"/>
                          <a:gd name="T13" fmla="*/ 0 h 38"/>
                          <a:gd name="T14" fmla="*/ 26 w 26"/>
                          <a:gd name="T15" fmla="*/ 1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19"/>
                            </a:moveTo>
                            <a:lnTo>
                              <a:pt x="19" y="19"/>
                            </a:lnTo>
                            <a:lnTo>
                              <a:pt x="19" y="38"/>
                            </a:lnTo>
                            <a:lnTo>
                              <a:pt x="7" y="38"/>
                            </a:lnTo>
                            <a:lnTo>
                              <a:pt x="7" y="19"/>
                            </a:lnTo>
                            <a:lnTo>
                              <a:pt x="0" y="19"/>
                            </a:lnTo>
                            <a:lnTo>
                              <a:pt x="13" y="0"/>
                            </a:lnTo>
                            <a:lnTo>
                              <a:pt x="26" y="19"/>
                            </a:lnTo>
                            <a:close/>
                          </a:path>
                        </a:pathLst>
                      </a:custGeom>
                      <a:grpFill/>
                      <a:ln w="0">
                        <a:noFill/>
                        <a:prstDash val="solid"/>
                        <a:round/>
                        <a:headEnd/>
                        <a:tailEnd/>
                      </a:ln>
                      <a:effectLst/>
                    </p:spPr>
                    <p:txBody>
                      <a:bodyPr vert="horz" wrap="square" lIns="68580" tIns="34290" rIns="68580" bIns="34290" numCol="1" anchor="t" anchorCtr="0" compatLnSpc="1">
                        <a:prstTxWarp prst="textNoShape">
                          <a:avLst/>
                        </a:prstTxWarp>
                      </a:bodyPr>
                      <a:lstStyle/>
                      <a:p>
                        <a:pPr defTabSz="685800">
                          <a:defRPr/>
                        </a:pPr>
                        <a:endParaRPr lang="en-US" sz="1350" kern="0">
                          <a:solidFill>
                            <a:prstClr val="black"/>
                          </a:solidFill>
                          <a:latin typeface="Arial" panose="020B0604020202020204" pitchFamily="34" charset="0"/>
                          <a:cs typeface="Arial" panose="020B0604020202020204" pitchFamily="34" charset="0"/>
                        </a:endParaRPr>
                      </a:p>
                    </p:txBody>
                  </p:sp>
                  <p:sp>
                    <p:nvSpPr>
                      <p:cNvPr id="42" name="Freeform 43"/>
                      <p:cNvSpPr/>
                      <p:nvPr/>
                    </p:nvSpPr>
                    <p:spPr>
                      <a:xfrm rot="19069938">
                        <a:off x="-1645415" y="359051"/>
                        <a:ext cx="4135140" cy="2605176"/>
                      </a:xfrm>
                      <a:custGeom>
                        <a:avLst/>
                        <a:gdLst>
                          <a:gd name="connsiteX0" fmla="*/ 1057314 w 1232283"/>
                          <a:gd name="connsiteY0" fmla="*/ 209266 h 776350"/>
                          <a:gd name="connsiteX1" fmla="*/ 665295 w 1232283"/>
                          <a:gd name="connsiteY1" fmla="*/ 174969 h 776350"/>
                          <a:gd name="connsiteX2" fmla="*/ 630998 w 1232283"/>
                          <a:gd name="connsiteY2" fmla="*/ 566988 h 776350"/>
                          <a:gd name="connsiteX3" fmla="*/ 1023017 w 1232283"/>
                          <a:gd name="connsiteY3" fmla="*/ 601285 h 776350"/>
                          <a:gd name="connsiteX4" fmla="*/ 1057314 w 1232283"/>
                          <a:gd name="connsiteY4" fmla="*/ 209266 h 776350"/>
                          <a:gd name="connsiteX5" fmla="*/ 1141472 w 1232283"/>
                          <a:gd name="connsiteY5" fmla="*/ 138649 h 776350"/>
                          <a:gd name="connsiteX6" fmla="*/ 1093634 w 1232283"/>
                          <a:gd name="connsiteY6" fmla="*/ 685443 h 776350"/>
                          <a:gd name="connsiteX7" fmla="*/ 546840 w 1232283"/>
                          <a:gd name="connsiteY7" fmla="*/ 637605 h 776350"/>
                          <a:gd name="connsiteX8" fmla="*/ 471681 w 1232283"/>
                          <a:gd name="connsiteY8" fmla="*/ 502147 h 776350"/>
                          <a:gd name="connsiteX9" fmla="*/ 466616 w 1232283"/>
                          <a:gd name="connsiteY9" fmla="*/ 477365 h 776350"/>
                          <a:gd name="connsiteX10" fmla="*/ 444645 w 1232283"/>
                          <a:gd name="connsiteY10" fmla="*/ 481801 h 776350"/>
                          <a:gd name="connsiteX11" fmla="*/ 67083 w 1232283"/>
                          <a:gd name="connsiteY11" fmla="*/ 481801 h 776350"/>
                          <a:gd name="connsiteX12" fmla="*/ 0 w 1232283"/>
                          <a:gd name="connsiteY12" fmla="*/ 414718 h 776350"/>
                          <a:gd name="connsiteX13" fmla="*/ 0 w 1232283"/>
                          <a:gd name="connsiteY13" fmla="*/ 403415 h 776350"/>
                          <a:gd name="connsiteX14" fmla="*/ 67083 w 1232283"/>
                          <a:gd name="connsiteY14" fmla="*/ 336332 h 776350"/>
                          <a:gd name="connsiteX15" fmla="*/ 444645 w 1232283"/>
                          <a:gd name="connsiteY15" fmla="*/ 336332 h 776350"/>
                          <a:gd name="connsiteX16" fmla="*/ 459095 w 1232283"/>
                          <a:gd name="connsiteY16" fmla="*/ 339249 h 776350"/>
                          <a:gd name="connsiteX17" fmla="*/ 470168 w 1232283"/>
                          <a:gd name="connsiteY17" fmla="*/ 280996 h 776350"/>
                          <a:gd name="connsiteX18" fmla="*/ 594678 w 1232283"/>
                          <a:gd name="connsiteY18" fmla="*/ 90810 h 776350"/>
                          <a:gd name="connsiteX19" fmla="*/ 1141472 w 1232283"/>
                          <a:gd name="connsiteY19" fmla="*/ 138649 h 7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2283" h="776350">
                            <a:moveTo>
                              <a:pt x="1057314" y="209266"/>
                            </a:moveTo>
                            <a:cubicBezTo>
                              <a:pt x="958532" y="91542"/>
                              <a:pt x="783019" y="76186"/>
                              <a:pt x="665295" y="174969"/>
                            </a:cubicBezTo>
                            <a:cubicBezTo>
                              <a:pt x="547571" y="273751"/>
                              <a:pt x="532216" y="449263"/>
                              <a:pt x="630998" y="566988"/>
                            </a:cubicBezTo>
                            <a:cubicBezTo>
                              <a:pt x="729780" y="684712"/>
                              <a:pt x="905293" y="700067"/>
                              <a:pt x="1023017" y="601285"/>
                            </a:cubicBezTo>
                            <a:cubicBezTo>
                              <a:pt x="1140741" y="502502"/>
                              <a:pt x="1156096" y="326990"/>
                              <a:pt x="1057314" y="209266"/>
                            </a:cubicBezTo>
                            <a:close/>
                            <a:moveTo>
                              <a:pt x="1141472" y="138649"/>
                            </a:moveTo>
                            <a:cubicBezTo>
                              <a:pt x="1279255" y="302852"/>
                              <a:pt x="1257837" y="547660"/>
                              <a:pt x="1093634" y="685443"/>
                            </a:cubicBezTo>
                            <a:cubicBezTo>
                              <a:pt x="929431" y="823226"/>
                              <a:pt x="687978" y="802101"/>
                              <a:pt x="546840" y="637605"/>
                            </a:cubicBezTo>
                            <a:cubicBezTo>
                              <a:pt x="511555" y="596481"/>
                              <a:pt x="486640" y="550355"/>
                              <a:pt x="471681" y="502147"/>
                            </a:cubicBezTo>
                            <a:lnTo>
                              <a:pt x="466616" y="477365"/>
                            </a:lnTo>
                            <a:lnTo>
                              <a:pt x="444645" y="481801"/>
                            </a:lnTo>
                            <a:lnTo>
                              <a:pt x="67083" y="481801"/>
                            </a:lnTo>
                            <a:cubicBezTo>
                              <a:pt x="30034" y="481801"/>
                              <a:pt x="0" y="451767"/>
                              <a:pt x="0" y="414718"/>
                            </a:cubicBezTo>
                            <a:lnTo>
                              <a:pt x="0" y="403415"/>
                            </a:lnTo>
                            <a:cubicBezTo>
                              <a:pt x="0" y="366366"/>
                              <a:pt x="30034" y="336332"/>
                              <a:pt x="67083" y="336332"/>
                            </a:cubicBezTo>
                            <a:lnTo>
                              <a:pt x="444645" y="336332"/>
                            </a:lnTo>
                            <a:lnTo>
                              <a:pt x="459095" y="339249"/>
                            </a:lnTo>
                            <a:lnTo>
                              <a:pt x="470168" y="280996"/>
                            </a:lnTo>
                            <a:cubicBezTo>
                              <a:pt x="491133" y="209157"/>
                              <a:pt x="533102" y="142479"/>
                              <a:pt x="594678" y="90810"/>
                            </a:cubicBezTo>
                            <a:cubicBezTo>
                              <a:pt x="758881" y="-46972"/>
                              <a:pt x="1003690" y="-25554"/>
                              <a:pt x="1141472" y="138649"/>
                            </a:cubicBezTo>
                            <a:close/>
                          </a:path>
                        </a:pathLst>
                      </a:custGeom>
                      <a:grpFill/>
                      <a:ln w="12700" cap="flat" cmpd="sng" algn="ctr">
                        <a:noFill/>
                        <a:prstDash val="solid"/>
                        <a:miter lim="800000"/>
                      </a:ln>
                      <a:effectLst/>
                    </p:spPr>
                    <p:txBody>
                      <a:bodyPr wrap="square" rtlCol="0" anchor="ctr">
                        <a:noAutofit/>
                      </a:bodyPr>
                      <a:lstStyle/>
                      <a:p>
                        <a:pPr algn="ctr" defTabSz="685800">
                          <a:defRPr/>
                        </a:pPr>
                        <a:endParaRPr lang="en-US" sz="1350" kern="0">
                          <a:solidFill>
                            <a:prstClr val="white"/>
                          </a:solidFill>
                          <a:latin typeface="Arial" panose="020B0604020202020204" pitchFamily="34" charset="0"/>
                          <a:cs typeface="Arial" panose="020B0604020202020204" pitchFamily="34" charset="0"/>
                        </a:endParaRPr>
                      </a:p>
                    </p:txBody>
                  </p:sp>
                </p:grpSp>
              </p:grpSp>
            </p:grpSp>
            <p:grpSp>
              <p:nvGrpSpPr>
                <p:cNvPr id="17" name="Group 2"/>
                <p:cNvGrpSpPr/>
                <p:nvPr/>
              </p:nvGrpSpPr>
              <p:grpSpPr>
                <a:xfrm>
                  <a:off x="5335449" y="3373788"/>
                  <a:ext cx="1162896" cy="1333985"/>
                  <a:chOff x="5335449" y="3373788"/>
                  <a:chExt cx="1162896" cy="1333985"/>
                </a:xfrm>
              </p:grpSpPr>
              <p:sp>
                <p:nvSpPr>
                  <p:cNvPr id="30" name="Hexagon 18"/>
                  <p:cNvSpPr/>
                  <p:nvPr/>
                </p:nvSpPr>
                <p:spPr>
                  <a:xfrm rot="5400000">
                    <a:off x="5249904" y="3459333"/>
                    <a:ext cx="1333985" cy="1162896"/>
                  </a:xfrm>
                  <a:prstGeom prst="hexagon">
                    <a:avLst>
                      <a:gd name="adj" fmla="val 28638"/>
                      <a:gd name="vf" fmla="val 115470"/>
                    </a:avLst>
                  </a:prstGeom>
                  <a:solidFill>
                    <a:srgbClr val="48369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nvGrpSpPr>
                  <p:cNvPr id="31" name="Group 111"/>
                  <p:cNvGrpSpPr/>
                  <p:nvPr/>
                </p:nvGrpSpPr>
                <p:grpSpPr>
                  <a:xfrm>
                    <a:off x="5686291" y="3809982"/>
                    <a:ext cx="461210" cy="461598"/>
                    <a:chOff x="1226789" y="2072307"/>
                    <a:chExt cx="4056446" cy="4059872"/>
                  </a:xfrm>
                  <a:solidFill>
                    <a:schemeClr val="bg1"/>
                  </a:solidFill>
                </p:grpSpPr>
                <p:sp>
                  <p:nvSpPr>
                    <p:cNvPr id="32" name="Freeform 112"/>
                    <p:cNvSpPr/>
                    <p:nvPr/>
                  </p:nvSpPr>
                  <p:spPr>
                    <a:xfrm>
                      <a:off x="2089921" y="2969028"/>
                      <a:ext cx="2330182" cy="2330182"/>
                    </a:xfrm>
                    <a:custGeom>
                      <a:avLst/>
                      <a:gdLst>
                        <a:gd name="connsiteX0" fmla="*/ 1165091 w 2330182"/>
                        <a:gd name="connsiteY0" fmla="*/ 147659 h 2330182"/>
                        <a:gd name="connsiteX1" fmla="*/ 147659 w 2330182"/>
                        <a:gd name="connsiteY1" fmla="*/ 1165091 h 2330182"/>
                        <a:gd name="connsiteX2" fmla="*/ 1165091 w 2330182"/>
                        <a:gd name="connsiteY2" fmla="*/ 2182523 h 2330182"/>
                        <a:gd name="connsiteX3" fmla="*/ 2182523 w 2330182"/>
                        <a:gd name="connsiteY3" fmla="*/ 1165091 h 2330182"/>
                        <a:gd name="connsiteX4" fmla="*/ 1165091 w 2330182"/>
                        <a:gd name="connsiteY4" fmla="*/ 147659 h 2330182"/>
                        <a:gd name="connsiteX5" fmla="*/ 1165091 w 2330182"/>
                        <a:gd name="connsiteY5" fmla="*/ 0 h 2330182"/>
                        <a:gd name="connsiteX6" fmla="*/ 2330182 w 2330182"/>
                        <a:gd name="connsiteY6" fmla="*/ 1165091 h 2330182"/>
                        <a:gd name="connsiteX7" fmla="*/ 1165091 w 2330182"/>
                        <a:gd name="connsiteY7" fmla="*/ 2330182 h 2330182"/>
                        <a:gd name="connsiteX8" fmla="*/ 0 w 2330182"/>
                        <a:gd name="connsiteY8" fmla="*/ 1165091 h 2330182"/>
                        <a:gd name="connsiteX9" fmla="*/ 1165091 w 2330182"/>
                        <a:gd name="connsiteY9" fmla="*/ 0 h 233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0182" h="2330182">
                          <a:moveTo>
                            <a:pt x="1165091" y="147659"/>
                          </a:moveTo>
                          <a:cubicBezTo>
                            <a:pt x="603179" y="147659"/>
                            <a:pt x="147659" y="603179"/>
                            <a:pt x="147659" y="1165091"/>
                          </a:cubicBezTo>
                          <a:cubicBezTo>
                            <a:pt x="147659" y="1727003"/>
                            <a:pt x="603179" y="2182523"/>
                            <a:pt x="1165091" y="2182523"/>
                          </a:cubicBezTo>
                          <a:cubicBezTo>
                            <a:pt x="1727003" y="2182523"/>
                            <a:pt x="2182523" y="1727003"/>
                            <a:pt x="2182523" y="1165091"/>
                          </a:cubicBezTo>
                          <a:cubicBezTo>
                            <a:pt x="2182523" y="603179"/>
                            <a:pt x="1727003" y="147659"/>
                            <a:pt x="1165091" y="147659"/>
                          </a:cubicBezTo>
                          <a:close/>
                          <a:moveTo>
                            <a:pt x="1165091" y="0"/>
                          </a:moveTo>
                          <a:cubicBezTo>
                            <a:pt x="1808553" y="0"/>
                            <a:pt x="2330182" y="521629"/>
                            <a:pt x="2330182" y="1165091"/>
                          </a:cubicBezTo>
                          <a:cubicBezTo>
                            <a:pt x="2330182" y="1808553"/>
                            <a:pt x="1808553" y="2330182"/>
                            <a:pt x="1165091" y="2330182"/>
                          </a:cubicBezTo>
                          <a:cubicBezTo>
                            <a:pt x="521629" y="2330182"/>
                            <a:pt x="0" y="1808553"/>
                            <a:pt x="0" y="1165091"/>
                          </a:cubicBezTo>
                          <a:cubicBezTo>
                            <a:pt x="0" y="521629"/>
                            <a:pt x="521629" y="0"/>
                            <a:pt x="1165091"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sp>
                  <p:nvSpPr>
                    <p:cNvPr id="33" name="Freeform 113"/>
                    <p:cNvSpPr/>
                    <p:nvPr/>
                  </p:nvSpPr>
                  <p:spPr>
                    <a:xfrm rot="8489226">
                      <a:off x="1226789" y="2072307"/>
                      <a:ext cx="4056446" cy="4059872"/>
                    </a:xfrm>
                    <a:custGeom>
                      <a:avLst/>
                      <a:gdLst>
                        <a:gd name="connsiteX0" fmla="*/ 1216809 w 4056446"/>
                        <a:gd name="connsiteY0" fmla="*/ 3055242 h 4059872"/>
                        <a:gd name="connsiteX1" fmla="*/ 3098885 w 4056446"/>
                        <a:gd name="connsiteY1" fmla="*/ 2841236 h 4059872"/>
                        <a:gd name="connsiteX2" fmla="*/ 2884879 w 4056446"/>
                        <a:gd name="connsiteY2" fmla="*/ 959160 h 4059872"/>
                        <a:gd name="connsiteX3" fmla="*/ 1002803 w 4056446"/>
                        <a:gd name="connsiteY3" fmla="*/ 1173166 h 4059872"/>
                        <a:gd name="connsiteX4" fmla="*/ 1216809 w 4056446"/>
                        <a:gd name="connsiteY4" fmla="*/ 3055242 h 4059872"/>
                        <a:gd name="connsiteX5" fmla="*/ 1007707 w 4056446"/>
                        <a:gd name="connsiteY5" fmla="*/ 3744720 h 4059872"/>
                        <a:gd name="connsiteX6" fmla="*/ 571023 w 4056446"/>
                        <a:gd name="connsiteY6" fmla="*/ 3397206 h 4059872"/>
                        <a:gd name="connsiteX7" fmla="*/ 563135 w 4056446"/>
                        <a:gd name="connsiteY7" fmla="*/ 3327835 h 4059872"/>
                        <a:gd name="connsiteX8" fmla="*/ 866464 w 4056446"/>
                        <a:gd name="connsiteY8" fmla="*/ 2946674 h 4059872"/>
                        <a:gd name="connsiteX9" fmla="*/ 799169 w 4056446"/>
                        <a:gd name="connsiteY9" fmla="*/ 2857589 h 4059872"/>
                        <a:gd name="connsiteX10" fmla="*/ 680648 w 4056446"/>
                        <a:gd name="connsiteY10" fmla="*/ 2649231 h 4059872"/>
                        <a:gd name="connsiteX11" fmla="*/ 616826 w 4056446"/>
                        <a:gd name="connsiteY11" fmla="*/ 2479081 h 4059872"/>
                        <a:gd name="connsiteX12" fmla="*/ 115475 w 4056446"/>
                        <a:gd name="connsiteY12" fmla="*/ 2533963 h 4059872"/>
                        <a:gd name="connsiteX13" fmla="*/ 61027 w 4056446"/>
                        <a:gd name="connsiteY13" fmla="*/ 2490259 h 4059872"/>
                        <a:gd name="connsiteX14" fmla="*/ 297 w 4056446"/>
                        <a:gd name="connsiteY14" fmla="*/ 1935488 h 4059872"/>
                        <a:gd name="connsiteX15" fmla="*/ 44001 w 4056446"/>
                        <a:gd name="connsiteY15" fmla="*/ 1881040 h 4059872"/>
                        <a:gd name="connsiteX16" fmla="*/ 547562 w 4056446"/>
                        <a:gd name="connsiteY16" fmla="*/ 1825916 h 4059872"/>
                        <a:gd name="connsiteX17" fmla="*/ 549211 w 4056446"/>
                        <a:gd name="connsiteY17" fmla="*/ 1826397 h 4059872"/>
                        <a:gd name="connsiteX18" fmla="*/ 564245 w 4056446"/>
                        <a:gd name="connsiteY18" fmla="*/ 1725111 h 4059872"/>
                        <a:gd name="connsiteX19" fmla="*/ 672799 w 4056446"/>
                        <a:gd name="connsiteY19" fmla="*/ 1382137 h 4059872"/>
                        <a:gd name="connsiteX20" fmla="*/ 704433 w 4056446"/>
                        <a:gd name="connsiteY20" fmla="*/ 1322516 h 4059872"/>
                        <a:gd name="connsiteX21" fmla="*/ 314187 w 4056446"/>
                        <a:gd name="connsiteY21" fmla="*/ 1011958 h 4059872"/>
                        <a:gd name="connsiteX22" fmla="*/ 306299 w 4056446"/>
                        <a:gd name="connsiteY22" fmla="*/ 942586 h 4059872"/>
                        <a:gd name="connsiteX23" fmla="*/ 653814 w 4056446"/>
                        <a:gd name="connsiteY23" fmla="*/ 505903 h 4059872"/>
                        <a:gd name="connsiteX24" fmla="*/ 723185 w 4056446"/>
                        <a:gd name="connsiteY24" fmla="*/ 498015 h 4059872"/>
                        <a:gd name="connsiteX25" fmla="*/ 1119559 w 4056446"/>
                        <a:gd name="connsiteY25" fmla="*/ 813450 h 4059872"/>
                        <a:gd name="connsiteX26" fmla="*/ 1120994 w 4056446"/>
                        <a:gd name="connsiteY26" fmla="*/ 815157 h 4059872"/>
                        <a:gd name="connsiteX27" fmla="*/ 1139802 w 4056446"/>
                        <a:gd name="connsiteY27" fmla="*/ 799005 h 4059872"/>
                        <a:gd name="connsiteX28" fmla="*/ 1459003 w 4056446"/>
                        <a:gd name="connsiteY28" fmla="*/ 614640 h 4059872"/>
                        <a:gd name="connsiteX29" fmla="*/ 1559225 w 4056446"/>
                        <a:gd name="connsiteY29" fmla="*/ 577750 h 4059872"/>
                        <a:gd name="connsiteX30" fmla="*/ 1550191 w 4056446"/>
                        <a:gd name="connsiteY30" fmla="*/ 555938 h 4059872"/>
                        <a:gd name="connsiteX31" fmla="*/ 1550191 w 4056446"/>
                        <a:gd name="connsiteY31" fmla="*/ 49369 h 4059872"/>
                        <a:gd name="connsiteX32" fmla="*/ 1599560 w 4056446"/>
                        <a:gd name="connsiteY32" fmla="*/ 0 h 4059872"/>
                        <a:gd name="connsiteX33" fmla="*/ 2157645 w 4056446"/>
                        <a:gd name="connsiteY33" fmla="*/ 0 h 4059872"/>
                        <a:gd name="connsiteX34" fmla="*/ 2207014 w 4056446"/>
                        <a:gd name="connsiteY34" fmla="*/ 49369 h 4059872"/>
                        <a:gd name="connsiteX35" fmla="*/ 2207014 w 4056446"/>
                        <a:gd name="connsiteY35" fmla="*/ 503618 h 4059872"/>
                        <a:gd name="connsiteX36" fmla="*/ 2314929 w 4056446"/>
                        <a:gd name="connsiteY36" fmla="*/ 517315 h 4059872"/>
                        <a:gd name="connsiteX37" fmla="*/ 2667373 w 4056446"/>
                        <a:gd name="connsiteY37" fmla="*/ 625309 h 4059872"/>
                        <a:gd name="connsiteX38" fmla="*/ 2700138 w 4056446"/>
                        <a:gd name="connsiteY38" fmla="*/ 642497 h 4059872"/>
                        <a:gd name="connsiteX39" fmla="*/ 3008044 w 4056446"/>
                        <a:gd name="connsiteY39" fmla="*/ 255585 h 4059872"/>
                        <a:gd name="connsiteX40" fmla="*/ 3077415 w 4056446"/>
                        <a:gd name="connsiteY40" fmla="*/ 247697 h 4059872"/>
                        <a:gd name="connsiteX41" fmla="*/ 3514099 w 4056446"/>
                        <a:gd name="connsiteY41" fmla="*/ 595211 h 4059872"/>
                        <a:gd name="connsiteX42" fmla="*/ 3521987 w 4056446"/>
                        <a:gd name="connsiteY42" fmla="*/ 664583 h 4059872"/>
                        <a:gd name="connsiteX43" fmla="*/ 3218637 w 4056446"/>
                        <a:gd name="connsiteY43" fmla="*/ 1045770 h 4059872"/>
                        <a:gd name="connsiteX44" fmla="*/ 3302519 w 4056446"/>
                        <a:gd name="connsiteY44" fmla="*/ 1156813 h 4059872"/>
                        <a:gd name="connsiteX45" fmla="*/ 3421041 w 4056446"/>
                        <a:gd name="connsiteY45" fmla="*/ 1365171 h 4059872"/>
                        <a:gd name="connsiteX46" fmla="*/ 3454648 w 4056446"/>
                        <a:gd name="connsiteY46" fmla="*/ 1454771 h 4059872"/>
                        <a:gd name="connsiteX47" fmla="*/ 3458789 w 4056446"/>
                        <a:gd name="connsiteY47" fmla="*/ 1452702 h 4059872"/>
                        <a:gd name="connsiteX48" fmla="*/ 3964088 w 4056446"/>
                        <a:gd name="connsiteY48" fmla="*/ 1416853 h 4059872"/>
                        <a:gd name="connsiteX49" fmla="*/ 4016827 w 4056446"/>
                        <a:gd name="connsiteY49" fmla="*/ 1462605 h 4059872"/>
                        <a:gd name="connsiteX50" fmla="*/ 4056321 w 4056446"/>
                        <a:gd name="connsiteY50" fmla="*/ 2019290 h 4059872"/>
                        <a:gd name="connsiteX51" fmla="*/ 4010569 w 4056446"/>
                        <a:gd name="connsiteY51" fmla="*/ 2072030 h 4059872"/>
                        <a:gd name="connsiteX52" fmla="*/ 3559565 w 4056446"/>
                        <a:gd name="connsiteY52" fmla="*/ 2104026 h 4059872"/>
                        <a:gd name="connsiteX53" fmla="*/ 3554874 w 4056446"/>
                        <a:gd name="connsiteY53" fmla="*/ 2171858 h 4059872"/>
                        <a:gd name="connsiteX54" fmla="*/ 3452889 w 4056446"/>
                        <a:gd name="connsiteY54" fmla="*/ 2576492 h 4059872"/>
                        <a:gd name="connsiteX55" fmla="*/ 3419706 w 4056446"/>
                        <a:gd name="connsiteY55" fmla="*/ 2643915 h 4059872"/>
                        <a:gd name="connsiteX56" fmla="*/ 3784308 w 4056446"/>
                        <a:gd name="connsiteY56" fmla="*/ 2934067 h 4059872"/>
                        <a:gd name="connsiteX57" fmla="*/ 3792196 w 4056446"/>
                        <a:gd name="connsiteY57" fmla="*/ 3003438 h 4059872"/>
                        <a:gd name="connsiteX58" fmla="*/ 3444682 w 4056446"/>
                        <a:gd name="connsiteY58" fmla="*/ 3440122 h 4059872"/>
                        <a:gd name="connsiteX59" fmla="*/ 3375310 w 4056446"/>
                        <a:gd name="connsiteY59" fmla="*/ 3448010 h 4059872"/>
                        <a:gd name="connsiteX60" fmla="*/ 3021442 w 4056446"/>
                        <a:gd name="connsiteY60" fmla="*/ 3166400 h 4059872"/>
                        <a:gd name="connsiteX61" fmla="*/ 2969339 w 4056446"/>
                        <a:gd name="connsiteY61" fmla="*/ 3209732 h 4059872"/>
                        <a:gd name="connsiteX62" fmla="*/ 2632143 w 4056446"/>
                        <a:gd name="connsiteY62" fmla="*/ 3404184 h 4059872"/>
                        <a:gd name="connsiteX63" fmla="*/ 2530226 w 4056446"/>
                        <a:gd name="connsiteY63" fmla="*/ 3439066 h 4059872"/>
                        <a:gd name="connsiteX64" fmla="*/ 2602529 w 4056446"/>
                        <a:gd name="connsiteY64" fmla="*/ 3920232 h 4059872"/>
                        <a:gd name="connsiteX65" fmla="*/ 2561044 w 4056446"/>
                        <a:gd name="connsiteY65" fmla="*/ 3976388 h 4059872"/>
                        <a:gd name="connsiteX66" fmla="*/ 2009155 w 4056446"/>
                        <a:gd name="connsiteY66" fmla="*/ 4059318 h 4059872"/>
                        <a:gd name="connsiteX67" fmla="*/ 1952998 w 4056446"/>
                        <a:gd name="connsiteY67" fmla="*/ 4017833 h 4059872"/>
                        <a:gd name="connsiteX68" fmla="*/ 1877723 w 4056446"/>
                        <a:gd name="connsiteY68" fmla="*/ 3516888 h 4059872"/>
                        <a:gd name="connsiteX69" fmla="*/ 1879319 w 4056446"/>
                        <a:gd name="connsiteY69" fmla="*/ 3510465 h 4059872"/>
                        <a:gd name="connsiteX70" fmla="*/ 1689223 w 4056446"/>
                        <a:gd name="connsiteY70" fmla="*/ 3476542 h 4059872"/>
                        <a:gd name="connsiteX71" fmla="*/ 1503182 w 4056446"/>
                        <a:gd name="connsiteY71" fmla="*/ 3417844 h 4059872"/>
                        <a:gd name="connsiteX72" fmla="*/ 1376140 w 4056446"/>
                        <a:gd name="connsiteY72" fmla="*/ 3361034 h 4059872"/>
                        <a:gd name="connsiteX73" fmla="*/ 1077078 w 4056446"/>
                        <a:gd name="connsiteY73" fmla="*/ 3736832 h 4059872"/>
                        <a:gd name="connsiteX74" fmla="*/ 1007707 w 4056446"/>
                        <a:gd name="connsiteY74" fmla="*/ 3744720 h 405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056446" h="4059872">
                          <a:moveTo>
                            <a:pt x="1216809" y="3055242"/>
                          </a:moveTo>
                          <a:cubicBezTo>
                            <a:pt x="1795626" y="3515866"/>
                            <a:pt x="2638261" y="3420052"/>
                            <a:pt x="3098885" y="2841236"/>
                          </a:cubicBezTo>
                          <a:cubicBezTo>
                            <a:pt x="3559509" y="2262419"/>
                            <a:pt x="3463695" y="1419785"/>
                            <a:pt x="2884879" y="959160"/>
                          </a:cubicBezTo>
                          <a:cubicBezTo>
                            <a:pt x="2306062" y="498536"/>
                            <a:pt x="1463428" y="594350"/>
                            <a:pt x="1002803" y="1173166"/>
                          </a:cubicBezTo>
                          <a:cubicBezTo>
                            <a:pt x="542179" y="1751983"/>
                            <a:pt x="637993" y="2594617"/>
                            <a:pt x="1216809" y="3055242"/>
                          </a:cubicBezTo>
                          <a:close/>
                          <a:moveTo>
                            <a:pt x="1007707" y="3744720"/>
                          </a:moveTo>
                          <a:lnTo>
                            <a:pt x="571023" y="3397206"/>
                          </a:lnTo>
                          <a:cubicBezTo>
                            <a:pt x="549689" y="3380228"/>
                            <a:pt x="546157" y="3349169"/>
                            <a:pt x="563135" y="3327835"/>
                          </a:cubicBezTo>
                          <a:lnTo>
                            <a:pt x="866464" y="2946674"/>
                          </a:lnTo>
                          <a:lnTo>
                            <a:pt x="799169" y="2857589"/>
                          </a:lnTo>
                          <a:cubicBezTo>
                            <a:pt x="753845" y="2790921"/>
                            <a:pt x="714309" y="2721214"/>
                            <a:pt x="680648" y="2649231"/>
                          </a:cubicBezTo>
                          <a:lnTo>
                            <a:pt x="616826" y="2479081"/>
                          </a:lnTo>
                          <a:lnTo>
                            <a:pt x="115475" y="2533963"/>
                          </a:lnTo>
                          <a:cubicBezTo>
                            <a:pt x="88371" y="2536930"/>
                            <a:pt x="63994" y="2517363"/>
                            <a:pt x="61027" y="2490259"/>
                          </a:cubicBezTo>
                          <a:lnTo>
                            <a:pt x="297" y="1935488"/>
                          </a:lnTo>
                          <a:cubicBezTo>
                            <a:pt x="-2670" y="1908384"/>
                            <a:pt x="16897" y="1884007"/>
                            <a:pt x="44001" y="1881040"/>
                          </a:cubicBezTo>
                          <a:lnTo>
                            <a:pt x="547562" y="1825916"/>
                          </a:lnTo>
                          <a:lnTo>
                            <a:pt x="549211" y="1826397"/>
                          </a:lnTo>
                          <a:lnTo>
                            <a:pt x="564245" y="1725111"/>
                          </a:lnTo>
                          <a:cubicBezTo>
                            <a:pt x="586333" y="1608169"/>
                            <a:pt x="622419" y="1492985"/>
                            <a:pt x="672799" y="1382137"/>
                          </a:cubicBezTo>
                          <a:lnTo>
                            <a:pt x="704433" y="1322516"/>
                          </a:lnTo>
                          <a:lnTo>
                            <a:pt x="314187" y="1011958"/>
                          </a:lnTo>
                          <a:cubicBezTo>
                            <a:pt x="292853" y="994979"/>
                            <a:pt x="289321" y="963921"/>
                            <a:pt x="306299" y="942586"/>
                          </a:cubicBezTo>
                          <a:lnTo>
                            <a:pt x="653814" y="505903"/>
                          </a:lnTo>
                          <a:cubicBezTo>
                            <a:pt x="670792" y="484568"/>
                            <a:pt x="701850" y="481036"/>
                            <a:pt x="723185" y="498015"/>
                          </a:cubicBezTo>
                          <a:lnTo>
                            <a:pt x="1119559" y="813450"/>
                          </a:lnTo>
                          <a:lnTo>
                            <a:pt x="1120994" y="815157"/>
                          </a:lnTo>
                          <a:lnTo>
                            <a:pt x="1139802" y="799005"/>
                          </a:lnTo>
                          <a:cubicBezTo>
                            <a:pt x="1239379" y="723809"/>
                            <a:pt x="1346706" y="662249"/>
                            <a:pt x="1459003" y="614640"/>
                          </a:cubicBezTo>
                          <a:lnTo>
                            <a:pt x="1559225" y="577750"/>
                          </a:lnTo>
                          <a:lnTo>
                            <a:pt x="1550191" y="555938"/>
                          </a:lnTo>
                          <a:lnTo>
                            <a:pt x="1550191" y="49369"/>
                          </a:lnTo>
                          <a:cubicBezTo>
                            <a:pt x="1550191" y="22103"/>
                            <a:pt x="1572294" y="0"/>
                            <a:pt x="1599560" y="0"/>
                          </a:cubicBezTo>
                          <a:lnTo>
                            <a:pt x="2157645" y="0"/>
                          </a:lnTo>
                          <a:cubicBezTo>
                            <a:pt x="2184911" y="0"/>
                            <a:pt x="2207014" y="22103"/>
                            <a:pt x="2207014" y="49369"/>
                          </a:cubicBezTo>
                          <a:lnTo>
                            <a:pt x="2207014" y="503618"/>
                          </a:lnTo>
                          <a:lnTo>
                            <a:pt x="2314929" y="517315"/>
                          </a:lnTo>
                          <a:cubicBezTo>
                            <a:pt x="2435047" y="538497"/>
                            <a:pt x="2553456" y="574389"/>
                            <a:pt x="2667373" y="625309"/>
                          </a:cubicBezTo>
                          <a:lnTo>
                            <a:pt x="2700138" y="642497"/>
                          </a:lnTo>
                          <a:lnTo>
                            <a:pt x="3008044" y="255585"/>
                          </a:lnTo>
                          <a:cubicBezTo>
                            <a:pt x="3025022" y="234250"/>
                            <a:pt x="3056080" y="230719"/>
                            <a:pt x="3077415" y="247697"/>
                          </a:cubicBezTo>
                          <a:lnTo>
                            <a:pt x="3514099" y="595211"/>
                          </a:lnTo>
                          <a:cubicBezTo>
                            <a:pt x="3535434" y="612190"/>
                            <a:pt x="3538965" y="643248"/>
                            <a:pt x="3521987" y="664583"/>
                          </a:cubicBezTo>
                          <a:lnTo>
                            <a:pt x="3218637" y="1045770"/>
                          </a:lnTo>
                          <a:lnTo>
                            <a:pt x="3302519" y="1156813"/>
                          </a:lnTo>
                          <a:cubicBezTo>
                            <a:pt x="3347843" y="1223481"/>
                            <a:pt x="3387379" y="1293188"/>
                            <a:pt x="3421041" y="1365171"/>
                          </a:cubicBezTo>
                          <a:lnTo>
                            <a:pt x="3454648" y="1454771"/>
                          </a:lnTo>
                          <a:lnTo>
                            <a:pt x="3458789" y="1452702"/>
                          </a:lnTo>
                          <a:lnTo>
                            <a:pt x="3964088" y="1416853"/>
                          </a:lnTo>
                          <a:cubicBezTo>
                            <a:pt x="3991286" y="1414924"/>
                            <a:pt x="4014897" y="1435407"/>
                            <a:pt x="4016827" y="1462605"/>
                          </a:cubicBezTo>
                          <a:lnTo>
                            <a:pt x="4056321" y="2019290"/>
                          </a:lnTo>
                          <a:cubicBezTo>
                            <a:pt x="4058251" y="2046488"/>
                            <a:pt x="4037767" y="2070100"/>
                            <a:pt x="4010569" y="2072030"/>
                          </a:cubicBezTo>
                          <a:lnTo>
                            <a:pt x="3559565" y="2104026"/>
                          </a:lnTo>
                          <a:lnTo>
                            <a:pt x="3554874" y="2171858"/>
                          </a:lnTo>
                          <a:cubicBezTo>
                            <a:pt x="3539956" y="2309323"/>
                            <a:pt x="3506117" y="2445566"/>
                            <a:pt x="3452889" y="2576492"/>
                          </a:cubicBezTo>
                          <a:lnTo>
                            <a:pt x="3419706" y="2643915"/>
                          </a:lnTo>
                          <a:lnTo>
                            <a:pt x="3784308" y="2934067"/>
                          </a:lnTo>
                          <a:cubicBezTo>
                            <a:pt x="3805643" y="2951045"/>
                            <a:pt x="3809174" y="2982104"/>
                            <a:pt x="3792196" y="3003438"/>
                          </a:cubicBezTo>
                          <a:lnTo>
                            <a:pt x="3444682" y="3440122"/>
                          </a:lnTo>
                          <a:cubicBezTo>
                            <a:pt x="3427703" y="3461457"/>
                            <a:pt x="3396645" y="3464988"/>
                            <a:pt x="3375310" y="3448010"/>
                          </a:cubicBezTo>
                          <a:lnTo>
                            <a:pt x="3021442" y="3166400"/>
                          </a:lnTo>
                          <a:lnTo>
                            <a:pt x="2969339" y="3209732"/>
                          </a:lnTo>
                          <a:cubicBezTo>
                            <a:pt x="2864573" y="3289877"/>
                            <a:pt x="2751081" y="3354819"/>
                            <a:pt x="2632143" y="3404184"/>
                          </a:cubicBezTo>
                          <a:lnTo>
                            <a:pt x="2530226" y="3439066"/>
                          </a:lnTo>
                          <a:lnTo>
                            <a:pt x="2602529" y="3920232"/>
                          </a:lnTo>
                          <a:cubicBezTo>
                            <a:pt x="2606580" y="3947195"/>
                            <a:pt x="2588007" y="3972337"/>
                            <a:pt x="2561044" y="3976388"/>
                          </a:cubicBezTo>
                          <a:lnTo>
                            <a:pt x="2009155" y="4059318"/>
                          </a:lnTo>
                          <a:cubicBezTo>
                            <a:pt x="1982191" y="4063370"/>
                            <a:pt x="1957049" y="4044796"/>
                            <a:pt x="1952998" y="4017833"/>
                          </a:cubicBezTo>
                          <a:lnTo>
                            <a:pt x="1877723" y="3516888"/>
                          </a:lnTo>
                          <a:lnTo>
                            <a:pt x="1879319" y="3510465"/>
                          </a:lnTo>
                          <a:lnTo>
                            <a:pt x="1689223" y="3476542"/>
                          </a:lnTo>
                          <a:cubicBezTo>
                            <a:pt x="1626384" y="3461119"/>
                            <a:pt x="1564234" y="3441568"/>
                            <a:pt x="1503182" y="3417844"/>
                          </a:cubicBezTo>
                          <a:lnTo>
                            <a:pt x="1376140" y="3361034"/>
                          </a:lnTo>
                          <a:lnTo>
                            <a:pt x="1077078" y="3736832"/>
                          </a:lnTo>
                          <a:cubicBezTo>
                            <a:pt x="1060100" y="3758167"/>
                            <a:pt x="1029042" y="3761699"/>
                            <a:pt x="1007707" y="374472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grpSp>
            <p:grpSp>
              <p:nvGrpSpPr>
                <p:cNvPr id="18" name="Group 126"/>
                <p:cNvGrpSpPr/>
                <p:nvPr/>
              </p:nvGrpSpPr>
              <p:grpSpPr>
                <a:xfrm>
                  <a:off x="2628499" y="3373788"/>
                  <a:ext cx="1162896" cy="1333985"/>
                  <a:chOff x="2628499" y="3373788"/>
                  <a:chExt cx="1162896" cy="1333985"/>
                </a:xfrm>
              </p:grpSpPr>
              <p:sp>
                <p:nvSpPr>
                  <p:cNvPr id="22" name="Hexagon 24"/>
                  <p:cNvSpPr/>
                  <p:nvPr/>
                </p:nvSpPr>
                <p:spPr>
                  <a:xfrm rot="5400000">
                    <a:off x="2542954" y="3459333"/>
                    <a:ext cx="1333985" cy="1162896"/>
                  </a:xfrm>
                  <a:prstGeom prst="hexagon">
                    <a:avLst>
                      <a:gd name="adj" fmla="val 28638"/>
                      <a:gd name="vf" fmla="val 115470"/>
                    </a:avLst>
                  </a:prstGeom>
                  <a:solidFill>
                    <a:srgbClr val="6D207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grpSp>
                <p:nvGrpSpPr>
                  <p:cNvPr id="23" name="Group 117"/>
                  <p:cNvGrpSpPr/>
                  <p:nvPr/>
                </p:nvGrpSpPr>
                <p:grpSpPr>
                  <a:xfrm>
                    <a:off x="2981301" y="3819552"/>
                    <a:ext cx="457290" cy="442458"/>
                    <a:chOff x="1474102" y="1274268"/>
                    <a:chExt cx="3152983" cy="3050707"/>
                  </a:xfrm>
                  <a:solidFill>
                    <a:schemeClr val="bg1"/>
                  </a:solidFill>
                </p:grpSpPr>
                <p:sp>
                  <p:nvSpPr>
                    <p:cNvPr id="24" name="Freeform 118"/>
                    <p:cNvSpPr/>
                    <p:nvPr/>
                  </p:nvSpPr>
                  <p:spPr>
                    <a:xfrm>
                      <a:off x="1576377" y="1274268"/>
                      <a:ext cx="3050708" cy="3050707"/>
                    </a:xfrm>
                    <a:custGeom>
                      <a:avLst/>
                      <a:gdLst>
                        <a:gd name="connsiteX0" fmla="*/ 1525354 w 3050708"/>
                        <a:gd name="connsiteY0" fmla="*/ 874163 h 3050706"/>
                        <a:gd name="connsiteX1" fmla="*/ 2176545 w 3050708"/>
                        <a:gd name="connsiteY1" fmla="*/ 1525354 h 3050706"/>
                        <a:gd name="connsiteX2" fmla="*/ 1525354 w 3050708"/>
                        <a:gd name="connsiteY2" fmla="*/ 2176545 h 3050706"/>
                        <a:gd name="connsiteX3" fmla="*/ 874163 w 3050708"/>
                        <a:gd name="connsiteY3" fmla="*/ 1525354 h 3050706"/>
                        <a:gd name="connsiteX4" fmla="*/ 887393 w 3050708"/>
                        <a:gd name="connsiteY4" fmla="*/ 1394116 h 3050706"/>
                        <a:gd name="connsiteX5" fmla="*/ 919508 w 3050708"/>
                        <a:gd name="connsiteY5" fmla="*/ 1290657 h 3050706"/>
                        <a:gd name="connsiteX6" fmla="*/ 1253219 w 3050708"/>
                        <a:gd name="connsiteY6" fmla="*/ 1519163 h 3050706"/>
                        <a:gd name="connsiteX7" fmla="*/ 1252595 w 3050708"/>
                        <a:gd name="connsiteY7" fmla="*/ 1525354 h 3050706"/>
                        <a:gd name="connsiteX8" fmla="*/ 1525355 w 3050708"/>
                        <a:gd name="connsiteY8" fmla="*/ 1798114 h 3050706"/>
                        <a:gd name="connsiteX9" fmla="*/ 1798115 w 3050708"/>
                        <a:gd name="connsiteY9" fmla="*/ 1525354 h 3050706"/>
                        <a:gd name="connsiteX10" fmla="*/ 1525355 w 3050708"/>
                        <a:gd name="connsiteY10" fmla="*/ 1252594 h 3050706"/>
                        <a:gd name="connsiteX11" fmla="*/ 1419184 w 3050708"/>
                        <a:gd name="connsiteY11" fmla="*/ 1274029 h 3050706"/>
                        <a:gd name="connsiteX12" fmla="*/ 1391920 w 3050708"/>
                        <a:gd name="connsiteY12" fmla="*/ 1288828 h 3050706"/>
                        <a:gd name="connsiteX13" fmla="*/ 1247635 w 3050708"/>
                        <a:gd name="connsiteY13" fmla="*/ 1190030 h 3050706"/>
                        <a:gd name="connsiteX14" fmla="*/ 1064889 w 3050708"/>
                        <a:gd name="connsiteY14" fmla="*/ 1064896 h 3050706"/>
                        <a:gd name="connsiteX15" fmla="*/ 1064892 w 3050708"/>
                        <a:gd name="connsiteY15" fmla="*/ 1064892 h 3050706"/>
                        <a:gd name="connsiteX16" fmla="*/ 1525354 w 3050708"/>
                        <a:gd name="connsiteY16" fmla="*/ 874163 h 3050706"/>
                        <a:gd name="connsiteX17" fmla="*/ 1525354 w 3050708"/>
                        <a:gd name="connsiteY17" fmla="*/ 401256 h 3050706"/>
                        <a:gd name="connsiteX18" fmla="*/ 2649452 w 3050708"/>
                        <a:gd name="connsiteY18" fmla="*/ 1525353 h 3050706"/>
                        <a:gd name="connsiteX19" fmla="*/ 1525354 w 3050708"/>
                        <a:gd name="connsiteY19" fmla="*/ 2649450 h 3050706"/>
                        <a:gd name="connsiteX20" fmla="*/ 401256 w 3050708"/>
                        <a:gd name="connsiteY20" fmla="*/ 1525353 h 3050706"/>
                        <a:gd name="connsiteX21" fmla="*/ 451793 w 3050708"/>
                        <a:gd name="connsiteY21" fmla="*/ 1191081 h 3050706"/>
                        <a:gd name="connsiteX22" fmla="*/ 483722 w 3050708"/>
                        <a:gd name="connsiteY22" fmla="*/ 1103845 h 3050706"/>
                        <a:gd name="connsiteX23" fmla="*/ 598275 w 3050708"/>
                        <a:gd name="connsiteY23" fmla="*/ 1070695 h 3050706"/>
                        <a:gd name="connsiteX24" fmla="*/ 604495 w 3050708"/>
                        <a:gd name="connsiteY24" fmla="*/ 1074954 h 3050706"/>
                        <a:gd name="connsiteX25" fmla="*/ 731352 w 3050708"/>
                        <a:gd name="connsiteY25" fmla="*/ 1161819 h 3050706"/>
                        <a:gd name="connsiteX26" fmla="*/ 718938 w 3050708"/>
                        <a:gd name="connsiteY26" fmla="*/ 1184689 h 3050706"/>
                        <a:gd name="connsiteX27" fmla="*/ 650161 w 3050708"/>
                        <a:gd name="connsiteY27" fmla="*/ 1525354 h 3050706"/>
                        <a:gd name="connsiteX28" fmla="*/ 1525354 w 3050708"/>
                        <a:gd name="connsiteY28" fmla="*/ 2400547 h 3050706"/>
                        <a:gd name="connsiteX29" fmla="*/ 2400548 w 3050708"/>
                        <a:gd name="connsiteY29" fmla="*/ 1525354 h 3050706"/>
                        <a:gd name="connsiteX30" fmla="*/ 1525354 w 3050708"/>
                        <a:gd name="connsiteY30" fmla="*/ 650161 h 3050706"/>
                        <a:gd name="connsiteX31" fmla="*/ 906499 w 3050708"/>
                        <a:gd name="connsiteY31" fmla="*/ 906499 h 3050706"/>
                        <a:gd name="connsiteX32" fmla="*/ 880169 w 3050708"/>
                        <a:gd name="connsiteY32" fmla="*/ 938411 h 3050706"/>
                        <a:gd name="connsiteX33" fmla="*/ 863487 w 3050708"/>
                        <a:gd name="connsiteY33" fmla="*/ 926988 h 3050706"/>
                        <a:gd name="connsiteX34" fmla="*/ 724821 w 3050708"/>
                        <a:gd name="connsiteY34" fmla="*/ 832038 h 3050706"/>
                        <a:gd name="connsiteX35" fmla="*/ 718229 w 3050708"/>
                        <a:gd name="connsiteY35" fmla="*/ 743995 h 3050706"/>
                        <a:gd name="connsiteX36" fmla="*/ 730497 w 3050708"/>
                        <a:gd name="connsiteY36" fmla="*/ 730496 h 3050706"/>
                        <a:gd name="connsiteX37" fmla="*/ 1525354 w 3050708"/>
                        <a:gd name="connsiteY37" fmla="*/ 401256 h 3050706"/>
                        <a:gd name="connsiteX38" fmla="*/ 1525354 w 3050708"/>
                        <a:gd name="connsiteY38" fmla="*/ 0 h 3050706"/>
                        <a:gd name="connsiteX39" fmla="*/ 3050708 w 3050708"/>
                        <a:gd name="connsiteY39" fmla="*/ 1525353 h 3050706"/>
                        <a:gd name="connsiteX40" fmla="*/ 1525354 w 3050708"/>
                        <a:gd name="connsiteY40" fmla="*/ 3050706 h 3050706"/>
                        <a:gd name="connsiteX41" fmla="*/ 0 w 3050708"/>
                        <a:gd name="connsiteY41" fmla="*/ 1525353 h 3050706"/>
                        <a:gd name="connsiteX42" fmla="*/ 48022 w 3050708"/>
                        <a:gd name="connsiteY42" fmla="*/ 1144144 h 3050706"/>
                        <a:gd name="connsiteX43" fmla="*/ 76644 w 3050708"/>
                        <a:gd name="connsiteY43" fmla="*/ 1055925 h 3050706"/>
                        <a:gd name="connsiteX44" fmla="*/ 251628 w 3050708"/>
                        <a:gd name="connsiteY44" fmla="*/ 1171010 h 3050706"/>
                        <a:gd name="connsiteX45" fmla="*/ 266430 w 3050708"/>
                        <a:gd name="connsiteY45" fmla="*/ 1166727 h 3050706"/>
                        <a:gd name="connsiteX46" fmla="*/ 242095 w 3050708"/>
                        <a:gd name="connsiteY46" fmla="*/ 1261369 h 3050706"/>
                        <a:gd name="connsiteX47" fmla="*/ 215483 w 3050708"/>
                        <a:gd name="connsiteY47" fmla="*/ 1525353 h 3050706"/>
                        <a:gd name="connsiteX48" fmla="*/ 1525354 w 3050708"/>
                        <a:gd name="connsiteY48" fmla="*/ 2835224 h 3050706"/>
                        <a:gd name="connsiteX49" fmla="*/ 2835226 w 3050708"/>
                        <a:gd name="connsiteY49" fmla="*/ 1525353 h 3050706"/>
                        <a:gd name="connsiteX50" fmla="*/ 1525354 w 3050708"/>
                        <a:gd name="connsiteY50" fmla="*/ 215482 h 3050706"/>
                        <a:gd name="connsiteX51" fmla="*/ 792993 w 3050708"/>
                        <a:gd name="connsiteY51" fmla="*/ 439188 h 3050706"/>
                        <a:gd name="connsiteX52" fmla="*/ 700582 w 3050708"/>
                        <a:gd name="connsiteY52" fmla="*/ 508292 h 3050706"/>
                        <a:gd name="connsiteX53" fmla="*/ 700062 w 3050708"/>
                        <a:gd name="connsiteY53" fmla="*/ 501357 h 3050706"/>
                        <a:gd name="connsiteX54" fmla="*/ 521935 w 3050708"/>
                        <a:gd name="connsiteY54" fmla="*/ 379415 h 3050706"/>
                        <a:gd name="connsiteX55" fmla="*/ 583621 w 3050708"/>
                        <a:gd name="connsiteY55" fmla="*/ 325337 h 3050706"/>
                        <a:gd name="connsiteX56" fmla="*/ 1525354 w 3050708"/>
                        <a:gd name="connsiteY56" fmla="*/ 0 h 3050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050708" h="3050706">
                          <a:moveTo>
                            <a:pt x="1525354" y="874163"/>
                          </a:moveTo>
                          <a:cubicBezTo>
                            <a:pt x="1884997" y="874163"/>
                            <a:pt x="2176545" y="1165711"/>
                            <a:pt x="2176545" y="1525354"/>
                          </a:cubicBezTo>
                          <a:cubicBezTo>
                            <a:pt x="2176545" y="1884997"/>
                            <a:pt x="1884997" y="2176545"/>
                            <a:pt x="1525354" y="2176545"/>
                          </a:cubicBezTo>
                          <a:cubicBezTo>
                            <a:pt x="1165711" y="2176545"/>
                            <a:pt x="874163" y="1884997"/>
                            <a:pt x="874163" y="1525354"/>
                          </a:cubicBezTo>
                          <a:cubicBezTo>
                            <a:pt x="874163" y="1480398"/>
                            <a:pt x="878718" y="1436507"/>
                            <a:pt x="887393" y="1394116"/>
                          </a:cubicBezTo>
                          <a:lnTo>
                            <a:pt x="919508" y="1290657"/>
                          </a:lnTo>
                          <a:lnTo>
                            <a:pt x="1253219" y="1519163"/>
                          </a:lnTo>
                          <a:lnTo>
                            <a:pt x="1252595" y="1525354"/>
                          </a:lnTo>
                          <a:cubicBezTo>
                            <a:pt x="1252595" y="1675995"/>
                            <a:pt x="1374714" y="1798114"/>
                            <a:pt x="1525355" y="1798114"/>
                          </a:cubicBezTo>
                          <a:cubicBezTo>
                            <a:pt x="1675996" y="1798114"/>
                            <a:pt x="1798115" y="1675995"/>
                            <a:pt x="1798115" y="1525354"/>
                          </a:cubicBezTo>
                          <a:cubicBezTo>
                            <a:pt x="1798115" y="1374713"/>
                            <a:pt x="1675996" y="1252594"/>
                            <a:pt x="1525355" y="1252594"/>
                          </a:cubicBezTo>
                          <a:cubicBezTo>
                            <a:pt x="1487695" y="1252594"/>
                            <a:pt x="1451817" y="1260227"/>
                            <a:pt x="1419184" y="1274029"/>
                          </a:cubicBezTo>
                          <a:lnTo>
                            <a:pt x="1391920" y="1288828"/>
                          </a:lnTo>
                          <a:lnTo>
                            <a:pt x="1247635" y="1190030"/>
                          </a:lnTo>
                          <a:lnTo>
                            <a:pt x="1064889" y="1064896"/>
                          </a:lnTo>
                          <a:lnTo>
                            <a:pt x="1064892" y="1064892"/>
                          </a:lnTo>
                          <a:cubicBezTo>
                            <a:pt x="1182735" y="947050"/>
                            <a:pt x="1345533" y="874163"/>
                            <a:pt x="1525354" y="874163"/>
                          </a:cubicBezTo>
                          <a:close/>
                          <a:moveTo>
                            <a:pt x="1525354" y="401256"/>
                          </a:moveTo>
                          <a:cubicBezTo>
                            <a:pt x="2146176" y="401256"/>
                            <a:pt x="2649452" y="904531"/>
                            <a:pt x="2649452" y="1525353"/>
                          </a:cubicBezTo>
                          <a:cubicBezTo>
                            <a:pt x="2649452" y="2146175"/>
                            <a:pt x="2146176" y="2649450"/>
                            <a:pt x="1525354" y="2649450"/>
                          </a:cubicBezTo>
                          <a:cubicBezTo>
                            <a:pt x="904532" y="2649450"/>
                            <a:pt x="401256" y="2146175"/>
                            <a:pt x="401256" y="1525353"/>
                          </a:cubicBezTo>
                          <a:cubicBezTo>
                            <a:pt x="401256" y="1408949"/>
                            <a:pt x="418950" y="1296678"/>
                            <a:pt x="451793" y="1191081"/>
                          </a:cubicBezTo>
                          <a:lnTo>
                            <a:pt x="483722" y="1103845"/>
                          </a:lnTo>
                          <a:lnTo>
                            <a:pt x="598275" y="1070695"/>
                          </a:lnTo>
                          <a:lnTo>
                            <a:pt x="604495" y="1074954"/>
                          </a:lnTo>
                          <a:lnTo>
                            <a:pt x="731352" y="1161819"/>
                          </a:lnTo>
                          <a:lnTo>
                            <a:pt x="718938" y="1184689"/>
                          </a:lnTo>
                          <a:cubicBezTo>
                            <a:pt x="674651" y="1289396"/>
                            <a:pt x="650161" y="1404515"/>
                            <a:pt x="650161" y="1525354"/>
                          </a:cubicBezTo>
                          <a:cubicBezTo>
                            <a:pt x="650161" y="2008710"/>
                            <a:pt x="1041998" y="2400547"/>
                            <a:pt x="1525354" y="2400547"/>
                          </a:cubicBezTo>
                          <a:cubicBezTo>
                            <a:pt x="2008710" y="2400547"/>
                            <a:pt x="2400548" y="2008710"/>
                            <a:pt x="2400548" y="1525354"/>
                          </a:cubicBezTo>
                          <a:cubicBezTo>
                            <a:pt x="2400548" y="1041998"/>
                            <a:pt x="2008710" y="650161"/>
                            <a:pt x="1525354" y="650161"/>
                          </a:cubicBezTo>
                          <a:cubicBezTo>
                            <a:pt x="1283676" y="650161"/>
                            <a:pt x="1064878" y="748120"/>
                            <a:pt x="906499" y="906499"/>
                          </a:cubicBezTo>
                          <a:lnTo>
                            <a:pt x="880169" y="938411"/>
                          </a:lnTo>
                          <a:lnTo>
                            <a:pt x="863487" y="926988"/>
                          </a:lnTo>
                          <a:lnTo>
                            <a:pt x="724821" y="832038"/>
                          </a:lnTo>
                          <a:lnTo>
                            <a:pt x="718229" y="743995"/>
                          </a:lnTo>
                          <a:lnTo>
                            <a:pt x="730497" y="730496"/>
                          </a:lnTo>
                          <a:cubicBezTo>
                            <a:pt x="933919" y="527075"/>
                            <a:pt x="1214943" y="401256"/>
                            <a:pt x="1525354" y="401256"/>
                          </a:cubicBezTo>
                          <a:close/>
                          <a:moveTo>
                            <a:pt x="1525354" y="0"/>
                          </a:moveTo>
                          <a:cubicBezTo>
                            <a:pt x="2367784" y="0"/>
                            <a:pt x="3050708" y="682924"/>
                            <a:pt x="3050708" y="1525353"/>
                          </a:cubicBezTo>
                          <a:cubicBezTo>
                            <a:pt x="3050708" y="2367782"/>
                            <a:pt x="2367784" y="3050706"/>
                            <a:pt x="1525354" y="3050706"/>
                          </a:cubicBezTo>
                          <a:cubicBezTo>
                            <a:pt x="682925" y="3050706"/>
                            <a:pt x="0" y="2367782"/>
                            <a:pt x="0" y="1525353"/>
                          </a:cubicBezTo>
                          <a:cubicBezTo>
                            <a:pt x="0" y="1393724"/>
                            <a:pt x="16673" y="1265988"/>
                            <a:pt x="48022" y="1144144"/>
                          </a:cubicBezTo>
                          <a:lnTo>
                            <a:pt x="76644" y="1055925"/>
                          </a:lnTo>
                          <a:lnTo>
                            <a:pt x="251628" y="1171010"/>
                          </a:lnTo>
                          <a:lnTo>
                            <a:pt x="266430" y="1166727"/>
                          </a:lnTo>
                          <a:lnTo>
                            <a:pt x="242095" y="1261369"/>
                          </a:lnTo>
                          <a:cubicBezTo>
                            <a:pt x="224646" y="1346638"/>
                            <a:pt x="215483" y="1434926"/>
                            <a:pt x="215483" y="1525353"/>
                          </a:cubicBezTo>
                          <a:cubicBezTo>
                            <a:pt x="215483" y="2248774"/>
                            <a:pt x="801932" y="2835224"/>
                            <a:pt x="1525354" y="2835224"/>
                          </a:cubicBezTo>
                          <a:cubicBezTo>
                            <a:pt x="2248776" y="2835224"/>
                            <a:pt x="2835226" y="2248774"/>
                            <a:pt x="2835226" y="1525353"/>
                          </a:cubicBezTo>
                          <a:cubicBezTo>
                            <a:pt x="2835226" y="801932"/>
                            <a:pt x="2248776" y="215482"/>
                            <a:pt x="1525354" y="215482"/>
                          </a:cubicBezTo>
                          <a:cubicBezTo>
                            <a:pt x="1254071" y="215482"/>
                            <a:pt x="1002049" y="297952"/>
                            <a:pt x="792993" y="439188"/>
                          </a:cubicBezTo>
                          <a:lnTo>
                            <a:pt x="700582" y="508292"/>
                          </a:lnTo>
                          <a:lnTo>
                            <a:pt x="700062" y="501357"/>
                          </a:lnTo>
                          <a:lnTo>
                            <a:pt x="521935" y="379415"/>
                          </a:lnTo>
                          <a:lnTo>
                            <a:pt x="583621" y="325337"/>
                          </a:lnTo>
                          <a:cubicBezTo>
                            <a:pt x="842943" y="121546"/>
                            <a:pt x="1169955" y="0"/>
                            <a:pt x="1525354" y="0"/>
                          </a:cubicBezTo>
                          <a:close/>
                        </a:path>
                      </a:pathLst>
                    </a:custGeom>
                    <a:grpFill/>
                    <a:ln w="12700" cap="flat" cmpd="sng" algn="ctr">
                      <a:noFill/>
                      <a:prstDash val="solid"/>
                      <a:miter lim="800000"/>
                    </a:ln>
                    <a:effectLst/>
                  </p:spPr>
                  <p:txBody>
                    <a:bodyPr wrap="square" rtlCol="0" anchor="ctr">
                      <a:noAutofit/>
                    </a:bodyPr>
                    <a:lstStyle/>
                    <a:p>
                      <a:pPr algn="ctr" defTabSz="685800"/>
                      <a:endParaRPr lang="en-US" sz="1350" kern="0">
                        <a:solidFill>
                          <a:prstClr val="white"/>
                        </a:solidFill>
                        <a:latin typeface="Arial"/>
                      </a:endParaRPr>
                    </a:p>
                  </p:txBody>
                </p:sp>
                <p:grpSp>
                  <p:nvGrpSpPr>
                    <p:cNvPr id="25" name="Group 119"/>
                    <p:cNvGrpSpPr/>
                    <p:nvPr/>
                  </p:nvGrpSpPr>
                  <p:grpSpPr>
                    <a:xfrm>
                      <a:off x="1474102" y="1570577"/>
                      <a:ext cx="1827492" cy="850934"/>
                      <a:chOff x="1474102" y="1570577"/>
                      <a:chExt cx="1827492" cy="850934"/>
                    </a:xfrm>
                    <a:grpFill/>
                  </p:grpSpPr>
                  <p:grpSp>
                    <p:nvGrpSpPr>
                      <p:cNvPr id="26" name="Group 120"/>
                      <p:cNvGrpSpPr/>
                      <p:nvPr/>
                    </p:nvGrpSpPr>
                    <p:grpSpPr>
                      <a:xfrm>
                        <a:off x="1494698" y="1570577"/>
                        <a:ext cx="771535" cy="824388"/>
                        <a:chOff x="1494698" y="1570577"/>
                        <a:chExt cx="771535" cy="824388"/>
                      </a:xfrm>
                      <a:grpFill/>
                    </p:grpSpPr>
                    <p:sp>
                      <p:nvSpPr>
                        <p:cNvPr id="28" name="Rectangle 4"/>
                        <p:cNvSpPr/>
                        <p:nvPr/>
                      </p:nvSpPr>
                      <p:spPr>
                        <a:xfrm>
                          <a:off x="1861471" y="1570577"/>
                          <a:ext cx="404762" cy="577848"/>
                        </a:xfrm>
                        <a:custGeom>
                          <a:avLst/>
                          <a:gdLst>
                            <a:gd name="connsiteX0" fmla="*/ 0 w 1017095"/>
                            <a:gd name="connsiteY0" fmla="*/ 0 h 1088294"/>
                            <a:gd name="connsiteX1" fmla="*/ 1017095 w 1017095"/>
                            <a:gd name="connsiteY1" fmla="*/ 0 h 1088294"/>
                            <a:gd name="connsiteX2" fmla="*/ 1017095 w 1017095"/>
                            <a:gd name="connsiteY2" fmla="*/ 1088294 h 1088294"/>
                            <a:gd name="connsiteX3" fmla="*/ 0 w 1017095"/>
                            <a:gd name="connsiteY3" fmla="*/ 1088294 h 1088294"/>
                            <a:gd name="connsiteX4" fmla="*/ 0 w 1017095"/>
                            <a:gd name="connsiteY4" fmla="*/ 0 h 1088294"/>
                            <a:gd name="connsiteX0" fmla="*/ 54769 w 1071864"/>
                            <a:gd name="connsiteY0" fmla="*/ 0 h 1088294"/>
                            <a:gd name="connsiteX1" fmla="*/ 1071864 w 1071864"/>
                            <a:gd name="connsiteY1" fmla="*/ 0 h 1088294"/>
                            <a:gd name="connsiteX2" fmla="*/ 1071864 w 1071864"/>
                            <a:gd name="connsiteY2" fmla="*/ 1088294 h 1088294"/>
                            <a:gd name="connsiteX3" fmla="*/ 0 w 1071864"/>
                            <a:gd name="connsiteY3" fmla="*/ 552512 h 1088294"/>
                            <a:gd name="connsiteX4" fmla="*/ 54769 w 1071864"/>
                            <a:gd name="connsiteY4" fmla="*/ 0 h 1088294"/>
                            <a:gd name="connsiteX0" fmla="*/ 54769 w 1071864"/>
                            <a:gd name="connsiteY0" fmla="*/ 0 h 1088294"/>
                            <a:gd name="connsiteX1" fmla="*/ 1071864 w 1071864"/>
                            <a:gd name="connsiteY1" fmla="*/ 0 h 1088294"/>
                            <a:gd name="connsiteX2" fmla="*/ 762302 w 1071864"/>
                            <a:gd name="connsiteY2" fmla="*/ 1088294 h 1088294"/>
                            <a:gd name="connsiteX3" fmla="*/ 0 w 1071864"/>
                            <a:gd name="connsiteY3" fmla="*/ 552512 h 1088294"/>
                            <a:gd name="connsiteX4" fmla="*/ 54769 w 1071864"/>
                            <a:gd name="connsiteY4" fmla="*/ 0 h 1088294"/>
                            <a:gd name="connsiteX0" fmla="*/ 54769 w 762302"/>
                            <a:gd name="connsiteY0" fmla="*/ 0 h 1088294"/>
                            <a:gd name="connsiteX1" fmla="*/ 700389 w 762302"/>
                            <a:gd name="connsiteY1" fmla="*/ 433388 h 1088294"/>
                            <a:gd name="connsiteX2" fmla="*/ 762302 w 762302"/>
                            <a:gd name="connsiteY2" fmla="*/ 1088294 h 1088294"/>
                            <a:gd name="connsiteX3" fmla="*/ 0 w 762302"/>
                            <a:gd name="connsiteY3" fmla="*/ 552512 h 1088294"/>
                            <a:gd name="connsiteX4" fmla="*/ 54769 w 762302"/>
                            <a:gd name="connsiteY4" fmla="*/ 0 h 1088294"/>
                            <a:gd name="connsiteX0" fmla="*/ 76200 w 762302"/>
                            <a:gd name="connsiteY0" fmla="*/ 0 h 1088294"/>
                            <a:gd name="connsiteX1" fmla="*/ 700389 w 762302"/>
                            <a:gd name="connsiteY1" fmla="*/ 433388 h 1088294"/>
                            <a:gd name="connsiteX2" fmla="*/ 762302 w 762302"/>
                            <a:gd name="connsiteY2" fmla="*/ 1088294 h 1088294"/>
                            <a:gd name="connsiteX3" fmla="*/ 0 w 762302"/>
                            <a:gd name="connsiteY3" fmla="*/ 552512 h 1088294"/>
                            <a:gd name="connsiteX4" fmla="*/ 76200 w 762302"/>
                            <a:gd name="connsiteY4" fmla="*/ 0 h 1088294"/>
                            <a:gd name="connsiteX0" fmla="*/ 76200 w 762302"/>
                            <a:gd name="connsiteY0" fmla="*/ 0 h 1088294"/>
                            <a:gd name="connsiteX1" fmla="*/ 700389 w 762302"/>
                            <a:gd name="connsiteY1" fmla="*/ 428626 h 1088294"/>
                            <a:gd name="connsiteX2" fmla="*/ 762302 w 762302"/>
                            <a:gd name="connsiteY2" fmla="*/ 1088294 h 1088294"/>
                            <a:gd name="connsiteX3" fmla="*/ 0 w 762302"/>
                            <a:gd name="connsiteY3" fmla="*/ 552512 h 1088294"/>
                            <a:gd name="connsiteX4" fmla="*/ 76200 w 762302"/>
                            <a:gd name="connsiteY4" fmla="*/ 0 h 1088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302" h="1088294">
                              <a:moveTo>
                                <a:pt x="76200" y="0"/>
                              </a:moveTo>
                              <a:lnTo>
                                <a:pt x="700389" y="428626"/>
                              </a:lnTo>
                              <a:lnTo>
                                <a:pt x="762302" y="1088294"/>
                              </a:lnTo>
                              <a:lnTo>
                                <a:pt x="0" y="552512"/>
                              </a:lnTo>
                              <a:lnTo>
                                <a:pt x="76200" y="0"/>
                              </a:lnTo>
                              <a:close/>
                            </a:path>
                          </a:pathLst>
                        </a:custGeom>
                        <a:grpFill/>
                        <a:ln w="12700" cap="flat" cmpd="sng" algn="ctr">
                          <a:noFill/>
                          <a:prstDash val="solid"/>
                          <a:miter lim="800000"/>
                        </a:ln>
                        <a:effectLst/>
                      </p:spPr>
                      <p:txBody>
                        <a:bodyPr rtlCol="0" anchor="ctr"/>
                        <a:lstStyle/>
                        <a:p>
                          <a:pPr algn="ctr" defTabSz="685800"/>
                          <a:endParaRPr lang="en-US" sz="1350" kern="0">
                            <a:solidFill>
                              <a:prstClr val="white"/>
                            </a:solidFill>
                            <a:latin typeface="Arial"/>
                          </a:endParaRPr>
                        </a:p>
                      </p:txBody>
                    </p:sp>
                    <p:sp>
                      <p:nvSpPr>
                        <p:cNvPr id="29" name="Rectangle 4"/>
                        <p:cNvSpPr/>
                        <p:nvPr/>
                      </p:nvSpPr>
                      <p:spPr>
                        <a:xfrm rot="10800000">
                          <a:off x="1494698" y="1981485"/>
                          <a:ext cx="741084" cy="413480"/>
                        </a:xfrm>
                        <a:custGeom>
                          <a:avLst/>
                          <a:gdLst>
                            <a:gd name="connsiteX0" fmla="*/ 0 w 1017095"/>
                            <a:gd name="connsiteY0" fmla="*/ 0 h 1088294"/>
                            <a:gd name="connsiteX1" fmla="*/ 1017095 w 1017095"/>
                            <a:gd name="connsiteY1" fmla="*/ 0 h 1088294"/>
                            <a:gd name="connsiteX2" fmla="*/ 1017095 w 1017095"/>
                            <a:gd name="connsiteY2" fmla="*/ 1088294 h 1088294"/>
                            <a:gd name="connsiteX3" fmla="*/ 0 w 1017095"/>
                            <a:gd name="connsiteY3" fmla="*/ 1088294 h 1088294"/>
                            <a:gd name="connsiteX4" fmla="*/ 0 w 1017095"/>
                            <a:gd name="connsiteY4" fmla="*/ 0 h 1088294"/>
                            <a:gd name="connsiteX0" fmla="*/ 54769 w 1071864"/>
                            <a:gd name="connsiteY0" fmla="*/ 0 h 1088294"/>
                            <a:gd name="connsiteX1" fmla="*/ 1071864 w 1071864"/>
                            <a:gd name="connsiteY1" fmla="*/ 0 h 1088294"/>
                            <a:gd name="connsiteX2" fmla="*/ 1071864 w 1071864"/>
                            <a:gd name="connsiteY2" fmla="*/ 1088294 h 1088294"/>
                            <a:gd name="connsiteX3" fmla="*/ 0 w 1071864"/>
                            <a:gd name="connsiteY3" fmla="*/ 552512 h 1088294"/>
                            <a:gd name="connsiteX4" fmla="*/ 54769 w 1071864"/>
                            <a:gd name="connsiteY4" fmla="*/ 0 h 1088294"/>
                            <a:gd name="connsiteX0" fmla="*/ 54769 w 1071864"/>
                            <a:gd name="connsiteY0" fmla="*/ 0 h 1088294"/>
                            <a:gd name="connsiteX1" fmla="*/ 1071864 w 1071864"/>
                            <a:gd name="connsiteY1" fmla="*/ 0 h 1088294"/>
                            <a:gd name="connsiteX2" fmla="*/ 762302 w 1071864"/>
                            <a:gd name="connsiteY2" fmla="*/ 1088294 h 1088294"/>
                            <a:gd name="connsiteX3" fmla="*/ 0 w 1071864"/>
                            <a:gd name="connsiteY3" fmla="*/ 552512 h 1088294"/>
                            <a:gd name="connsiteX4" fmla="*/ 54769 w 1071864"/>
                            <a:gd name="connsiteY4" fmla="*/ 0 h 1088294"/>
                            <a:gd name="connsiteX0" fmla="*/ 54769 w 762302"/>
                            <a:gd name="connsiteY0" fmla="*/ 0 h 1088294"/>
                            <a:gd name="connsiteX1" fmla="*/ 700389 w 762302"/>
                            <a:gd name="connsiteY1" fmla="*/ 433388 h 1088294"/>
                            <a:gd name="connsiteX2" fmla="*/ 762302 w 762302"/>
                            <a:gd name="connsiteY2" fmla="*/ 1088294 h 1088294"/>
                            <a:gd name="connsiteX3" fmla="*/ 0 w 762302"/>
                            <a:gd name="connsiteY3" fmla="*/ 552512 h 1088294"/>
                            <a:gd name="connsiteX4" fmla="*/ 54769 w 762302"/>
                            <a:gd name="connsiteY4" fmla="*/ 0 h 1088294"/>
                            <a:gd name="connsiteX0" fmla="*/ 76200 w 762302"/>
                            <a:gd name="connsiteY0" fmla="*/ 0 h 1088294"/>
                            <a:gd name="connsiteX1" fmla="*/ 700389 w 762302"/>
                            <a:gd name="connsiteY1" fmla="*/ 433388 h 1088294"/>
                            <a:gd name="connsiteX2" fmla="*/ 762302 w 762302"/>
                            <a:gd name="connsiteY2" fmla="*/ 1088294 h 1088294"/>
                            <a:gd name="connsiteX3" fmla="*/ 0 w 762302"/>
                            <a:gd name="connsiteY3" fmla="*/ 552512 h 1088294"/>
                            <a:gd name="connsiteX4" fmla="*/ 76200 w 762302"/>
                            <a:gd name="connsiteY4" fmla="*/ 0 h 1088294"/>
                            <a:gd name="connsiteX0" fmla="*/ 76200 w 762302"/>
                            <a:gd name="connsiteY0" fmla="*/ 0 h 1088294"/>
                            <a:gd name="connsiteX1" fmla="*/ 700389 w 762302"/>
                            <a:gd name="connsiteY1" fmla="*/ 428626 h 1088294"/>
                            <a:gd name="connsiteX2" fmla="*/ 762302 w 762302"/>
                            <a:gd name="connsiteY2" fmla="*/ 1088294 h 1088294"/>
                            <a:gd name="connsiteX3" fmla="*/ 0 w 762302"/>
                            <a:gd name="connsiteY3" fmla="*/ 552512 h 1088294"/>
                            <a:gd name="connsiteX4" fmla="*/ 76200 w 762302"/>
                            <a:gd name="connsiteY4" fmla="*/ 0 h 1088294"/>
                            <a:gd name="connsiteX0" fmla="*/ 76200 w 700389"/>
                            <a:gd name="connsiteY0" fmla="*/ 0 h 812069"/>
                            <a:gd name="connsiteX1" fmla="*/ 700389 w 700389"/>
                            <a:gd name="connsiteY1" fmla="*/ 428626 h 812069"/>
                            <a:gd name="connsiteX2" fmla="*/ 138414 w 700389"/>
                            <a:gd name="connsiteY2" fmla="*/ 812069 h 812069"/>
                            <a:gd name="connsiteX3" fmla="*/ 0 w 700389"/>
                            <a:gd name="connsiteY3" fmla="*/ 552512 h 812069"/>
                            <a:gd name="connsiteX4" fmla="*/ 76200 w 700389"/>
                            <a:gd name="connsiteY4" fmla="*/ 0 h 812069"/>
                            <a:gd name="connsiteX0" fmla="*/ 76200 w 724201"/>
                            <a:gd name="connsiteY0" fmla="*/ 0 h 812069"/>
                            <a:gd name="connsiteX1" fmla="*/ 724201 w 724201"/>
                            <a:gd name="connsiteY1" fmla="*/ 461963 h 812069"/>
                            <a:gd name="connsiteX2" fmla="*/ 138414 w 724201"/>
                            <a:gd name="connsiteY2" fmla="*/ 812069 h 812069"/>
                            <a:gd name="connsiteX3" fmla="*/ 0 w 724201"/>
                            <a:gd name="connsiteY3" fmla="*/ 552512 h 812069"/>
                            <a:gd name="connsiteX4" fmla="*/ 76200 w 724201"/>
                            <a:gd name="connsiteY4" fmla="*/ 0 h 812069"/>
                            <a:gd name="connsiteX0" fmla="*/ 76200 w 709914"/>
                            <a:gd name="connsiteY0" fmla="*/ 0 h 812069"/>
                            <a:gd name="connsiteX1" fmla="*/ 709914 w 709914"/>
                            <a:gd name="connsiteY1" fmla="*/ 457201 h 812069"/>
                            <a:gd name="connsiteX2" fmla="*/ 138414 w 709914"/>
                            <a:gd name="connsiteY2" fmla="*/ 812069 h 812069"/>
                            <a:gd name="connsiteX3" fmla="*/ 0 w 709914"/>
                            <a:gd name="connsiteY3" fmla="*/ 552512 h 812069"/>
                            <a:gd name="connsiteX4" fmla="*/ 76200 w 709914"/>
                            <a:gd name="connsiteY4" fmla="*/ 0 h 812069"/>
                            <a:gd name="connsiteX0" fmla="*/ 76200 w 709914"/>
                            <a:gd name="connsiteY0" fmla="*/ 0 h 802544"/>
                            <a:gd name="connsiteX1" fmla="*/ 709914 w 709914"/>
                            <a:gd name="connsiteY1" fmla="*/ 457201 h 802544"/>
                            <a:gd name="connsiteX2" fmla="*/ 114602 w 709914"/>
                            <a:gd name="connsiteY2" fmla="*/ 802544 h 802544"/>
                            <a:gd name="connsiteX3" fmla="*/ 0 w 709914"/>
                            <a:gd name="connsiteY3" fmla="*/ 552512 h 802544"/>
                            <a:gd name="connsiteX4" fmla="*/ 76200 w 709914"/>
                            <a:gd name="connsiteY4" fmla="*/ 0 h 802544"/>
                            <a:gd name="connsiteX0" fmla="*/ 76200 w 709914"/>
                            <a:gd name="connsiteY0" fmla="*/ 0 h 807307"/>
                            <a:gd name="connsiteX1" fmla="*/ 709914 w 709914"/>
                            <a:gd name="connsiteY1" fmla="*/ 461964 h 807307"/>
                            <a:gd name="connsiteX2" fmla="*/ 114602 w 709914"/>
                            <a:gd name="connsiteY2" fmla="*/ 807307 h 807307"/>
                            <a:gd name="connsiteX3" fmla="*/ 0 w 709914"/>
                            <a:gd name="connsiteY3" fmla="*/ 557275 h 807307"/>
                            <a:gd name="connsiteX4" fmla="*/ 76200 w 709914"/>
                            <a:gd name="connsiteY4" fmla="*/ 0 h 807307"/>
                            <a:gd name="connsiteX0" fmla="*/ 738187 w 1371901"/>
                            <a:gd name="connsiteY0" fmla="*/ 0 h 807307"/>
                            <a:gd name="connsiteX1" fmla="*/ 1371901 w 1371901"/>
                            <a:gd name="connsiteY1" fmla="*/ 461964 h 807307"/>
                            <a:gd name="connsiteX2" fmla="*/ 776589 w 1371901"/>
                            <a:gd name="connsiteY2" fmla="*/ 807307 h 807307"/>
                            <a:gd name="connsiteX3" fmla="*/ 0 w 1371901"/>
                            <a:gd name="connsiteY3" fmla="*/ 247712 h 807307"/>
                            <a:gd name="connsiteX4" fmla="*/ 738187 w 1371901"/>
                            <a:gd name="connsiteY4" fmla="*/ 0 h 807307"/>
                            <a:gd name="connsiteX0" fmla="*/ 752475 w 1371901"/>
                            <a:gd name="connsiteY0" fmla="*/ 0 h 769207"/>
                            <a:gd name="connsiteX1" fmla="*/ 1371901 w 1371901"/>
                            <a:gd name="connsiteY1" fmla="*/ 423864 h 769207"/>
                            <a:gd name="connsiteX2" fmla="*/ 776589 w 1371901"/>
                            <a:gd name="connsiteY2" fmla="*/ 769207 h 769207"/>
                            <a:gd name="connsiteX3" fmla="*/ 0 w 1371901"/>
                            <a:gd name="connsiteY3" fmla="*/ 209612 h 769207"/>
                            <a:gd name="connsiteX4" fmla="*/ 752475 w 1371901"/>
                            <a:gd name="connsiteY4" fmla="*/ 0 h 769207"/>
                            <a:gd name="connsiteX0" fmla="*/ 752475 w 1395714"/>
                            <a:gd name="connsiteY0" fmla="*/ 0 h 769207"/>
                            <a:gd name="connsiteX1" fmla="*/ 1395714 w 1395714"/>
                            <a:gd name="connsiteY1" fmla="*/ 409576 h 769207"/>
                            <a:gd name="connsiteX2" fmla="*/ 776589 w 1395714"/>
                            <a:gd name="connsiteY2" fmla="*/ 769207 h 769207"/>
                            <a:gd name="connsiteX3" fmla="*/ 0 w 1395714"/>
                            <a:gd name="connsiteY3" fmla="*/ 209612 h 769207"/>
                            <a:gd name="connsiteX4" fmla="*/ 752475 w 1395714"/>
                            <a:gd name="connsiteY4" fmla="*/ 0 h 769207"/>
                            <a:gd name="connsiteX0" fmla="*/ 757238 w 1395714"/>
                            <a:gd name="connsiteY0" fmla="*/ 0 h 778732"/>
                            <a:gd name="connsiteX1" fmla="*/ 1395714 w 1395714"/>
                            <a:gd name="connsiteY1" fmla="*/ 419101 h 778732"/>
                            <a:gd name="connsiteX2" fmla="*/ 776589 w 1395714"/>
                            <a:gd name="connsiteY2" fmla="*/ 778732 h 778732"/>
                            <a:gd name="connsiteX3" fmla="*/ 0 w 1395714"/>
                            <a:gd name="connsiteY3" fmla="*/ 219137 h 778732"/>
                            <a:gd name="connsiteX4" fmla="*/ 757238 w 1395714"/>
                            <a:gd name="connsiteY4" fmla="*/ 0 h 778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5714" h="778732">
                              <a:moveTo>
                                <a:pt x="757238" y="0"/>
                              </a:moveTo>
                              <a:lnTo>
                                <a:pt x="1395714" y="419101"/>
                              </a:lnTo>
                              <a:lnTo>
                                <a:pt x="776589" y="778732"/>
                              </a:lnTo>
                              <a:lnTo>
                                <a:pt x="0" y="219137"/>
                              </a:lnTo>
                              <a:lnTo>
                                <a:pt x="757238" y="0"/>
                              </a:lnTo>
                              <a:close/>
                            </a:path>
                          </a:pathLst>
                        </a:custGeom>
                        <a:grpFill/>
                        <a:ln w="12700" cap="flat" cmpd="sng" algn="ctr">
                          <a:noFill/>
                          <a:prstDash val="solid"/>
                          <a:miter lim="800000"/>
                        </a:ln>
                        <a:effectLst/>
                      </p:spPr>
                      <p:txBody>
                        <a:bodyPr rtlCol="0" anchor="ctr"/>
                        <a:lstStyle/>
                        <a:p>
                          <a:pPr algn="ctr" defTabSz="685800"/>
                          <a:endParaRPr lang="en-US" sz="1350" kern="0">
                            <a:solidFill>
                              <a:prstClr val="white"/>
                            </a:solidFill>
                            <a:latin typeface="Arial"/>
                          </a:endParaRPr>
                        </a:p>
                      </p:txBody>
                    </p:sp>
                  </p:grpSp>
                  <p:sp>
                    <p:nvSpPr>
                      <p:cNvPr id="27" name="Freeform 121"/>
                      <p:cNvSpPr/>
                      <p:nvPr/>
                    </p:nvSpPr>
                    <p:spPr>
                      <a:xfrm rot="2079672">
                        <a:off x="1474102" y="2235605"/>
                        <a:ext cx="1827492" cy="185906"/>
                      </a:xfrm>
                      <a:custGeom>
                        <a:avLst/>
                        <a:gdLst>
                          <a:gd name="connsiteX0" fmla="*/ 0 w 3441795"/>
                          <a:gd name="connsiteY0" fmla="*/ 10591 h 350125"/>
                          <a:gd name="connsiteX1" fmla="*/ 3271479 w 3441795"/>
                          <a:gd name="connsiteY1" fmla="*/ 1 h 350125"/>
                          <a:gd name="connsiteX2" fmla="*/ 3441795 w 3441795"/>
                          <a:gd name="connsiteY2" fmla="*/ 169218 h 350125"/>
                          <a:gd name="connsiteX3" fmla="*/ 3441793 w 3441795"/>
                          <a:gd name="connsiteY3" fmla="*/ 169218 h 350125"/>
                          <a:gd name="connsiteX4" fmla="*/ 3272577 w 3441795"/>
                          <a:gd name="connsiteY4" fmla="*/ 339533 h 350125"/>
                          <a:gd name="connsiteX5" fmla="*/ 0 w 3441795"/>
                          <a:gd name="connsiteY5" fmla="*/ 350125 h 350125"/>
                          <a:gd name="connsiteX6" fmla="*/ 0 w 3441795"/>
                          <a:gd name="connsiteY6" fmla="*/ 10591 h 35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41795" h="350125">
                            <a:moveTo>
                              <a:pt x="0" y="10591"/>
                            </a:moveTo>
                            <a:lnTo>
                              <a:pt x="3271479" y="1"/>
                            </a:lnTo>
                            <a:cubicBezTo>
                              <a:pt x="3365238" y="-302"/>
                              <a:pt x="3441491" y="75458"/>
                              <a:pt x="3441795" y="169218"/>
                            </a:cubicBezTo>
                            <a:lnTo>
                              <a:pt x="3441793" y="169218"/>
                            </a:lnTo>
                            <a:cubicBezTo>
                              <a:pt x="3442098" y="262977"/>
                              <a:pt x="3366337" y="339230"/>
                              <a:pt x="3272577" y="339533"/>
                            </a:cubicBezTo>
                            <a:lnTo>
                              <a:pt x="0" y="350125"/>
                            </a:lnTo>
                            <a:lnTo>
                              <a:pt x="0" y="10591"/>
                            </a:lnTo>
                            <a:close/>
                          </a:path>
                        </a:pathLst>
                      </a:custGeom>
                      <a:grpFill/>
                      <a:ln w="12700" cap="flat" cmpd="sng" algn="ctr">
                        <a:noFill/>
                        <a:prstDash val="solid"/>
                        <a:miter lim="800000"/>
                      </a:ln>
                      <a:effectLst/>
                    </p:spPr>
                    <p:txBody>
                      <a:bodyPr rtlCol="0" anchor="ctr"/>
                      <a:lstStyle/>
                      <a:p>
                        <a:pPr algn="ctr" defTabSz="685800"/>
                        <a:endParaRPr lang="en-US" sz="1350" kern="0">
                          <a:solidFill>
                            <a:prstClr val="white"/>
                          </a:solidFill>
                          <a:latin typeface="Arial"/>
                        </a:endParaRPr>
                      </a:p>
                    </p:txBody>
                  </p:sp>
                </p:grpSp>
              </p:grpSp>
            </p:grpSp>
            <p:grpSp>
              <p:nvGrpSpPr>
                <p:cNvPr id="19" name="Group 99"/>
                <p:cNvGrpSpPr/>
                <p:nvPr/>
              </p:nvGrpSpPr>
              <p:grpSpPr>
                <a:xfrm>
                  <a:off x="3305236" y="2209800"/>
                  <a:ext cx="1162896" cy="1333985"/>
                  <a:chOff x="3305236" y="2209800"/>
                  <a:chExt cx="1162896" cy="1333985"/>
                </a:xfrm>
              </p:grpSpPr>
              <p:sp>
                <p:nvSpPr>
                  <p:cNvPr id="20" name="Hexagon 26"/>
                  <p:cNvSpPr/>
                  <p:nvPr/>
                </p:nvSpPr>
                <p:spPr>
                  <a:xfrm rot="5400000">
                    <a:off x="3219691" y="2295345"/>
                    <a:ext cx="1333985" cy="1162896"/>
                  </a:xfrm>
                  <a:prstGeom prst="hexagon">
                    <a:avLst>
                      <a:gd name="adj" fmla="val 28638"/>
                      <a:gd name="vf" fmla="val 115470"/>
                    </a:avLst>
                  </a:prstGeom>
                  <a:solidFill>
                    <a:srgbClr val="00338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Arial"/>
                    </a:endParaRPr>
                  </a:p>
                </p:txBody>
              </p:sp>
              <p:sp>
                <p:nvSpPr>
                  <p:cNvPr id="21" name="Freeform 124"/>
                  <p:cNvSpPr/>
                  <p:nvPr/>
                </p:nvSpPr>
                <p:spPr>
                  <a:xfrm rot="5400000">
                    <a:off x="3649048" y="2661232"/>
                    <a:ext cx="475270" cy="431122"/>
                  </a:xfrm>
                  <a:custGeom>
                    <a:avLst/>
                    <a:gdLst>
                      <a:gd name="connsiteX0" fmla="*/ 1083427 w 3101120"/>
                      <a:gd name="connsiteY0" fmla="*/ 307573 h 2813050"/>
                      <a:gd name="connsiteX1" fmla="*/ 296489 w 3101120"/>
                      <a:gd name="connsiteY1" fmla="*/ 1099251 h 2813050"/>
                      <a:gd name="connsiteX2" fmla="*/ 1083427 w 3101120"/>
                      <a:gd name="connsiteY2" fmla="*/ 1890929 h 2813050"/>
                      <a:gd name="connsiteX3" fmla="*/ 1870365 w 3101120"/>
                      <a:gd name="connsiteY3" fmla="*/ 1099251 h 2813050"/>
                      <a:gd name="connsiteX4" fmla="*/ 1083427 w 3101120"/>
                      <a:gd name="connsiteY4" fmla="*/ 307573 h 2813050"/>
                      <a:gd name="connsiteX5" fmla="*/ 1082041 w 3101120"/>
                      <a:gd name="connsiteY5" fmla="*/ 0 h 2813050"/>
                      <a:gd name="connsiteX6" fmla="*/ 2164082 w 3101120"/>
                      <a:gd name="connsiteY6" fmla="*/ 1089552 h 2813050"/>
                      <a:gd name="connsiteX7" fmla="*/ 2079050 w 3101120"/>
                      <a:gd name="connsiteY7" fmla="*/ 1513655 h 2813050"/>
                      <a:gd name="connsiteX8" fmla="*/ 2062497 w 3101120"/>
                      <a:gd name="connsiteY8" fmla="*/ 1548256 h 2813050"/>
                      <a:gd name="connsiteX9" fmla="*/ 2230027 w 3101120"/>
                      <a:gd name="connsiteY9" fmla="*/ 1692955 h 2813050"/>
                      <a:gd name="connsiteX10" fmla="*/ 2298813 w 3101120"/>
                      <a:gd name="connsiteY10" fmla="*/ 1613315 h 2813050"/>
                      <a:gd name="connsiteX11" fmla="*/ 2386510 w 3101120"/>
                      <a:gd name="connsiteY11" fmla="*/ 1606902 h 2813050"/>
                      <a:gd name="connsiteX12" fmla="*/ 3079585 w 3101120"/>
                      <a:gd name="connsiteY12" fmla="*/ 2205521 h 2813050"/>
                      <a:gd name="connsiteX13" fmla="*/ 3085998 w 3101120"/>
                      <a:gd name="connsiteY13" fmla="*/ 2293218 h 2813050"/>
                      <a:gd name="connsiteX14" fmla="*/ 2655611 w 3101120"/>
                      <a:gd name="connsiteY14" fmla="*/ 2791515 h 2813050"/>
                      <a:gd name="connsiteX15" fmla="*/ 2567914 w 3101120"/>
                      <a:gd name="connsiteY15" fmla="*/ 2797928 h 2813050"/>
                      <a:gd name="connsiteX16" fmla="*/ 1874839 w 3101120"/>
                      <a:gd name="connsiteY16" fmla="*/ 2199310 h 2813050"/>
                      <a:gd name="connsiteX17" fmla="*/ 1868426 w 3101120"/>
                      <a:gd name="connsiteY17" fmla="*/ 2111612 h 2813050"/>
                      <a:gd name="connsiteX18" fmla="*/ 1940600 w 3101120"/>
                      <a:gd name="connsiteY18" fmla="*/ 2028050 h 2813050"/>
                      <a:gd name="connsiteX19" fmla="*/ 1798049 w 3101120"/>
                      <a:gd name="connsiteY19" fmla="*/ 1904927 h 2813050"/>
                      <a:gd name="connsiteX20" fmla="*/ 1770320 w 3101120"/>
                      <a:gd name="connsiteY20" fmla="*/ 1930303 h 2813050"/>
                      <a:gd name="connsiteX21" fmla="*/ 1082041 w 3101120"/>
                      <a:gd name="connsiteY21" fmla="*/ 2179104 h 2813050"/>
                      <a:gd name="connsiteX22" fmla="*/ 0 w 3101120"/>
                      <a:gd name="connsiteY22" fmla="*/ 1089552 h 2813050"/>
                      <a:gd name="connsiteX23" fmla="*/ 1082041 w 3101120"/>
                      <a:gd name="connsiteY23" fmla="*/ 0 h 281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01120" h="2813050">
                        <a:moveTo>
                          <a:pt x="1083427" y="307573"/>
                        </a:moveTo>
                        <a:cubicBezTo>
                          <a:pt x="648813" y="307573"/>
                          <a:pt x="296489" y="662019"/>
                          <a:pt x="296489" y="1099251"/>
                        </a:cubicBezTo>
                        <a:cubicBezTo>
                          <a:pt x="296489" y="1536483"/>
                          <a:pt x="648813" y="1890929"/>
                          <a:pt x="1083427" y="1890929"/>
                        </a:cubicBezTo>
                        <a:cubicBezTo>
                          <a:pt x="1518041" y="1890929"/>
                          <a:pt x="1870365" y="1536483"/>
                          <a:pt x="1870365" y="1099251"/>
                        </a:cubicBezTo>
                        <a:cubicBezTo>
                          <a:pt x="1870365" y="662019"/>
                          <a:pt x="1518041" y="307573"/>
                          <a:pt x="1083427" y="307573"/>
                        </a:cubicBezTo>
                        <a:close/>
                        <a:moveTo>
                          <a:pt x="1082041" y="0"/>
                        </a:moveTo>
                        <a:cubicBezTo>
                          <a:pt x="1679636" y="0"/>
                          <a:pt x="2164082" y="487809"/>
                          <a:pt x="2164082" y="1089552"/>
                        </a:cubicBezTo>
                        <a:cubicBezTo>
                          <a:pt x="2164082" y="1239988"/>
                          <a:pt x="2133804" y="1383303"/>
                          <a:pt x="2079050" y="1513655"/>
                        </a:cubicBezTo>
                        <a:lnTo>
                          <a:pt x="2062497" y="1548256"/>
                        </a:lnTo>
                        <a:lnTo>
                          <a:pt x="2230027" y="1692955"/>
                        </a:lnTo>
                        <a:lnTo>
                          <a:pt x="2298813" y="1613315"/>
                        </a:lnTo>
                        <a:cubicBezTo>
                          <a:pt x="2321259" y="1587327"/>
                          <a:pt x="2360523" y="1584456"/>
                          <a:pt x="2386510" y="1606902"/>
                        </a:cubicBezTo>
                        <a:lnTo>
                          <a:pt x="3079585" y="2205521"/>
                        </a:lnTo>
                        <a:cubicBezTo>
                          <a:pt x="3105573" y="2227967"/>
                          <a:pt x="3108444" y="2267231"/>
                          <a:pt x="3085998" y="2293218"/>
                        </a:cubicBezTo>
                        <a:lnTo>
                          <a:pt x="2655611" y="2791515"/>
                        </a:lnTo>
                        <a:cubicBezTo>
                          <a:pt x="2633166" y="2817503"/>
                          <a:pt x="2593902" y="2820374"/>
                          <a:pt x="2567914" y="2797928"/>
                        </a:cubicBezTo>
                        <a:lnTo>
                          <a:pt x="1874839" y="2199310"/>
                        </a:lnTo>
                        <a:cubicBezTo>
                          <a:pt x="1848852" y="2176864"/>
                          <a:pt x="1845981" y="2137600"/>
                          <a:pt x="1868426" y="2111612"/>
                        </a:cubicBezTo>
                        <a:lnTo>
                          <a:pt x="1940600" y="2028050"/>
                        </a:lnTo>
                        <a:lnTo>
                          <a:pt x="1798049" y="1904927"/>
                        </a:lnTo>
                        <a:lnTo>
                          <a:pt x="1770320" y="1930303"/>
                        </a:lnTo>
                        <a:cubicBezTo>
                          <a:pt x="1583279" y="2085735"/>
                          <a:pt x="1343489" y="2179104"/>
                          <a:pt x="1082041" y="2179104"/>
                        </a:cubicBezTo>
                        <a:cubicBezTo>
                          <a:pt x="484446" y="2179104"/>
                          <a:pt x="0" y="1691295"/>
                          <a:pt x="0" y="1089552"/>
                        </a:cubicBezTo>
                        <a:cubicBezTo>
                          <a:pt x="0" y="487809"/>
                          <a:pt x="484446" y="0"/>
                          <a:pt x="1082041" y="0"/>
                        </a:cubicBezTo>
                        <a:close/>
                      </a:path>
                    </a:pathLst>
                  </a:custGeom>
                  <a:solidFill>
                    <a:schemeClr val="bg1"/>
                  </a:solidFill>
                  <a:ln w="0" cap="flat" cmpd="sng" algn="ctr">
                    <a:noFill/>
                    <a:prstDash val="solid"/>
                    <a:miter lim="800000"/>
                  </a:ln>
                  <a:effectLst/>
                </p:spPr>
                <p:txBody>
                  <a:bodyPr rtlCol="0" anchor="ctr"/>
                  <a:lstStyle/>
                  <a:p>
                    <a:pPr algn="ctr" defTabSz="685800">
                      <a:defRPr/>
                    </a:pPr>
                    <a:endParaRPr lang="en-US" sz="1350" kern="0">
                      <a:solidFill>
                        <a:prstClr val="white"/>
                      </a:solidFill>
                      <a:latin typeface="Calibri" panose="020F0502020204030204"/>
                    </a:endParaRPr>
                  </a:p>
                </p:txBody>
              </p:sp>
            </p:grpSp>
          </p:grpSp>
        </p:grpSp>
      </p:grpSp>
      <p:sp>
        <p:nvSpPr>
          <p:cNvPr id="100" name="Title 1">
            <a:extLst>
              <a:ext uri="{FF2B5EF4-FFF2-40B4-BE49-F238E27FC236}">
                <a16:creationId xmlns:a16="http://schemas.microsoft.com/office/drawing/2014/main" id="{D1C3D8A6-D419-497E-A6A2-8121D8EF7948}"/>
              </a:ext>
            </a:extLst>
          </p:cNvPr>
          <p:cNvSpPr txBox="1">
            <a:spLocks/>
          </p:cNvSpPr>
          <p:nvPr/>
        </p:nvSpPr>
        <p:spPr>
          <a:xfrm>
            <a:off x="143555" y="248004"/>
            <a:ext cx="8320963" cy="604597"/>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3600" kern="1200">
                <a:solidFill>
                  <a:schemeClr val="tx2"/>
                </a:solidFill>
                <a:latin typeface="+mn-lt"/>
                <a:ea typeface="+mj-ea"/>
                <a:cs typeface="+mj-cs"/>
              </a:defRPr>
            </a:lvl1pPr>
          </a:lstStyle>
          <a:p>
            <a:pPr defTabSz="685800">
              <a:defRPr/>
            </a:pPr>
            <a:r>
              <a:rPr lang="en-US" sz="3200" dirty="0">
                <a:solidFill>
                  <a:srgbClr val="00338D"/>
                </a:solidFill>
                <a:latin typeface="Arial"/>
              </a:rPr>
              <a:t>Highlights from the gap analysis and environmental scan</a:t>
            </a:r>
          </a:p>
        </p:txBody>
      </p:sp>
    </p:spTree>
    <p:custDataLst>
      <p:tags r:id="rId1"/>
    </p:custDataLst>
    <p:extLst>
      <p:ext uri="{BB962C8B-B14F-4D97-AF65-F5344CB8AC3E}">
        <p14:creationId xmlns:p14="http://schemas.microsoft.com/office/powerpoint/2010/main" val="2815022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81000" y="1372612"/>
            <a:ext cx="8382000" cy="4124206"/>
          </a:xfrm>
          <a:prstGeom prst="rect">
            <a:avLst/>
          </a:prstGeom>
        </p:spPr>
        <p:txBody>
          <a:bodyPr wrap="square" rtlCol="0">
            <a:spAutoFit/>
          </a:bodyPr>
          <a:lstStyle/>
          <a:p>
            <a:pPr marL="457200" indent="-457200">
              <a:buFont typeface="+mj-lt"/>
              <a:buAutoNum type="arabicPeriod"/>
            </a:pPr>
            <a:r>
              <a:rPr lang="en-US" sz="2400" b="1" dirty="0">
                <a:solidFill>
                  <a:schemeClr val="dk1"/>
                </a:solidFill>
                <a:latin typeface="Calibri" panose="020F0502020204030204" pitchFamily="34" charset="0"/>
              </a:rPr>
              <a:t>Welcome</a:t>
            </a:r>
          </a:p>
          <a:p>
            <a:pPr marL="457200" indent="-457200">
              <a:buFont typeface="+mj-lt"/>
              <a:buAutoNum type="arabicPeriod"/>
            </a:pPr>
            <a:endParaRPr lang="en-US" sz="1000" b="1" dirty="0">
              <a:latin typeface="Calibri" panose="020F0502020204030204" pitchFamily="34" charset="0"/>
            </a:endParaRPr>
          </a:p>
          <a:p>
            <a:pPr marL="457200" indent="-457200">
              <a:buFont typeface="+mj-lt"/>
              <a:buAutoNum type="arabicPeriod"/>
            </a:pPr>
            <a:r>
              <a:rPr lang="en-US" sz="2400" b="1" dirty="0">
                <a:latin typeface="Calibri" panose="020F0502020204030204" pitchFamily="34" charset="0"/>
              </a:rPr>
              <a:t>Approval of 6/28 Meeting Minutes</a:t>
            </a:r>
          </a:p>
          <a:p>
            <a:pPr marL="457200" indent="-457200">
              <a:buFont typeface="+mj-lt"/>
              <a:buAutoNum type="arabicPeriod"/>
            </a:pPr>
            <a:endParaRPr lang="en-US" sz="1000" b="1" dirty="0">
              <a:latin typeface="Calibri" panose="020F0502020204030204" pitchFamily="34" charset="0"/>
            </a:endParaRPr>
          </a:p>
          <a:p>
            <a:pPr marL="457200" indent="-457200">
              <a:buFont typeface="+mj-lt"/>
              <a:buAutoNum type="arabicPeriod"/>
            </a:pPr>
            <a:r>
              <a:rPr lang="en-US" sz="2400" b="1" dirty="0">
                <a:latin typeface="Calibri" panose="020F0502020204030204" pitchFamily="34" charset="0"/>
              </a:rPr>
              <a:t>Opioid Settlement Update</a:t>
            </a:r>
          </a:p>
          <a:p>
            <a:pPr marL="457200" indent="-457200">
              <a:buFont typeface="+mj-lt"/>
              <a:buAutoNum type="arabicPeriod"/>
            </a:pPr>
            <a:endParaRPr lang="en-US" sz="1000" b="1" dirty="0">
              <a:latin typeface="Calibri" panose="020F0502020204030204" pitchFamily="34" charset="0"/>
            </a:endParaRPr>
          </a:p>
          <a:p>
            <a:pPr marL="457200" indent="-457200">
              <a:buFont typeface="+mj-lt"/>
              <a:buAutoNum type="arabicPeriod"/>
            </a:pPr>
            <a:r>
              <a:rPr lang="en-US" sz="2400" b="1" dirty="0">
                <a:latin typeface="Calibri" panose="020F0502020204030204" pitchFamily="34" charset="0"/>
              </a:rPr>
              <a:t>Trust Fund Update</a:t>
            </a:r>
          </a:p>
          <a:p>
            <a:pPr marL="457200" indent="-457200">
              <a:buFont typeface="+mj-lt"/>
              <a:buAutoNum type="arabicPeriod"/>
            </a:pPr>
            <a:endParaRPr lang="en-US" sz="1000" b="1" dirty="0">
              <a:latin typeface="Calibri" panose="020F0502020204030204" pitchFamily="34" charset="0"/>
            </a:endParaRPr>
          </a:p>
          <a:p>
            <a:pPr marL="457200" indent="-457200">
              <a:buFont typeface="+mj-lt"/>
              <a:buAutoNum type="arabicPeriod"/>
            </a:pPr>
            <a:r>
              <a:rPr lang="en-US" sz="2400" b="1" dirty="0">
                <a:latin typeface="Calibri" panose="020F0502020204030204" pitchFamily="34" charset="0"/>
              </a:rPr>
              <a:t>Annual Report</a:t>
            </a:r>
          </a:p>
          <a:p>
            <a:pPr marL="457200" indent="-457200">
              <a:buFont typeface="+mj-lt"/>
              <a:buAutoNum type="arabicPeriod"/>
            </a:pPr>
            <a:endParaRPr lang="en-US" sz="1000" b="1" dirty="0">
              <a:latin typeface="Calibri" panose="020F0502020204030204" pitchFamily="34" charset="0"/>
            </a:endParaRPr>
          </a:p>
          <a:p>
            <a:pPr marL="457200" indent="-457200">
              <a:buFont typeface="+mj-lt"/>
              <a:buAutoNum type="arabicPeriod"/>
            </a:pPr>
            <a:r>
              <a:rPr lang="en-US" sz="2400" b="1" dirty="0" err="1">
                <a:latin typeface="Calibri" panose="020F0502020204030204" pitchFamily="34" charset="0"/>
              </a:rPr>
              <a:t>HEALing</a:t>
            </a:r>
            <a:r>
              <a:rPr lang="en-US" sz="2400" b="1" dirty="0">
                <a:latin typeface="Calibri" panose="020F0502020204030204" pitchFamily="34" charset="0"/>
              </a:rPr>
              <a:t> Communities Study</a:t>
            </a:r>
          </a:p>
          <a:p>
            <a:pPr marL="457200" indent="-457200">
              <a:buFont typeface="+mj-lt"/>
              <a:buAutoNum type="arabicPeriod"/>
            </a:pPr>
            <a:endParaRPr lang="en-US" sz="1000" b="1" dirty="0">
              <a:latin typeface="Calibri" panose="020F0502020204030204" pitchFamily="34" charset="0"/>
            </a:endParaRPr>
          </a:p>
          <a:p>
            <a:pPr marL="457200" indent="-457200">
              <a:buFont typeface="+mj-lt"/>
              <a:buAutoNum type="arabicPeriod"/>
            </a:pPr>
            <a:r>
              <a:rPr lang="en-US" sz="2400" b="1" dirty="0">
                <a:latin typeface="Calibri" panose="020F0502020204030204" pitchFamily="34" charset="0"/>
              </a:rPr>
              <a:t>Strategic Planning Initiative – Preliminary Findings</a:t>
            </a:r>
          </a:p>
          <a:p>
            <a:pPr marL="457200" indent="-457200">
              <a:buFont typeface="+mj-lt"/>
              <a:buAutoNum type="arabicPeriod"/>
            </a:pPr>
            <a:endParaRPr lang="en-US" sz="1000" b="1" dirty="0">
              <a:latin typeface="Calibri" panose="020F0502020204030204" pitchFamily="34" charset="0"/>
            </a:endParaRPr>
          </a:p>
          <a:p>
            <a:pPr marL="457200" indent="-457200">
              <a:buFont typeface="+mj-lt"/>
              <a:buAutoNum type="arabicPeriod"/>
            </a:pPr>
            <a:r>
              <a:rPr lang="en-US" sz="2400" b="1" dirty="0">
                <a:latin typeface="Calibri" panose="020F0502020204030204" pitchFamily="34" charset="0"/>
              </a:rPr>
              <a:t>Upcoming Meetings</a:t>
            </a:r>
          </a:p>
        </p:txBody>
      </p:sp>
      <p:sp>
        <p:nvSpPr>
          <p:cNvPr id="5" name="Title 2"/>
          <p:cNvSpPr>
            <a:spLocks noGrp="1"/>
          </p:cNvSpPr>
          <p:nvPr>
            <p:ph type="title"/>
          </p:nvPr>
        </p:nvSpPr>
        <p:spPr>
          <a:xfrm>
            <a:off x="838200" y="109538"/>
            <a:ext cx="5029200" cy="762000"/>
          </a:xfrm>
        </p:spPr>
        <p:txBody>
          <a:bodyPr anchor="ctr"/>
          <a:lstStyle/>
          <a:p>
            <a:r>
              <a:rPr lang="en-US" dirty="0">
                <a:latin typeface="Calibri" panose="020F0502020204030204" pitchFamily="34" charset="0"/>
              </a:rPr>
              <a:t>Agenda</a:t>
            </a:r>
          </a:p>
        </p:txBody>
      </p:sp>
    </p:spTree>
    <p:extLst>
      <p:ext uri="{BB962C8B-B14F-4D97-AF65-F5344CB8AC3E}">
        <p14:creationId xmlns:p14="http://schemas.microsoft.com/office/powerpoint/2010/main" val="129869833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008562-88F4-4E36-9078-C03936FD5D3A}"/>
              </a:ext>
            </a:extLst>
          </p:cNvPr>
          <p:cNvGrpSpPr/>
          <p:nvPr/>
        </p:nvGrpSpPr>
        <p:grpSpPr>
          <a:xfrm>
            <a:off x="0" y="990600"/>
            <a:ext cx="9144000" cy="5486400"/>
            <a:chOff x="2128228" y="1235852"/>
            <a:chExt cx="7943233" cy="4707748"/>
          </a:xfrm>
        </p:grpSpPr>
        <p:grpSp>
          <p:nvGrpSpPr>
            <p:cNvPr id="4" name="Group 8"/>
            <p:cNvGrpSpPr/>
            <p:nvPr/>
          </p:nvGrpSpPr>
          <p:grpSpPr>
            <a:xfrm>
              <a:off x="2134291" y="3653499"/>
              <a:ext cx="2552212" cy="2283636"/>
              <a:chOff x="610291" y="3653499"/>
              <a:chExt cx="2552212" cy="2283636"/>
            </a:xfrm>
          </p:grpSpPr>
          <p:sp>
            <p:nvSpPr>
              <p:cNvPr id="5" name="Rectangle 13"/>
              <p:cNvSpPr/>
              <p:nvPr/>
            </p:nvSpPr>
            <p:spPr>
              <a:xfrm>
                <a:off x="610291" y="3653499"/>
                <a:ext cx="2552212" cy="2283636"/>
              </a:xfrm>
              <a:custGeom>
                <a:avLst/>
                <a:gdLst>
                  <a:gd name="connsiteX0" fmla="*/ 0 w 3592830"/>
                  <a:gd name="connsiteY0" fmla="*/ 0 h 2743200"/>
                  <a:gd name="connsiteX1" fmla="*/ 3592830 w 3592830"/>
                  <a:gd name="connsiteY1" fmla="*/ 0 h 2743200"/>
                  <a:gd name="connsiteX2" fmla="*/ 3592830 w 3592830"/>
                  <a:gd name="connsiteY2" fmla="*/ 2743200 h 2743200"/>
                  <a:gd name="connsiteX3" fmla="*/ 0 w 3592830"/>
                  <a:gd name="connsiteY3" fmla="*/ 2743200 h 2743200"/>
                  <a:gd name="connsiteX4" fmla="*/ 0 w 3592830"/>
                  <a:gd name="connsiteY4" fmla="*/ 0 h 2743200"/>
                  <a:gd name="connsiteX0" fmla="*/ 0 w 3592830"/>
                  <a:gd name="connsiteY0" fmla="*/ 0 h 2743200"/>
                  <a:gd name="connsiteX1" fmla="*/ 3592830 w 3592830"/>
                  <a:gd name="connsiteY1" fmla="*/ 0 h 2743200"/>
                  <a:gd name="connsiteX2" fmla="*/ 3592830 w 3592830"/>
                  <a:gd name="connsiteY2" fmla="*/ 2743200 h 2743200"/>
                  <a:gd name="connsiteX3" fmla="*/ 994787 w 3592830"/>
                  <a:gd name="connsiteY3" fmla="*/ 2552281 h 2743200"/>
                  <a:gd name="connsiteX4" fmla="*/ 0 w 3592830"/>
                  <a:gd name="connsiteY4" fmla="*/ 0 h 2743200"/>
                  <a:gd name="connsiteX0" fmla="*/ 5024 w 2598043"/>
                  <a:gd name="connsiteY0" fmla="*/ 411982 h 2743200"/>
                  <a:gd name="connsiteX1" fmla="*/ 2598043 w 2598043"/>
                  <a:gd name="connsiteY1" fmla="*/ 0 h 2743200"/>
                  <a:gd name="connsiteX2" fmla="*/ 2598043 w 2598043"/>
                  <a:gd name="connsiteY2" fmla="*/ 2743200 h 2743200"/>
                  <a:gd name="connsiteX3" fmla="*/ 0 w 2598043"/>
                  <a:gd name="connsiteY3" fmla="*/ 2552281 h 2743200"/>
                  <a:gd name="connsiteX4" fmla="*/ 5024 w 2598043"/>
                  <a:gd name="connsiteY4" fmla="*/ 411982 h 2743200"/>
                  <a:gd name="connsiteX0" fmla="*/ 5024 w 2598043"/>
                  <a:gd name="connsiteY0" fmla="*/ 411982 h 2743200"/>
                  <a:gd name="connsiteX1" fmla="*/ 429567 w 2598043"/>
                  <a:gd name="connsiteY1" fmla="*/ 339969 h 2743200"/>
                  <a:gd name="connsiteX2" fmla="*/ 2598043 w 2598043"/>
                  <a:gd name="connsiteY2" fmla="*/ 0 h 2743200"/>
                  <a:gd name="connsiteX3" fmla="*/ 2598043 w 2598043"/>
                  <a:gd name="connsiteY3" fmla="*/ 2743200 h 2743200"/>
                  <a:gd name="connsiteX4" fmla="*/ 0 w 2598043"/>
                  <a:gd name="connsiteY4" fmla="*/ 2552281 h 2743200"/>
                  <a:gd name="connsiteX5" fmla="*/ 5024 w 2598043"/>
                  <a:gd name="connsiteY5" fmla="*/ 411982 h 2743200"/>
                  <a:gd name="connsiteX0" fmla="*/ 5024 w 2598043"/>
                  <a:gd name="connsiteY0" fmla="*/ 411982 h 2743200"/>
                  <a:gd name="connsiteX1" fmla="*/ 364253 w 2598043"/>
                  <a:gd name="connsiteY1" fmla="*/ 395235 h 2743200"/>
                  <a:gd name="connsiteX2" fmla="*/ 2598043 w 2598043"/>
                  <a:gd name="connsiteY2" fmla="*/ 0 h 2743200"/>
                  <a:gd name="connsiteX3" fmla="*/ 2598043 w 2598043"/>
                  <a:gd name="connsiteY3" fmla="*/ 2743200 h 2743200"/>
                  <a:gd name="connsiteX4" fmla="*/ 0 w 2598043"/>
                  <a:gd name="connsiteY4" fmla="*/ 2552281 h 2743200"/>
                  <a:gd name="connsiteX5" fmla="*/ 5024 w 2598043"/>
                  <a:gd name="connsiteY5" fmla="*/ 411982 h 2743200"/>
                  <a:gd name="connsiteX0" fmla="*/ 5024 w 2598043"/>
                  <a:gd name="connsiteY0" fmla="*/ 411982 h 2743200"/>
                  <a:gd name="connsiteX1" fmla="*/ 364253 w 2598043"/>
                  <a:gd name="connsiteY1" fmla="*/ 395235 h 2743200"/>
                  <a:gd name="connsiteX2" fmla="*/ 937009 w 2598043"/>
                  <a:gd name="connsiteY2" fmla="*/ 289727 h 2743200"/>
                  <a:gd name="connsiteX3" fmla="*/ 2598043 w 2598043"/>
                  <a:gd name="connsiteY3" fmla="*/ 0 h 2743200"/>
                  <a:gd name="connsiteX4" fmla="*/ 2598043 w 2598043"/>
                  <a:gd name="connsiteY4" fmla="*/ 2743200 h 2743200"/>
                  <a:gd name="connsiteX5" fmla="*/ 0 w 2598043"/>
                  <a:gd name="connsiteY5" fmla="*/ 2552281 h 2743200"/>
                  <a:gd name="connsiteX6" fmla="*/ 5024 w 2598043"/>
                  <a:gd name="connsiteY6" fmla="*/ 411982 h 2743200"/>
                  <a:gd name="connsiteX0" fmla="*/ 5024 w 2598043"/>
                  <a:gd name="connsiteY0" fmla="*/ 411982 h 2743200"/>
                  <a:gd name="connsiteX1" fmla="*/ 364253 w 2598043"/>
                  <a:gd name="connsiteY1" fmla="*/ 395235 h 2743200"/>
                  <a:gd name="connsiteX2" fmla="*/ 1077686 w 2598043"/>
                  <a:gd name="connsiteY2" fmla="*/ 877556 h 2743200"/>
                  <a:gd name="connsiteX3" fmla="*/ 2598043 w 2598043"/>
                  <a:gd name="connsiteY3" fmla="*/ 0 h 2743200"/>
                  <a:gd name="connsiteX4" fmla="*/ 2598043 w 2598043"/>
                  <a:gd name="connsiteY4" fmla="*/ 2743200 h 2743200"/>
                  <a:gd name="connsiteX5" fmla="*/ 0 w 2598043"/>
                  <a:gd name="connsiteY5" fmla="*/ 2552281 h 2743200"/>
                  <a:gd name="connsiteX6" fmla="*/ 5024 w 2598043"/>
                  <a:gd name="connsiteY6" fmla="*/ 411982 h 2743200"/>
                  <a:gd name="connsiteX0" fmla="*/ 5024 w 2598043"/>
                  <a:gd name="connsiteY0" fmla="*/ 411982 h 2743200"/>
                  <a:gd name="connsiteX1" fmla="*/ 364253 w 2598043"/>
                  <a:gd name="connsiteY1" fmla="*/ 395235 h 2743200"/>
                  <a:gd name="connsiteX2" fmla="*/ 1077686 w 2598043"/>
                  <a:gd name="connsiteY2" fmla="*/ 877556 h 2743200"/>
                  <a:gd name="connsiteX3" fmla="*/ 1876529 w 2598043"/>
                  <a:gd name="connsiteY3" fmla="*/ 405284 h 2743200"/>
                  <a:gd name="connsiteX4" fmla="*/ 2598043 w 2598043"/>
                  <a:gd name="connsiteY4" fmla="*/ 0 h 2743200"/>
                  <a:gd name="connsiteX5" fmla="*/ 2598043 w 2598043"/>
                  <a:gd name="connsiteY5" fmla="*/ 2743200 h 2743200"/>
                  <a:gd name="connsiteX6" fmla="*/ 0 w 2598043"/>
                  <a:gd name="connsiteY6" fmla="*/ 2552281 h 2743200"/>
                  <a:gd name="connsiteX7" fmla="*/ 5024 w 2598043"/>
                  <a:gd name="connsiteY7" fmla="*/ 411982 h 2743200"/>
                  <a:gd name="connsiteX0" fmla="*/ 5024 w 2598043"/>
                  <a:gd name="connsiteY0" fmla="*/ 411982 h 2743200"/>
                  <a:gd name="connsiteX1" fmla="*/ 364253 w 2598043"/>
                  <a:gd name="connsiteY1" fmla="*/ 395235 h 2743200"/>
                  <a:gd name="connsiteX2" fmla="*/ 1077686 w 2598043"/>
                  <a:gd name="connsiteY2" fmla="*/ 877556 h 2743200"/>
                  <a:gd name="connsiteX3" fmla="*/ 1786094 w 2598043"/>
                  <a:gd name="connsiteY3" fmla="*/ 390211 h 2743200"/>
                  <a:gd name="connsiteX4" fmla="*/ 2598043 w 2598043"/>
                  <a:gd name="connsiteY4" fmla="*/ 0 h 2743200"/>
                  <a:gd name="connsiteX5" fmla="*/ 2598043 w 2598043"/>
                  <a:gd name="connsiteY5" fmla="*/ 2743200 h 2743200"/>
                  <a:gd name="connsiteX6" fmla="*/ 0 w 2598043"/>
                  <a:gd name="connsiteY6" fmla="*/ 2552281 h 2743200"/>
                  <a:gd name="connsiteX7" fmla="*/ 5024 w 2598043"/>
                  <a:gd name="connsiteY7" fmla="*/ 411982 h 2743200"/>
                  <a:gd name="connsiteX0" fmla="*/ 5024 w 2598043"/>
                  <a:gd name="connsiteY0" fmla="*/ 21771 h 2352989"/>
                  <a:gd name="connsiteX1" fmla="*/ 364253 w 2598043"/>
                  <a:gd name="connsiteY1" fmla="*/ 5024 h 2352989"/>
                  <a:gd name="connsiteX2" fmla="*/ 1077686 w 2598043"/>
                  <a:gd name="connsiteY2" fmla="*/ 487345 h 2352989"/>
                  <a:gd name="connsiteX3" fmla="*/ 1786094 w 2598043"/>
                  <a:gd name="connsiteY3" fmla="*/ 0 h 2352989"/>
                  <a:gd name="connsiteX4" fmla="*/ 2165964 w 2598043"/>
                  <a:gd name="connsiteY4" fmla="*/ 6699 h 2352989"/>
                  <a:gd name="connsiteX5" fmla="*/ 2598043 w 2598043"/>
                  <a:gd name="connsiteY5" fmla="*/ 2352989 h 2352989"/>
                  <a:gd name="connsiteX6" fmla="*/ 0 w 2598043"/>
                  <a:gd name="connsiteY6" fmla="*/ 2162070 h 2352989"/>
                  <a:gd name="connsiteX7" fmla="*/ 5024 w 2598043"/>
                  <a:gd name="connsiteY7" fmla="*/ 21771 h 2352989"/>
                  <a:gd name="connsiteX0" fmla="*/ 5024 w 2598043"/>
                  <a:gd name="connsiteY0" fmla="*/ 21771 h 2352989"/>
                  <a:gd name="connsiteX1" fmla="*/ 364253 w 2598043"/>
                  <a:gd name="connsiteY1" fmla="*/ 5024 h 2352989"/>
                  <a:gd name="connsiteX2" fmla="*/ 1077686 w 2598043"/>
                  <a:gd name="connsiteY2" fmla="*/ 487345 h 2352989"/>
                  <a:gd name="connsiteX3" fmla="*/ 1786094 w 2598043"/>
                  <a:gd name="connsiteY3" fmla="*/ 0 h 2352989"/>
                  <a:gd name="connsiteX4" fmla="*/ 2165964 w 2598043"/>
                  <a:gd name="connsiteY4" fmla="*/ 6699 h 2352989"/>
                  <a:gd name="connsiteX5" fmla="*/ 2233246 w 2598043"/>
                  <a:gd name="connsiteY5" fmla="*/ 422031 h 2352989"/>
                  <a:gd name="connsiteX6" fmla="*/ 2598043 w 2598043"/>
                  <a:gd name="connsiteY6" fmla="*/ 2352989 h 2352989"/>
                  <a:gd name="connsiteX7" fmla="*/ 0 w 2598043"/>
                  <a:gd name="connsiteY7" fmla="*/ 2162070 h 2352989"/>
                  <a:gd name="connsiteX8" fmla="*/ 5024 w 2598043"/>
                  <a:gd name="connsiteY8" fmla="*/ 21771 h 2352989"/>
                  <a:gd name="connsiteX0" fmla="*/ 5024 w 2598043"/>
                  <a:gd name="connsiteY0" fmla="*/ 21771 h 2352989"/>
                  <a:gd name="connsiteX1" fmla="*/ 364253 w 2598043"/>
                  <a:gd name="connsiteY1" fmla="*/ 5024 h 2352989"/>
                  <a:gd name="connsiteX2" fmla="*/ 1077686 w 2598043"/>
                  <a:gd name="connsiteY2" fmla="*/ 487345 h 2352989"/>
                  <a:gd name="connsiteX3" fmla="*/ 1786094 w 2598043"/>
                  <a:gd name="connsiteY3" fmla="*/ 0 h 2352989"/>
                  <a:gd name="connsiteX4" fmla="*/ 2165964 w 2598043"/>
                  <a:gd name="connsiteY4" fmla="*/ 6699 h 2352989"/>
                  <a:gd name="connsiteX5" fmla="*/ 2167932 w 2598043"/>
                  <a:gd name="connsiteY5" fmla="*/ 437104 h 2352989"/>
                  <a:gd name="connsiteX6" fmla="*/ 2598043 w 2598043"/>
                  <a:gd name="connsiteY6" fmla="*/ 2352989 h 2352989"/>
                  <a:gd name="connsiteX7" fmla="*/ 0 w 2598043"/>
                  <a:gd name="connsiteY7" fmla="*/ 2162070 h 2352989"/>
                  <a:gd name="connsiteX8" fmla="*/ 5024 w 2598043"/>
                  <a:gd name="connsiteY8" fmla="*/ 21771 h 2352989"/>
                  <a:gd name="connsiteX0" fmla="*/ 5024 w 2167932"/>
                  <a:gd name="connsiteY0" fmla="*/ 21771 h 2172119"/>
                  <a:gd name="connsiteX1" fmla="*/ 364253 w 2167932"/>
                  <a:gd name="connsiteY1" fmla="*/ 5024 h 2172119"/>
                  <a:gd name="connsiteX2" fmla="*/ 1077686 w 2167932"/>
                  <a:gd name="connsiteY2" fmla="*/ 487345 h 2172119"/>
                  <a:gd name="connsiteX3" fmla="*/ 1786094 w 2167932"/>
                  <a:gd name="connsiteY3" fmla="*/ 0 h 2172119"/>
                  <a:gd name="connsiteX4" fmla="*/ 2165964 w 2167932"/>
                  <a:gd name="connsiteY4" fmla="*/ 6699 h 2172119"/>
                  <a:gd name="connsiteX5" fmla="*/ 2167932 w 2167932"/>
                  <a:gd name="connsiteY5" fmla="*/ 437104 h 2172119"/>
                  <a:gd name="connsiteX6" fmla="*/ 2165964 w 2167932"/>
                  <a:gd name="connsiteY6" fmla="*/ 2172119 h 2172119"/>
                  <a:gd name="connsiteX7" fmla="*/ 0 w 2167932"/>
                  <a:gd name="connsiteY7" fmla="*/ 2162070 h 2172119"/>
                  <a:gd name="connsiteX8" fmla="*/ 5024 w 2167932"/>
                  <a:gd name="connsiteY8" fmla="*/ 21771 h 2172119"/>
                  <a:gd name="connsiteX0" fmla="*/ 5024 w 2167932"/>
                  <a:gd name="connsiteY0" fmla="*/ 21771 h 2172119"/>
                  <a:gd name="connsiteX1" fmla="*/ 364253 w 2167932"/>
                  <a:gd name="connsiteY1" fmla="*/ 5024 h 2172119"/>
                  <a:gd name="connsiteX2" fmla="*/ 1077686 w 2167932"/>
                  <a:gd name="connsiteY2" fmla="*/ 487345 h 2172119"/>
                  <a:gd name="connsiteX3" fmla="*/ 1786094 w 2167932"/>
                  <a:gd name="connsiteY3" fmla="*/ 0 h 2172119"/>
                  <a:gd name="connsiteX4" fmla="*/ 2165964 w 2167932"/>
                  <a:gd name="connsiteY4" fmla="*/ 6699 h 2172119"/>
                  <a:gd name="connsiteX5" fmla="*/ 2167932 w 2167932"/>
                  <a:gd name="connsiteY5" fmla="*/ 437104 h 2172119"/>
                  <a:gd name="connsiteX6" fmla="*/ 2167932 w 2167932"/>
                  <a:gd name="connsiteY6" fmla="*/ 1080198 h 2172119"/>
                  <a:gd name="connsiteX7" fmla="*/ 2165964 w 2167932"/>
                  <a:gd name="connsiteY7" fmla="*/ 2172119 h 2172119"/>
                  <a:gd name="connsiteX8" fmla="*/ 0 w 2167932"/>
                  <a:gd name="connsiteY8" fmla="*/ 2162070 h 2172119"/>
                  <a:gd name="connsiteX9" fmla="*/ 5024 w 2167932"/>
                  <a:gd name="connsiteY9" fmla="*/ 21771 h 2172119"/>
                  <a:gd name="connsiteX0" fmla="*/ 5024 w 2610059"/>
                  <a:gd name="connsiteY0" fmla="*/ 21771 h 2172119"/>
                  <a:gd name="connsiteX1" fmla="*/ 364253 w 2610059"/>
                  <a:gd name="connsiteY1" fmla="*/ 5024 h 2172119"/>
                  <a:gd name="connsiteX2" fmla="*/ 1077686 w 2610059"/>
                  <a:gd name="connsiteY2" fmla="*/ 487345 h 2172119"/>
                  <a:gd name="connsiteX3" fmla="*/ 1786094 w 2610059"/>
                  <a:gd name="connsiteY3" fmla="*/ 0 h 2172119"/>
                  <a:gd name="connsiteX4" fmla="*/ 2165964 w 2610059"/>
                  <a:gd name="connsiteY4" fmla="*/ 6699 h 2172119"/>
                  <a:gd name="connsiteX5" fmla="*/ 2167932 w 2610059"/>
                  <a:gd name="connsiteY5" fmla="*/ 437104 h 2172119"/>
                  <a:gd name="connsiteX6" fmla="*/ 2610059 w 2610059"/>
                  <a:gd name="connsiteY6" fmla="*/ 1075174 h 2172119"/>
                  <a:gd name="connsiteX7" fmla="*/ 2165964 w 2610059"/>
                  <a:gd name="connsiteY7" fmla="*/ 2172119 h 2172119"/>
                  <a:gd name="connsiteX8" fmla="*/ 0 w 2610059"/>
                  <a:gd name="connsiteY8" fmla="*/ 2162070 h 2172119"/>
                  <a:gd name="connsiteX9" fmla="*/ 5024 w 2610059"/>
                  <a:gd name="connsiteY9" fmla="*/ 21771 h 2172119"/>
                  <a:gd name="connsiteX0" fmla="*/ 5024 w 2610059"/>
                  <a:gd name="connsiteY0" fmla="*/ 21771 h 2172119"/>
                  <a:gd name="connsiteX1" fmla="*/ 364253 w 2610059"/>
                  <a:gd name="connsiteY1" fmla="*/ 5024 h 2172119"/>
                  <a:gd name="connsiteX2" fmla="*/ 1077686 w 2610059"/>
                  <a:gd name="connsiteY2" fmla="*/ 487345 h 2172119"/>
                  <a:gd name="connsiteX3" fmla="*/ 1786094 w 2610059"/>
                  <a:gd name="connsiteY3" fmla="*/ 0 h 2172119"/>
                  <a:gd name="connsiteX4" fmla="*/ 2165964 w 2610059"/>
                  <a:gd name="connsiteY4" fmla="*/ 6699 h 2172119"/>
                  <a:gd name="connsiteX5" fmla="*/ 2167932 w 2610059"/>
                  <a:gd name="connsiteY5" fmla="*/ 437104 h 2172119"/>
                  <a:gd name="connsiteX6" fmla="*/ 2610059 w 2610059"/>
                  <a:gd name="connsiteY6" fmla="*/ 1075174 h 2172119"/>
                  <a:gd name="connsiteX7" fmla="*/ 2328705 w 2610059"/>
                  <a:gd name="connsiteY7" fmla="*/ 1743389 h 2172119"/>
                  <a:gd name="connsiteX8" fmla="*/ 2165964 w 2610059"/>
                  <a:gd name="connsiteY8" fmla="*/ 2172119 h 2172119"/>
                  <a:gd name="connsiteX9" fmla="*/ 0 w 2610059"/>
                  <a:gd name="connsiteY9" fmla="*/ 2162070 h 2172119"/>
                  <a:gd name="connsiteX10" fmla="*/ 5024 w 2610059"/>
                  <a:gd name="connsiteY10" fmla="*/ 21771 h 2172119"/>
                  <a:gd name="connsiteX0" fmla="*/ 5024 w 2610059"/>
                  <a:gd name="connsiteY0" fmla="*/ 21771 h 2172119"/>
                  <a:gd name="connsiteX1" fmla="*/ 364253 w 2610059"/>
                  <a:gd name="connsiteY1" fmla="*/ 5024 h 2172119"/>
                  <a:gd name="connsiteX2" fmla="*/ 1077686 w 2610059"/>
                  <a:gd name="connsiteY2" fmla="*/ 487345 h 2172119"/>
                  <a:gd name="connsiteX3" fmla="*/ 1786094 w 2610059"/>
                  <a:gd name="connsiteY3" fmla="*/ 0 h 2172119"/>
                  <a:gd name="connsiteX4" fmla="*/ 2165964 w 2610059"/>
                  <a:gd name="connsiteY4" fmla="*/ 6699 h 2172119"/>
                  <a:gd name="connsiteX5" fmla="*/ 2167932 w 2610059"/>
                  <a:gd name="connsiteY5" fmla="*/ 437104 h 2172119"/>
                  <a:gd name="connsiteX6" fmla="*/ 2610059 w 2610059"/>
                  <a:gd name="connsiteY6" fmla="*/ 1075174 h 2172119"/>
                  <a:gd name="connsiteX7" fmla="*/ 2152859 w 2610059"/>
                  <a:gd name="connsiteY7" fmla="*/ 1748413 h 2172119"/>
                  <a:gd name="connsiteX8" fmla="*/ 2165964 w 2610059"/>
                  <a:gd name="connsiteY8" fmla="*/ 2172119 h 2172119"/>
                  <a:gd name="connsiteX9" fmla="*/ 0 w 2610059"/>
                  <a:gd name="connsiteY9" fmla="*/ 2162070 h 2172119"/>
                  <a:gd name="connsiteX10" fmla="*/ 5024 w 2610059"/>
                  <a:gd name="connsiteY10" fmla="*/ 21771 h 2172119"/>
                  <a:gd name="connsiteX0" fmla="*/ 5024 w 2610059"/>
                  <a:gd name="connsiteY0" fmla="*/ 21771 h 2172119"/>
                  <a:gd name="connsiteX1" fmla="*/ 364253 w 2610059"/>
                  <a:gd name="connsiteY1" fmla="*/ 5024 h 2172119"/>
                  <a:gd name="connsiteX2" fmla="*/ 1077686 w 2610059"/>
                  <a:gd name="connsiteY2" fmla="*/ 487345 h 2172119"/>
                  <a:gd name="connsiteX3" fmla="*/ 1786094 w 2610059"/>
                  <a:gd name="connsiteY3" fmla="*/ 0 h 2172119"/>
                  <a:gd name="connsiteX4" fmla="*/ 2165964 w 2610059"/>
                  <a:gd name="connsiteY4" fmla="*/ 6699 h 2172119"/>
                  <a:gd name="connsiteX5" fmla="*/ 2167932 w 2610059"/>
                  <a:gd name="connsiteY5" fmla="*/ 437104 h 2172119"/>
                  <a:gd name="connsiteX6" fmla="*/ 2610059 w 2610059"/>
                  <a:gd name="connsiteY6" fmla="*/ 1075174 h 2172119"/>
                  <a:gd name="connsiteX7" fmla="*/ 2152859 w 2610059"/>
                  <a:gd name="connsiteY7" fmla="*/ 1748413 h 2172119"/>
                  <a:gd name="connsiteX8" fmla="*/ 2165964 w 2610059"/>
                  <a:gd name="connsiteY8" fmla="*/ 2172119 h 2172119"/>
                  <a:gd name="connsiteX9" fmla="*/ 1077686 w 2610059"/>
                  <a:gd name="connsiteY9" fmla="*/ 2170444 h 2172119"/>
                  <a:gd name="connsiteX10" fmla="*/ 0 w 2610059"/>
                  <a:gd name="connsiteY10" fmla="*/ 2162070 h 2172119"/>
                  <a:gd name="connsiteX11" fmla="*/ 5024 w 2610059"/>
                  <a:gd name="connsiteY11" fmla="*/ 21771 h 2172119"/>
                  <a:gd name="connsiteX0" fmla="*/ 5024 w 2610059"/>
                  <a:gd name="connsiteY0" fmla="*/ 21771 h 2172119"/>
                  <a:gd name="connsiteX1" fmla="*/ 364253 w 2610059"/>
                  <a:gd name="connsiteY1" fmla="*/ 5024 h 2172119"/>
                  <a:gd name="connsiteX2" fmla="*/ 1077686 w 2610059"/>
                  <a:gd name="connsiteY2" fmla="*/ 487345 h 2172119"/>
                  <a:gd name="connsiteX3" fmla="*/ 1786094 w 2610059"/>
                  <a:gd name="connsiteY3" fmla="*/ 0 h 2172119"/>
                  <a:gd name="connsiteX4" fmla="*/ 2165964 w 2610059"/>
                  <a:gd name="connsiteY4" fmla="*/ 6699 h 2172119"/>
                  <a:gd name="connsiteX5" fmla="*/ 2167932 w 2610059"/>
                  <a:gd name="connsiteY5" fmla="*/ 437104 h 2172119"/>
                  <a:gd name="connsiteX6" fmla="*/ 2610059 w 2610059"/>
                  <a:gd name="connsiteY6" fmla="*/ 1075174 h 2172119"/>
                  <a:gd name="connsiteX7" fmla="*/ 2152859 w 2610059"/>
                  <a:gd name="connsiteY7" fmla="*/ 1748413 h 2172119"/>
                  <a:gd name="connsiteX8" fmla="*/ 2165964 w 2610059"/>
                  <a:gd name="connsiteY8" fmla="*/ 2172119 h 2172119"/>
                  <a:gd name="connsiteX9" fmla="*/ 1087734 w 2610059"/>
                  <a:gd name="connsiteY9" fmla="*/ 1708220 h 2172119"/>
                  <a:gd name="connsiteX10" fmla="*/ 0 w 2610059"/>
                  <a:gd name="connsiteY10" fmla="*/ 2162070 h 2172119"/>
                  <a:gd name="connsiteX11" fmla="*/ 5024 w 2610059"/>
                  <a:gd name="connsiteY11" fmla="*/ 21771 h 2172119"/>
                  <a:gd name="connsiteX0" fmla="*/ 5024 w 2610059"/>
                  <a:gd name="connsiteY0" fmla="*/ 21771 h 2172119"/>
                  <a:gd name="connsiteX1" fmla="*/ 364253 w 2610059"/>
                  <a:gd name="connsiteY1" fmla="*/ 5024 h 2172119"/>
                  <a:gd name="connsiteX2" fmla="*/ 1077686 w 2610059"/>
                  <a:gd name="connsiteY2" fmla="*/ 487345 h 2172119"/>
                  <a:gd name="connsiteX3" fmla="*/ 1786094 w 2610059"/>
                  <a:gd name="connsiteY3" fmla="*/ 0 h 2172119"/>
                  <a:gd name="connsiteX4" fmla="*/ 2165964 w 2610059"/>
                  <a:gd name="connsiteY4" fmla="*/ 6699 h 2172119"/>
                  <a:gd name="connsiteX5" fmla="*/ 2167932 w 2610059"/>
                  <a:gd name="connsiteY5" fmla="*/ 437104 h 2172119"/>
                  <a:gd name="connsiteX6" fmla="*/ 2610059 w 2610059"/>
                  <a:gd name="connsiteY6" fmla="*/ 1075174 h 2172119"/>
                  <a:gd name="connsiteX7" fmla="*/ 2152859 w 2610059"/>
                  <a:gd name="connsiteY7" fmla="*/ 1748413 h 2172119"/>
                  <a:gd name="connsiteX8" fmla="*/ 2165964 w 2610059"/>
                  <a:gd name="connsiteY8" fmla="*/ 2172119 h 2172119"/>
                  <a:gd name="connsiteX9" fmla="*/ 1087734 w 2610059"/>
                  <a:gd name="connsiteY9" fmla="*/ 1708220 h 2172119"/>
                  <a:gd name="connsiteX10" fmla="*/ 449664 w 2610059"/>
                  <a:gd name="connsiteY10" fmla="*/ 1984549 h 2172119"/>
                  <a:gd name="connsiteX11" fmla="*/ 0 w 2610059"/>
                  <a:gd name="connsiteY11" fmla="*/ 2162070 h 2172119"/>
                  <a:gd name="connsiteX12" fmla="*/ 5024 w 2610059"/>
                  <a:gd name="connsiteY12" fmla="*/ 21771 h 2172119"/>
                  <a:gd name="connsiteX0" fmla="*/ 5024 w 2610059"/>
                  <a:gd name="connsiteY0" fmla="*/ 21771 h 2172119"/>
                  <a:gd name="connsiteX1" fmla="*/ 364253 w 2610059"/>
                  <a:gd name="connsiteY1" fmla="*/ 5024 h 2172119"/>
                  <a:gd name="connsiteX2" fmla="*/ 1077686 w 2610059"/>
                  <a:gd name="connsiteY2" fmla="*/ 487345 h 2172119"/>
                  <a:gd name="connsiteX3" fmla="*/ 1786094 w 2610059"/>
                  <a:gd name="connsiteY3" fmla="*/ 0 h 2172119"/>
                  <a:gd name="connsiteX4" fmla="*/ 2165964 w 2610059"/>
                  <a:gd name="connsiteY4" fmla="*/ 6699 h 2172119"/>
                  <a:gd name="connsiteX5" fmla="*/ 2167932 w 2610059"/>
                  <a:gd name="connsiteY5" fmla="*/ 437104 h 2172119"/>
                  <a:gd name="connsiteX6" fmla="*/ 2610059 w 2610059"/>
                  <a:gd name="connsiteY6" fmla="*/ 1075174 h 2172119"/>
                  <a:gd name="connsiteX7" fmla="*/ 2152859 w 2610059"/>
                  <a:gd name="connsiteY7" fmla="*/ 1748413 h 2172119"/>
                  <a:gd name="connsiteX8" fmla="*/ 2165964 w 2610059"/>
                  <a:gd name="connsiteY8" fmla="*/ 2172119 h 2172119"/>
                  <a:gd name="connsiteX9" fmla="*/ 1087734 w 2610059"/>
                  <a:gd name="connsiteY9" fmla="*/ 1708220 h 2172119"/>
                  <a:gd name="connsiteX10" fmla="*/ 399423 w 2610059"/>
                  <a:gd name="connsiteY10" fmla="*/ 2150346 h 2172119"/>
                  <a:gd name="connsiteX11" fmla="*/ 0 w 2610059"/>
                  <a:gd name="connsiteY11" fmla="*/ 2162070 h 2172119"/>
                  <a:gd name="connsiteX12" fmla="*/ 5024 w 2610059"/>
                  <a:gd name="connsiteY12" fmla="*/ 21771 h 2172119"/>
                  <a:gd name="connsiteX0" fmla="*/ 5024 w 2610059"/>
                  <a:gd name="connsiteY0" fmla="*/ 21771 h 2172119"/>
                  <a:gd name="connsiteX1" fmla="*/ 364253 w 2610059"/>
                  <a:gd name="connsiteY1" fmla="*/ 5024 h 2172119"/>
                  <a:gd name="connsiteX2" fmla="*/ 1077686 w 2610059"/>
                  <a:gd name="connsiteY2" fmla="*/ 487345 h 2172119"/>
                  <a:gd name="connsiteX3" fmla="*/ 1786094 w 2610059"/>
                  <a:gd name="connsiteY3" fmla="*/ 0 h 2172119"/>
                  <a:gd name="connsiteX4" fmla="*/ 2165964 w 2610059"/>
                  <a:gd name="connsiteY4" fmla="*/ 6699 h 2172119"/>
                  <a:gd name="connsiteX5" fmla="*/ 2167932 w 2610059"/>
                  <a:gd name="connsiteY5" fmla="*/ 437104 h 2172119"/>
                  <a:gd name="connsiteX6" fmla="*/ 2610059 w 2610059"/>
                  <a:gd name="connsiteY6" fmla="*/ 1075174 h 2172119"/>
                  <a:gd name="connsiteX7" fmla="*/ 2152859 w 2610059"/>
                  <a:gd name="connsiteY7" fmla="*/ 1748413 h 2172119"/>
                  <a:gd name="connsiteX8" fmla="*/ 2165964 w 2610059"/>
                  <a:gd name="connsiteY8" fmla="*/ 2172119 h 2172119"/>
                  <a:gd name="connsiteX9" fmla="*/ 1776046 w 2610059"/>
                  <a:gd name="connsiteY9" fmla="*/ 1994598 h 2172119"/>
                  <a:gd name="connsiteX10" fmla="*/ 1087734 w 2610059"/>
                  <a:gd name="connsiteY10" fmla="*/ 1708220 h 2172119"/>
                  <a:gd name="connsiteX11" fmla="*/ 399423 w 2610059"/>
                  <a:gd name="connsiteY11" fmla="*/ 2150346 h 2172119"/>
                  <a:gd name="connsiteX12" fmla="*/ 0 w 2610059"/>
                  <a:gd name="connsiteY12" fmla="*/ 2162070 h 2172119"/>
                  <a:gd name="connsiteX13" fmla="*/ 5024 w 2610059"/>
                  <a:gd name="connsiteY13" fmla="*/ 21771 h 2172119"/>
                  <a:gd name="connsiteX0" fmla="*/ 5024 w 2610059"/>
                  <a:gd name="connsiteY0" fmla="*/ 21771 h 2172119"/>
                  <a:gd name="connsiteX1" fmla="*/ 364253 w 2610059"/>
                  <a:gd name="connsiteY1" fmla="*/ 5024 h 2172119"/>
                  <a:gd name="connsiteX2" fmla="*/ 1077686 w 2610059"/>
                  <a:gd name="connsiteY2" fmla="*/ 487345 h 2172119"/>
                  <a:gd name="connsiteX3" fmla="*/ 1786094 w 2610059"/>
                  <a:gd name="connsiteY3" fmla="*/ 0 h 2172119"/>
                  <a:gd name="connsiteX4" fmla="*/ 2165964 w 2610059"/>
                  <a:gd name="connsiteY4" fmla="*/ 6699 h 2172119"/>
                  <a:gd name="connsiteX5" fmla="*/ 2167932 w 2610059"/>
                  <a:gd name="connsiteY5" fmla="*/ 437104 h 2172119"/>
                  <a:gd name="connsiteX6" fmla="*/ 2610059 w 2610059"/>
                  <a:gd name="connsiteY6" fmla="*/ 1075174 h 2172119"/>
                  <a:gd name="connsiteX7" fmla="*/ 2152859 w 2610059"/>
                  <a:gd name="connsiteY7" fmla="*/ 1748413 h 2172119"/>
                  <a:gd name="connsiteX8" fmla="*/ 2165964 w 2610059"/>
                  <a:gd name="connsiteY8" fmla="*/ 2172119 h 2172119"/>
                  <a:gd name="connsiteX9" fmla="*/ 1776046 w 2610059"/>
                  <a:gd name="connsiteY9" fmla="*/ 2165420 h 2172119"/>
                  <a:gd name="connsiteX10" fmla="*/ 1087734 w 2610059"/>
                  <a:gd name="connsiteY10" fmla="*/ 1708220 h 2172119"/>
                  <a:gd name="connsiteX11" fmla="*/ 399423 w 2610059"/>
                  <a:gd name="connsiteY11" fmla="*/ 2150346 h 2172119"/>
                  <a:gd name="connsiteX12" fmla="*/ 0 w 2610059"/>
                  <a:gd name="connsiteY12" fmla="*/ 2162070 h 2172119"/>
                  <a:gd name="connsiteX13" fmla="*/ 5024 w 2610059"/>
                  <a:gd name="connsiteY13" fmla="*/ 21771 h 2172119"/>
                  <a:gd name="connsiteX0" fmla="*/ 286 w 2613272"/>
                  <a:gd name="connsiteY0" fmla="*/ 21771 h 2172119"/>
                  <a:gd name="connsiteX1" fmla="*/ 367466 w 2613272"/>
                  <a:gd name="connsiteY1" fmla="*/ 5024 h 2172119"/>
                  <a:gd name="connsiteX2" fmla="*/ 1080899 w 2613272"/>
                  <a:gd name="connsiteY2" fmla="*/ 487345 h 2172119"/>
                  <a:gd name="connsiteX3" fmla="*/ 1789307 w 2613272"/>
                  <a:gd name="connsiteY3" fmla="*/ 0 h 2172119"/>
                  <a:gd name="connsiteX4" fmla="*/ 2169177 w 2613272"/>
                  <a:gd name="connsiteY4" fmla="*/ 6699 h 2172119"/>
                  <a:gd name="connsiteX5" fmla="*/ 2171145 w 2613272"/>
                  <a:gd name="connsiteY5" fmla="*/ 437104 h 2172119"/>
                  <a:gd name="connsiteX6" fmla="*/ 2613272 w 2613272"/>
                  <a:gd name="connsiteY6" fmla="*/ 1075174 h 2172119"/>
                  <a:gd name="connsiteX7" fmla="*/ 2156072 w 2613272"/>
                  <a:gd name="connsiteY7" fmla="*/ 1748413 h 2172119"/>
                  <a:gd name="connsiteX8" fmla="*/ 2169177 w 2613272"/>
                  <a:gd name="connsiteY8" fmla="*/ 2172119 h 2172119"/>
                  <a:gd name="connsiteX9" fmla="*/ 1779259 w 2613272"/>
                  <a:gd name="connsiteY9" fmla="*/ 2165420 h 2172119"/>
                  <a:gd name="connsiteX10" fmla="*/ 1090947 w 2613272"/>
                  <a:gd name="connsiteY10" fmla="*/ 1708220 h 2172119"/>
                  <a:gd name="connsiteX11" fmla="*/ 402636 w 2613272"/>
                  <a:gd name="connsiteY11" fmla="*/ 2150346 h 2172119"/>
                  <a:gd name="connsiteX12" fmla="*/ 3213 w 2613272"/>
                  <a:gd name="connsiteY12" fmla="*/ 2162070 h 2172119"/>
                  <a:gd name="connsiteX13" fmla="*/ 286 w 2613272"/>
                  <a:gd name="connsiteY13" fmla="*/ 21771 h 2172119"/>
                  <a:gd name="connsiteX0" fmla="*/ 286 w 2613272"/>
                  <a:gd name="connsiteY0" fmla="*/ 21771 h 2172119"/>
                  <a:gd name="connsiteX1" fmla="*/ 367466 w 2613272"/>
                  <a:gd name="connsiteY1" fmla="*/ 20926 h 2172119"/>
                  <a:gd name="connsiteX2" fmla="*/ 1080899 w 2613272"/>
                  <a:gd name="connsiteY2" fmla="*/ 487345 h 2172119"/>
                  <a:gd name="connsiteX3" fmla="*/ 1789307 w 2613272"/>
                  <a:gd name="connsiteY3" fmla="*/ 0 h 2172119"/>
                  <a:gd name="connsiteX4" fmla="*/ 2169177 w 2613272"/>
                  <a:gd name="connsiteY4" fmla="*/ 6699 h 2172119"/>
                  <a:gd name="connsiteX5" fmla="*/ 2171145 w 2613272"/>
                  <a:gd name="connsiteY5" fmla="*/ 437104 h 2172119"/>
                  <a:gd name="connsiteX6" fmla="*/ 2613272 w 2613272"/>
                  <a:gd name="connsiteY6" fmla="*/ 1075174 h 2172119"/>
                  <a:gd name="connsiteX7" fmla="*/ 2156072 w 2613272"/>
                  <a:gd name="connsiteY7" fmla="*/ 1748413 h 2172119"/>
                  <a:gd name="connsiteX8" fmla="*/ 2169177 w 2613272"/>
                  <a:gd name="connsiteY8" fmla="*/ 2172119 h 2172119"/>
                  <a:gd name="connsiteX9" fmla="*/ 1779259 w 2613272"/>
                  <a:gd name="connsiteY9" fmla="*/ 2165420 h 2172119"/>
                  <a:gd name="connsiteX10" fmla="*/ 1090947 w 2613272"/>
                  <a:gd name="connsiteY10" fmla="*/ 1708220 h 2172119"/>
                  <a:gd name="connsiteX11" fmla="*/ 402636 w 2613272"/>
                  <a:gd name="connsiteY11" fmla="*/ 2150346 h 2172119"/>
                  <a:gd name="connsiteX12" fmla="*/ 3213 w 2613272"/>
                  <a:gd name="connsiteY12" fmla="*/ 2162070 h 2172119"/>
                  <a:gd name="connsiteX13" fmla="*/ 286 w 2613272"/>
                  <a:gd name="connsiteY13" fmla="*/ 21771 h 2172119"/>
                  <a:gd name="connsiteX0" fmla="*/ 5024 w 2610059"/>
                  <a:gd name="connsiteY0" fmla="*/ 25747 h 2172119"/>
                  <a:gd name="connsiteX1" fmla="*/ 364253 w 2610059"/>
                  <a:gd name="connsiteY1" fmla="*/ 20926 h 2172119"/>
                  <a:gd name="connsiteX2" fmla="*/ 1077686 w 2610059"/>
                  <a:gd name="connsiteY2" fmla="*/ 487345 h 2172119"/>
                  <a:gd name="connsiteX3" fmla="*/ 1786094 w 2610059"/>
                  <a:gd name="connsiteY3" fmla="*/ 0 h 2172119"/>
                  <a:gd name="connsiteX4" fmla="*/ 2165964 w 2610059"/>
                  <a:gd name="connsiteY4" fmla="*/ 6699 h 2172119"/>
                  <a:gd name="connsiteX5" fmla="*/ 2167932 w 2610059"/>
                  <a:gd name="connsiteY5" fmla="*/ 437104 h 2172119"/>
                  <a:gd name="connsiteX6" fmla="*/ 2610059 w 2610059"/>
                  <a:gd name="connsiteY6" fmla="*/ 1075174 h 2172119"/>
                  <a:gd name="connsiteX7" fmla="*/ 2152859 w 2610059"/>
                  <a:gd name="connsiteY7" fmla="*/ 1748413 h 2172119"/>
                  <a:gd name="connsiteX8" fmla="*/ 2165964 w 2610059"/>
                  <a:gd name="connsiteY8" fmla="*/ 2172119 h 2172119"/>
                  <a:gd name="connsiteX9" fmla="*/ 1776046 w 2610059"/>
                  <a:gd name="connsiteY9" fmla="*/ 2165420 h 2172119"/>
                  <a:gd name="connsiteX10" fmla="*/ 1087734 w 2610059"/>
                  <a:gd name="connsiteY10" fmla="*/ 1708220 h 2172119"/>
                  <a:gd name="connsiteX11" fmla="*/ 399423 w 2610059"/>
                  <a:gd name="connsiteY11" fmla="*/ 2150346 h 2172119"/>
                  <a:gd name="connsiteX12" fmla="*/ 0 w 2610059"/>
                  <a:gd name="connsiteY12" fmla="*/ 2162070 h 2172119"/>
                  <a:gd name="connsiteX13" fmla="*/ 5024 w 2610059"/>
                  <a:gd name="connsiteY13" fmla="*/ 25747 h 2172119"/>
                  <a:gd name="connsiteX0" fmla="*/ 5024 w 2610059"/>
                  <a:gd name="connsiteY0" fmla="*/ 25747 h 2172119"/>
                  <a:gd name="connsiteX1" fmla="*/ 364253 w 2610059"/>
                  <a:gd name="connsiteY1" fmla="*/ 20926 h 2172119"/>
                  <a:gd name="connsiteX2" fmla="*/ 1069735 w 2610059"/>
                  <a:gd name="connsiteY2" fmla="*/ 487345 h 2172119"/>
                  <a:gd name="connsiteX3" fmla="*/ 1786094 w 2610059"/>
                  <a:gd name="connsiteY3" fmla="*/ 0 h 2172119"/>
                  <a:gd name="connsiteX4" fmla="*/ 2165964 w 2610059"/>
                  <a:gd name="connsiteY4" fmla="*/ 6699 h 2172119"/>
                  <a:gd name="connsiteX5" fmla="*/ 2167932 w 2610059"/>
                  <a:gd name="connsiteY5" fmla="*/ 437104 h 2172119"/>
                  <a:gd name="connsiteX6" fmla="*/ 2610059 w 2610059"/>
                  <a:gd name="connsiteY6" fmla="*/ 1075174 h 2172119"/>
                  <a:gd name="connsiteX7" fmla="*/ 2152859 w 2610059"/>
                  <a:gd name="connsiteY7" fmla="*/ 1748413 h 2172119"/>
                  <a:gd name="connsiteX8" fmla="*/ 2165964 w 2610059"/>
                  <a:gd name="connsiteY8" fmla="*/ 2172119 h 2172119"/>
                  <a:gd name="connsiteX9" fmla="*/ 1776046 w 2610059"/>
                  <a:gd name="connsiteY9" fmla="*/ 2165420 h 2172119"/>
                  <a:gd name="connsiteX10" fmla="*/ 1087734 w 2610059"/>
                  <a:gd name="connsiteY10" fmla="*/ 1708220 h 2172119"/>
                  <a:gd name="connsiteX11" fmla="*/ 399423 w 2610059"/>
                  <a:gd name="connsiteY11" fmla="*/ 2150346 h 2172119"/>
                  <a:gd name="connsiteX12" fmla="*/ 0 w 2610059"/>
                  <a:gd name="connsiteY12" fmla="*/ 2162070 h 2172119"/>
                  <a:gd name="connsiteX13" fmla="*/ 5024 w 2610059"/>
                  <a:gd name="connsiteY13" fmla="*/ 25747 h 2172119"/>
                  <a:gd name="connsiteX0" fmla="*/ 5024 w 2610059"/>
                  <a:gd name="connsiteY0" fmla="*/ 25747 h 2172119"/>
                  <a:gd name="connsiteX1" fmla="*/ 364253 w 2610059"/>
                  <a:gd name="connsiteY1" fmla="*/ 20926 h 2172119"/>
                  <a:gd name="connsiteX2" fmla="*/ 1069735 w 2610059"/>
                  <a:gd name="connsiteY2" fmla="*/ 487345 h 2172119"/>
                  <a:gd name="connsiteX3" fmla="*/ 1786094 w 2610059"/>
                  <a:gd name="connsiteY3" fmla="*/ 0 h 2172119"/>
                  <a:gd name="connsiteX4" fmla="*/ 2165964 w 2610059"/>
                  <a:gd name="connsiteY4" fmla="*/ 6699 h 2172119"/>
                  <a:gd name="connsiteX5" fmla="*/ 2167932 w 2610059"/>
                  <a:gd name="connsiteY5" fmla="*/ 437104 h 2172119"/>
                  <a:gd name="connsiteX6" fmla="*/ 2610059 w 2610059"/>
                  <a:gd name="connsiteY6" fmla="*/ 1075174 h 2172119"/>
                  <a:gd name="connsiteX7" fmla="*/ 2152859 w 2610059"/>
                  <a:gd name="connsiteY7" fmla="*/ 1748413 h 2172119"/>
                  <a:gd name="connsiteX8" fmla="*/ 2165964 w 2610059"/>
                  <a:gd name="connsiteY8" fmla="*/ 2172119 h 2172119"/>
                  <a:gd name="connsiteX9" fmla="*/ 1776046 w 2610059"/>
                  <a:gd name="connsiteY9" fmla="*/ 2165420 h 2172119"/>
                  <a:gd name="connsiteX10" fmla="*/ 1087734 w 2610059"/>
                  <a:gd name="connsiteY10" fmla="*/ 1708220 h 2172119"/>
                  <a:gd name="connsiteX11" fmla="*/ 399423 w 2610059"/>
                  <a:gd name="connsiteY11" fmla="*/ 2150346 h 2172119"/>
                  <a:gd name="connsiteX12" fmla="*/ 0 w 2610059"/>
                  <a:gd name="connsiteY12" fmla="*/ 2162070 h 2172119"/>
                  <a:gd name="connsiteX13" fmla="*/ 5024 w 2610059"/>
                  <a:gd name="connsiteY13" fmla="*/ 25747 h 2172119"/>
                  <a:gd name="connsiteX0" fmla="*/ 5024 w 2610059"/>
                  <a:gd name="connsiteY0" fmla="*/ 25747 h 2168143"/>
                  <a:gd name="connsiteX1" fmla="*/ 364253 w 2610059"/>
                  <a:gd name="connsiteY1" fmla="*/ 20926 h 2168143"/>
                  <a:gd name="connsiteX2" fmla="*/ 1069735 w 2610059"/>
                  <a:gd name="connsiteY2" fmla="*/ 487345 h 2168143"/>
                  <a:gd name="connsiteX3" fmla="*/ 1786094 w 2610059"/>
                  <a:gd name="connsiteY3" fmla="*/ 0 h 2168143"/>
                  <a:gd name="connsiteX4" fmla="*/ 2165964 w 2610059"/>
                  <a:gd name="connsiteY4" fmla="*/ 6699 h 2168143"/>
                  <a:gd name="connsiteX5" fmla="*/ 2167932 w 2610059"/>
                  <a:gd name="connsiteY5" fmla="*/ 437104 h 2168143"/>
                  <a:gd name="connsiteX6" fmla="*/ 2610059 w 2610059"/>
                  <a:gd name="connsiteY6" fmla="*/ 1075174 h 2168143"/>
                  <a:gd name="connsiteX7" fmla="*/ 2152859 w 2610059"/>
                  <a:gd name="connsiteY7" fmla="*/ 1748413 h 2168143"/>
                  <a:gd name="connsiteX8" fmla="*/ 2154037 w 2610059"/>
                  <a:gd name="connsiteY8" fmla="*/ 2168143 h 2168143"/>
                  <a:gd name="connsiteX9" fmla="*/ 1776046 w 2610059"/>
                  <a:gd name="connsiteY9" fmla="*/ 2165420 h 2168143"/>
                  <a:gd name="connsiteX10" fmla="*/ 1087734 w 2610059"/>
                  <a:gd name="connsiteY10" fmla="*/ 1708220 h 2168143"/>
                  <a:gd name="connsiteX11" fmla="*/ 399423 w 2610059"/>
                  <a:gd name="connsiteY11" fmla="*/ 2150346 h 2168143"/>
                  <a:gd name="connsiteX12" fmla="*/ 0 w 2610059"/>
                  <a:gd name="connsiteY12" fmla="*/ 2162070 h 2168143"/>
                  <a:gd name="connsiteX13" fmla="*/ 5024 w 2610059"/>
                  <a:gd name="connsiteY13" fmla="*/ 25747 h 2168143"/>
                  <a:gd name="connsiteX0" fmla="*/ 5024 w 2610059"/>
                  <a:gd name="connsiteY0" fmla="*/ 25747 h 2165420"/>
                  <a:gd name="connsiteX1" fmla="*/ 364253 w 2610059"/>
                  <a:gd name="connsiteY1" fmla="*/ 20926 h 2165420"/>
                  <a:gd name="connsiteX2" fmla="*/ 1069735 w 2610059"/>
                  <a:gd name="connsiteY2" fmla="*/ 487345 h 2165420"/>
                  <a:gd name="connsiteX3" fmla="*/ 1786094 w 2610059"/>
                  <a:gd name="connsiteY3" fmla="*/ 0 h 2165420"/>
                  <a:gd name="connsiteX4" fmla="*/ 2165964 w 2610059"/>
                  <a:gd name="connsiteY4" fmla="*/ 6699 h 2165420"/>
                  <a:gd name="connsiteX5" fmla="*/ 2167932 w 2610059"/>
                  <a:gd name="connsiteY5" fmla="*/ 437104 h 2165420"/>
                  <a:gd name="connsiteX6" fmla="*/ 2610059 w 2610059"/>
                  <a:gd name="connsiteY6" fmla="*/ 1075174 h 2165420"/>
                  <a:gd name="connsiteX7" fmla="*/ 2152859 w 2610059"/>
                  <a:gd name="connsiteY7" fmla="*/ 1748413 h 2165420"/>
                  <a:gd name="connsiteX8" fmla="*/ 2161989 w 2610059"/>
                  <a:gd name="connsiteY8" fmla="*/ 2164168 h 2165420"/>
                  <a:gd name="connsiteX9" fmla="*/ 1776046 w 2610059"/>
                  <a:gd name="connsiteY9" fmla="*/ 2165420 h 2165420"/>
                  <a:gd name="connsiteX10" fmla="*/ 1087734 w 2610059"/>
                  <a:gd name="connsiteY10" fmla="*/ 1708220 h 2165420"/>
                  <a:gd name="connsiteX11" fmla="*/ 399423 w 2610059"/>
                  <a:gd name="connsiteY11" fmla="*/ 2150346 h 2165420"/>
                  <a:gd name="connsiteX12" fmla="*/ 0 w 2610059"/>
                  <a:gd name="connsiteY12" fmla="*/ 2162070 h 2165420"/>
                  <a:gd name="connsiteX13" fmla="*/ 5024 w 2610059"/>
                  <a:gd name="connsiteY13" fmla="*/ 25747 h 2165420"/>
                  <a:gd name="connsiteX0" fmla="*/ 12975 w 2610059"/>
                  <a:gd name="connsiteY0" fmla="*/ 13820 h 2165420"/>
                  <a:gd name="connsiteX1" fmla="*/ 364253 w 2610059"/>
                  <a:gd name="connsiteY1" fmla="*/ 20926 h 2165420"/>
                  <a:gd name="connsiteX2" fmla="*/ 1069735 w 2610059"/>
                  <a:gd name="connsiteY2" fmla="*/ 487345 h 2165420"/>
                  <a:gd name="connsiteX3" fmla="*/ 1786094 w 2610059"/>
                  <a:gd name="connsiteY3" fmla="*/ 0 h 2165420"/>
                  <a:gd name="connsiteX4" fmla="*/ 2165964 w 2610059"/>
                  <a:gd name="connsiteY4" fmla="*/ 6699 h 2165420"/>
                  <a:gd name="connsiteX5" fmla="*/ 2167932 w 2610059"/>
                  <a:gd name="connsiteY5" fmla="*/ 437104 h 2165420"/>
                  <a:gd name="connsiteX6" fmla="*/ 2610059 w 2610059"/>
                  <a:gd name="connsiteY6" fmla="*/ 1075174 h 2165420"/>
                  <a:gd name="connsiteX7" fmla="*/ 2152859 w 2610059"/>
                  <a:gd name="connsiteY7" fmla="*/ 1748413 h 2165420"/>
                  <a:gd name="connsiteX8" fmla="*/ 2161989 w 2610059"/>
                  <a:gd name="connsiteY8" fmla="*/ 2164168 h 2165420"/>
                  <a:gd name="connsiteX9" fmla="*/ 1776046 w 2610059"/>
                  <a:gd name="connsiteY9" fmla="*/ 2165420 h 2165420"/>
                  <a:gd name="connsiteX10" fmla="*/ 1087734 w 2610059"/>
                  <a:gd name="connsiteY10" fmla="*/ 1708220 h 2165420"/>
                  <a:gd name="connsiteX11" fmla="*/ 399423 w 2610059"/>
                  <a:gd name="connsiteY11" fmla="*/ 2150346 h 2165420"/>
                  <a:gd name="connsiteX12" fmla="*/ 0 w 2610059"/>
                  <a:gd name="connsiteY12" fmla="*/ 2162070 h 2165420"/>
                  <a:gd name="connsiteX13" fmla="*/ 12975 w 2610059"/>
                  <a:gd name="connsiteY13" fmla="*/ 13820 h 2165420"/>
                  <a:gd name="connsiteX0" fmla="*/ 12975 w 2610059"/>
                  <a:gd name="connsiteY0" fmla="*/ 13820 h 2165420"/>
                  <a:gd name="connsiteX1" fmla="*/ 388107 w 2610059"/>
                  <a:gd name="connsiteY1" fmla="*/ 16950 h 2165420"/>
                  <a:gd name="connsiteX2" fmla="*/ 1069735 w 2610059"/>
                  <a:gd name="connsiteY2" fmla="*/ 487345 h 2165420"/>
                  <a:gd name="connsiteX3" fmla="*/ 1786094 w 2610059"/>
                  <a:gd name="connsiteY3" fmla="*/ 0 h 2165420"/>
                  <a:gd name="connsiteX4" fmla="*/ 2165964 w 2610059"/>
                  <a:gd name="connsiteY4" fmla="*/ 6699 h 2165420"/>
                  <a:gd name="connsiteX5" fmla="*/ 2167932 w 2610059"/>
                  <a:gd name="connsiteY5" fmla="*/ 437104 h 2165420"/>
                  <a:gd name="connsiteX6" fmla="*/ 2610059 w 2610059"/>
                  <a:gd name="connsiteY6" fmla="*/ 1075174 h 2165420"/>
                  <a:gd name="connsiteX7" fmla="*/ 2152859 w 2610059"/>
                  <a:gd name="connsiteY7" fmla="*/ 1748413 h 2165420"/>
                  <a:gd name="connsiteX8" fmla="*/ 2161989 w 2610059"/>
                  <a:gd name="connsiteY8" fmla="*/ 2164168 h 2165420"/>
                  <a:gd name="connsiteX9" fmla="*/ 1776046 w 2610059"/>
                  <a:gd name="connsiteY9" fmla="*/ 2165420 h 2165420"/>
                  <a:gd name="connsiteX10" fmla="*/ 1087734 w 2610059"/>
                  <a:gd name="connsiteY10" fmla="*/ 1708220 h 2165420"/>
                  <a:gd name="connsiteX11" fmla="*/ 399423 w 2610059"/>
                  <a:gd name="connsiteY11" fmla="*/ 2150346 h 2165420"/>
                  <a:gd name="connsiteX12" fmla="*/ 0 w 2610059"/>
                  <a:gd name="connsiteY12" fmla="*/ 2162070 h 2165420"/>
                  <a:gd name="connsiteX13" fmla="*/ 12975 w 2610059"/>
                  <a:gd name="connsiteY13" fmla="*/ 13820 h 2165420"/>
                  <a:gd name="connsiteX0" fmla="*/ 12975 w 2610059"/>
                  <a:gd name="connsiteY0" fmla="*/ 13820 h 2165420"/>
                  <a:gd name="connsiteX1" fmla="*/ 396058 w 2610059"/>
                  <a:gd name="connsiteY1" fmla="*/ 20926 h 2165420"/>
                  <a:gd name="connsiteX2" fmla="*/ 1069735 w 2610059"/>
                  <a:gd name="connsiteY2" fmla="*/ 487345 h 2165420"/>
                  <a:gd name="connsiteX3" fmla="*/ 1786094 w 2610059"/>
                  <a:gd name="connsiteY3" fmla="*/ 0 h 2165420"/>
                  <a:gd name="connsiteX4" fmla="*/ 2165964 w 2610059"/>
                  <a:gd name="connsiteY4" fmla="*/ 6699 h 2165420"/>
                  <a:gd name="connsiteX5" fmla="*/ 2167932 w 2610059"/>
                  <a:gd name="connsiteY5" fmla="*/ 437104 h 2165420"/>
                  <a:gd name="connsiteX6" fmla="*/ 2610059 w 2610059"/>
                  <a:gd name="connsiteY6" fmla="*/ 1075174 h 2165420"/>
                  <a:gd name="connsiteX7" fmla="*/ 2152859 w 2610059"/>
                  <a:gd name="connsiteY7" fmla="*/ 1748413 h 2165420"/>
                  <a:gd name="connsiteX8" fmla="*/ 2161989 w 2610059"/>
                  <a:gd name="connsiteY8" fmla="*/ 2164168 h 2165420"/>
                  <a:gd name="connsiteX9" fmla="*/ 1776046 w 2610059"/>
                  <a:gd name="connsiteY9" fmla="*/ 2165420 h 2165420"/>
                  <a:gd name="connsiteX10" fmla="*/ 1087734 w 2610059"/>
                  <a:gd name="connsiteY10" fmla="*/ 1708220 h 2165420"/>
                  <a:gd name="connsiteX11" fmla="*/ 399423 w 2610059"/>
                  <a:gd name="connsiteY11" fmla="*/ 2150346 h 2165420"/>
                  <a:gd name="connsiteX12" fmla="*/ 0 w 2610059"/>
                  <a:gd name="connsiteY12" fmla="*/ 2162070 h 2165420"/>
                  <a:gd name="connsiteX13" fmla="*/ 12975 w 2610059"/>
                  <a:gd name="connsiteY13" fmla="*/ 13820 h 2165420"/>
                  <a:gd name="connsiteX0" fmla="*/ 12975 w 2610059"/>
                  <a:gd name="connsiteY0" fmla="*/ 13820 h 2165420"/>
                  <a:gd name="connsiteX1" fmla="*/ 400034 w 2610059"/>
                  <a:gd name="connsiteY1" fmla="*/ 8999 h 2165420"/>
                  <a:gd name="connsiteX2" fmla="*/ 1069735 w 2610059"/>
                  <a:gd name="connsiteY2" fmla="*/ 487345 h 2165420"/>
                  <a:gd name="connsiteX3" fmla="*/ 1786094 w 2610059"/>
                  <a:gd name="connsiteY3" fmla="*/ 0 h 2165420"/>
                  <a:gd name="connsiteX4" fmla="*/ 2165964 w 2610059"/>
                  <a:gd name="connsiteY4" fmla="*/ 6699 h 2165420"/>
                  <a:gd name="connsiteX5" fmla="*/ 2167932 w 2610059"/>
                  <a:gd name="connsiteY5" fmla="*/ 437104 h 2165420"/>
                  <a:gd name="connsiteX6" fmla="*/ 2610059 w 2610059"/>
                  <a:gd name="connsiteY6" fmla="*/ 1075174 h 2165420"/>
                  <a:gd name="connsiteX7" fmla="*/ 2152859 w 2610059"/>
                  <a:gd name="connsiteY7" fmla="*/ 1748413 h 2165420"/>
                  <a:gd name="connsiteX8" fmla="*/ 2161989 w 2610059"/>
                  <a:gd name="connsiteY8" fmla="*/ 2164168 h 2165420"/>
                  <a:gd name="connsiteX9" fmla="*/ 1776046 w 2610059"/>
                  <a:gd name="connsiteY9" fmla="*/ 2165420 h 2165420"/>
                  <a:gd name="connsiteX10" fmla="*/ 1087734 w 2610059"/>
                  <a:gd name="connsiteY10" fmla="*/ 1708220 h 2165420"/>
                  <a:gd name="connsiteX11" fmla="*/ 399423 w 2610059"/>
                  <a:gd name="connsiteY11" fmla="*/ 2150346 h 2165420"/>
                  <a:gd name="connsiteX12" fmla="*/ 0 w 2610059"/>
                  <a:gd name="connsiteY12" fmla="*/ 2162070 h 2165420"/>
                  <a:gd name="connsiteX13" fmla="*/ 12975 w 2610059"/>
                  <a:gd name="connsiteY13" fmla="*/ 13820 h 2165420"/>
                  <a:gd name="connsiteX0" fmla="*/ 12975 w 2610059"/>
                  <a:gd name="connsiteY0" fmla="*/ 13820 h 2165420"/>
                  <a:gd name="connsiteX1" fmla="*/ 400034 w 2610059"/>
                  <a:gd name="connsiteY1" fmla="*/ 8999 h 2165420"/>
                  <a:gd name="connsiteX2" fmla="*/ 1069735 w 2610059"/>
                  <a:gd name="connsiteY2" fmla="*/ 487345 h 2165420"/>
                  <a:gd name="connsiteX3" fmla="*/ 1786094 w 2610059"/>
                  <a:gd name="connsiteY3" fmla="*/ 0 h 2165420"/>
                  <a:gd name="connsiteX4" fmla="*/ 2165964 w 2610059"/>
                  <a:gd name="connsiteY4" fmla="*/ 6699 h 2165420"/>
                  <a:gd name="connsiteX5" fmla="*/ 2167932 w 2610059"/>
                  <a:gd name="connsiteY5" fmla="*/ 437104 h 2165420"/>
                  <a:gd name="connsiteX6" fmla="*/ 2610059 w 2610059"/>
                  <a:gd name="connsiteY6" fmla="*/ 1075174 h 2165420"/>
                  <a:gd name="connsiteX7" fmla="*/ 2152859 w 2610059"/>
                  <a:gd name="connsiteY7" fmla="*/ 1748413 h 2165420"/>
                  <a:gd name="connsiteX8" fmla="*/ 2161989 w 2610059"/>
                  <a:gd name="connsiteY8" fmla="*/ 2164168 h 2165420"/>
                  <a:gd name="connsiteX9" fmla="*/ 1776046 w 2610059"/>
                  <a:gd name="connsiteY9" fmla="*/ 2165420 h 2165420"/>
                  <a:gd name="connsiteX10" fmla="*/ 399423 w 2610059"/>
                  <a:gd name="connsiteY10" fmla="*/ 2150346 h 2165420"/>
                  <a:gd name="connsiteX11" fmla="*/ 0 w 2610059"/>
                  <a:gd name="connsiteY11" fmla="*/ 2162070 h 2165420"/>
                  <a:gd name="connsiteX12" fmla="*/ 12975 w 2610059"/>
                  <a:gd name="connsiteY12" fmla="*/ 13820 h 2165420"/>
                  <a:gd name="connsiteX0" fmla="*/ 12975 w 2610059"/>
                  <a:gd name="connsiteY0" fmla="*/ 13820 h 2164167"/>
                  <a:gd name="connsiteX1" fmla="*/ 400034 w 2610059"/>
                  <a:gd name="connsiteY1" fmla="*/ 8999 h 2164167"/>
                  <a:gd name="connsiteX2" fmla="*/ 1069735 w 2610059"/>
                  <a:gd name="connsiteY2" fmla="*/ 487345 h 2164167"/>
                  <a:gd name="connsiteX3" fmla="*/ 1786094 w 2610059"/>
                  <a:gd name="connsiteY3" fmla="*/ 0 h 2164167"/>
                  <a:gd name="connsiteX4" fmla="*/ 2165964 w 2610059"/>
                  <a:gd name="connsiteY4" fmla="*/ 6699 h 2164167"/>
                  <a:gd name="connsiteX5" fmla="*/ 2167932 w 2610059"/>
                  <a:gd name="connsiteY5" fmla="*/ 437104 h 2164167"/>
                  <a:gd name="connsiteX6" fmla="*/ 2610059 w 2610059"/>
                  <a:gd name="connsiteY6" fmla="*/ 1075174 h 2164167"/>
                  <a:gd name="connsiteX7" fmla="*/ 2152859 w 2610059"/>
                  <a:gd name="connsiteY7" fmla="*/ 1748413 h 2164167"/>
                  <a:gd name="connsiteX8" fmla="*/ 2161989 w 2610059"/>
                  <a:gd name="connsiteY8" fmla="*/ 2164168 h 2164167"/>
                  <a:gd name="connsiteX9" fmla="*/ 399423 w 2610059"/>
                  <a:gd name="connsiteY9" fmla="*/ 2150346 h 2164167"/>
                  <a:gd name="connsiteX10" fmla="*/ 0 w 2610059"/>
                  <a:gd name="connsiteY10" fmla="*/ 2162070 h 2164167"/>
                  <a:gd name="connsiteX11" fmla="*/ 12975 w 2610059"/>
                  <a:gd name="connsiteY11" fmla="*/ 13820 h 2164167"/>
                  <a:gd name="connsiteX0" fmla="*/ 12975 w 2610059"/>
                  <a:gd name="connsiteY0" fmla="*/ 13820 h 2164168"/>
                  <a:gd name="connsiteX1" fmla="*/ 400034 w 2610059"/>
                  <a:gd name="connsiteY1" fmla="*/ 8999 h 2164168"/>
                  <a:gd name="connsiteX2" fmla="*/ 1069735 w 2610059"/>
                  <a:gd name="connsiteY2" fmla="*/ 487345 h 2164168"/>
                  <a:gd name="connsiteX3" fmla="*/ 1786094 w 2610059"/>
                  <a:gd name="connsiteY3" fmla="*/ 0 h 2164168"/>
                  <a:gd name="connsiteX4" fmla="*/ 2165964 w 2610059"/>
                  <a:gd name="connsiteY4" fmla="*/ 6699 h 2164168"/>
                  <a:gd name="connsiteX5" fmla="*/ 2167932 w 2610059"/>
                  <a:gd name="connsiteY5" fmla="*/ 437104 h 2164168"/>
                  <a:gd name="connsiteX6" fmla="*/ 2610059 w 2610059"/>
                  <a:gd name="connsiteY6" fmla="*/ 1075174 h 2164168"/>
                  <a:gd name="connsiteX7" fmla="*/ 2152859 w 2610059"/>
                  <a:gd name="connsiteY7" fmla="*/ 1748413 h 2164168"/>
                  <a:gd name="connsiteX8" fmla="*/ 2161989 w 2610059"/>
                  <a:gd name="connsiteY8" fmla="*/ 2164168 h 2164168"/>
                  <a:gd name="connsiteX9" fmla="*/ 0 w 2610059"/>
                  <a:gd name="connsiteY9" fmla="*/ 2162070 h 2164168"/>
                  <a:gd name="connsiteX10" fmla="*/ 12975 w 2610059"/>
                  <a:gd name="connsiteY10" fmla="*/ 13820 h 2164168"/>
                  <a:gd name="connsiteX0" fmla="*/ 12975 w 2610059"/>
                  <a:gd name="connsiteY0" fmla="*/ 13820 h 2164168"/>
                  <a:gd name="connsiteX1" fmla="*/ 400034 w 2610059"/>
                  <a:gd name="connsiteY1" fmla="*/ 8999 h 2164168"/>
                  <a:gd name="connsiteX2" fmla="*/ 1069735 w 2610059"/>
                  <a:gd name="connsiteY2" fmla="*/ 487345 h 2164168"/>
                  <a:gd name="connsiteX3" fmla="*/ 1786094 w 2610059"/>
                  <a:gd name="connsiteY3" fmla="*/ 0 h 2164168"/>
                  <a:gd name="connsiteX4" fmla="*/ 2165964 w 2610059"/>
                  <a:gd name="connsiteY4" fmla="*/ 6699 h 2164168"/>
                  <a:gd name="connsiteX5" fmla="*/ 2167932 w 2610059"/>
                  <a:gd name="connsiteY5" fmla="*/ 437104 h 2164168"/>
                  <a:gd name="connsiteX6" fmla="*/ 2610059 w 2610059"/>
                  <a:gd name="connsiteY6" fmla="*/ 1075174 h 2164168"/>
                  <a:gd name="connsiteX7" fmla="*/ 2152859 w 2610059"/>
                  <a:gd name="connsiteY7" fmla="*/ 1748413 h 2164168"/>
                  <a:gd name="connsiteX8" fmla="*/ 2161989 w 2610059"/>
                  <a:gd name="connsiteY8" fmla="*/ 2164168 h 2164168"/>
                  <a:gd name="connsiteX9" fmla="*/ 0 w 2610059"/>
                  <a:gd name="connsiteY9" fmla="*/ 2162070 h 2164168"/>
                  <a:gd name="connsiteX10" fmla="*/ 12975 w 2610059"/>
                  <a:gd name="connsiteY10" fmla="*/ 13820 h 2164168"/>
                  <a:gd name="connsiteX0" fmla="*/ 12975 w 2167932"/>
                  <a:gd name="connsiteY0" fmla="*/ 13820 h 2164168"/>
                  <a:gd name="connsiteX1" fmla="*/ 400034 w 2167932"/>
                  <a:gd name="connsiteY1" fmla="*/ 8999 h 2164168"/>
                  <a:gd name="connsiteX2" fmla="*/ 1069735 w 2167932"/>
                  <a:gd name="connsiteY2" fmla="*/ 487345 h 2164168"/>
                  <a:gd name="connsiteX3" fmla="*/ 1786094 w 2167932"/>
                  <a:gd name="connsiteY3" fmla="*/ 0 h 2164168"/>
                  <a:gd name="connsiteX4" fmla="*/ 2165964 w 2167932"/>
                  <a:gd name="connsiteY4" fmla="*/ 6699 h 2164168"/>
                  <a:gd name="connsiteX5" fmla="*/ 2167932 w 2167932"/>
                  <a:gd name="connsiteY5" fmla="*/ 437104 h 2164168"/>
                  <a:gd name="connsiteX6" fmla="*/ 1782617 w 2167932"/>
                  <a:gd name="connsiteY6" fmla="*/ 1160201 h 2164168"/>
                  <a:gd name="connsiteX7" fmla="*/ 2152859 w 2167932"/>
                  <a:gd name="connsiteY7" fmla="*/ 1748413 h 2164168"/>
                  <a:gd name="connsiteX8" fmla="*/ 2161989 w 2167932"/>
                  <a:gd name="connsiteY8" fmla="*/ 2164168 h 2164168"/>
                  <a:gd name="connsiteX9" fmla="*/ 0 w 2167932"/>
                  <a:gd name="connsiteY9" fmla="*/ 2162070 h 2164168"/>
                  <a:gd name="connsiteX10" fmla="*/ 12975 w 2167932"/>
                  <a:gd name="connsiteY10" fmla="*/ 13820 h 2164168"/>
                  <a:gd name="connsiteX0" fmla="*/ 12975 w 2167932"/>
                  <a:gd name="connsiteY0" fmla="*/ 13820 h 2164168"/>
                  <a:gd name="connsiteX1" fmla="*/ 400034 w 2167932"/>
                  <a:gd name="connsiteY1" fmla="*/ 8999 h 2164168"/>
                  <a:gd name="connsiteX2" fmla="*/ 1069735 w 2167932"/>
                  <a:gd name="connsiteY2" fmla="*/ 487345 h 2164168"/>
                  <a:gd name="connsiteX3" fmla="*/ 1786094 w 2167932"/>
                  <a:gd name="connsiteY3" fmla="*/ 0 h 2164168"/>
                  <a:gd name="connsiteX4" fmla="*/ 2165964 w 2167932"/>
                  <a:gd name="connsiteY4" fmla="*/ 6699 h 2164168"/>
                  <a:gd name="connsiteX5" fmla="*/ 2167932 w 2167932"/>
                  <a:gd name="connsiteY5" fmla="*/ 437104 h 2164168"/>
                  <a:gd name="connsiteX6" fmla="*/ 1840451 w 2167932"/>
                  <a:gd name="connsiteY6" fmla="*/ 1111809 h 2164168"/>
                  <a:gd name="connsiteX7" fmla="*/ 2152859 w 2167932"/>
                  <a:gd name="connsiteY7" fmla="*/ 1748413 h 2164168"/>
                  <a:gd name="connsiteX8" fmla="*/ 2161989 w 2167932"/>
                  <a:gd name="connsiteY8" fmla="*/ 2164168 h 2164168"/>
                  <a:gd name="connsiteX9" fmla="*/ 0 w 2167932"/>
                  <a:gd name="connsiteY9" fmla="*/ 2162070 h 2164168"/>
                  <a:gd name="connsiteX10" fmla="*/ 12975 w 2167932"/>
                  <a:gd name="connsiteY10" fmla="*/ 13820 h 2164168"/>
                  <a:gd name="connsiteX0" fmla="*/ 12975 w 2167932"/>
                  <a:gd name="connsiteY0" fmla="*/ 13820 h 2164168"/>
                  <a:gd name="connsiteX1" fmla="*/ 400034 w 2167932"/>
                  <a:gd name="connsiteY1" fmla="*/ 8999 h 2164168"/>
                  <a:gd name="connsiteX2" fmla="*/ 1069735 w 2167932"/>
                  <a:gd name="connsiteY2" fmla="*/ 487345 h 2164168"/>
                  <a:gd name="connsiteX3" fmla="*/ 1786094 w 2167932"/>
                  <a:gd name="connsiteY3" fmla="*/ 0 h 2164168"/>
                  <a:gd name="connsiteX4" fmla="*/ 2165964 w 2167932"/>
                  <a:gd name="connsiteY4" fmla="*/ 6699 h 2164168"/>
                  <a:gd name="connsiteX5" fmla="*/ 2167932 w 2167932"/>
                  <a:gd name="connsiteY5" fmla="*/ 437104 h 2164168"/>
                  <a:gd name="connsiteX6" fmla="*/ 1883826 w 2167932"/>
                  <a:gd name="connsiteY6" fmla="*/ 1103743 h 2164168"/>
                  <a:gd name="connsiteX7" fmla="*/ 2152859 w 2167932"/>
                  <a:gd name="connsiteY7" fmla="*/ 1748413 h 2164168"/>
                  <a:gd name="connsiteX8" fmla="*/ 2161989 w 2167932"/>
                  <a:gd name="connsiteY8" fmla="*/ 2164168 h 2164168"/>
                  <a:gd name="connsiteX9" fmla="*/ 0 w 2167932"/>
                  <a:gd name="connsiteY9" fmla="*/ 2162070 h 2164168"/>
                  <a:gd name="connsiteX10" fmla="*/ 12975 w 2167932"/>
                  <a:gd name="connsiteY10" fmla="*/ 13820 h 216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7932" h="2164168">
                    <a:moveTo>
                      <a:pt x="12975" y="13820"/>
                    </a:moveTo>
                    <a:lnTo>
                      <a:pt x="400034" y="8999"/>
                    </a:lnTo>
                    <a:lnTo>
                      <a:pt x="1069735" y="487345"/>
                    </a:lnTo>
                    <a:lnTo>
                      <a:pt x="1786094" y="0"/>
                    </a:lnTo>
                    <a:lnTo>
                      <a:pt x="2165964" y="6699"/>
                    </a:lnTo>
                    <a:lnTo>
                      <a:pt x="2167932" y="437104"/>
                    </a:lnTo>
                    <a:lnTo>
                      <a:pt x="1883826" y="1103743"/>
                    </a:lnTo>
                    <a:lnTo>
                      <a:pt x="2152859" y="1748413"/>
                    </a:lnTo>
                    <a:cubicBezTo>
                      <a:pt x="2153252" y="1888323"/>
                      <a:pt x="2161596" y="2024258"/>
                      <a:pt x="2161989" y="2164168"/>
                    </a:cubicBezTo>
                    <a:lnTo>
                      <a:pt x="0" y="2162070"/>
                    </a:lnTo>
                    <a:cubicBezTo>
                      <a:pt x="1675" y="1448637"/>
                      <a:pt x="11300" y="727253"/>
                      <a:pt x="12975" y="13820"/>
                    </a:cubicBezTo>
                    <a:close/>
                  </a:path>
                </a:pathLst>
              </a:custGeom>
              <a:solidFill>
                <a:schemeClr val="accent5"/>
              </a:solidFill>
              <a:ln>
                <a:noFill/>
              </a:ln>
              <a:effectLst/>
              <a:scene3d>
                <a:camera prst="orthographicFront"/>
                <a:lightRig rig="threePt" dir="t"/>
              </a:scene3d>
              <a:sp3d prstMaterial="plastic"/>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Univers for KPMG" panose="020B0603020202020204" pitchFamily="34" charset="0"/>
                </a:endParaRPr>
              </a:p>
            </p:txBody>
          </p:sp>
          <p:sp>
            <p:nvSpPr>
              <p:cNvPr id="6" name="Freeform 143"/>
              <p:cNvSpPr/>
              <p:nvPr/>
            </p:nvSpPr>
            <p:spPr>
              <a:xfrm>
                <a:off x="612488" y="4800600"/>
                <a:ext cx="2545216" cy="1132583"/>
              </a:xfrm>
              <a:custGeom>
                <a:avLst/>
                <a:gdLst>
                  <a:gd name="connsiteX0" fmla="*/ 7617 w 2545216"/>
                  <a:gd name="connsiteY0" fmla="*/ 0 h 1132583"/>
                  <a:gd name="connsiteX1" fmla="*/ 2224222 w 2545216"/>
                  <a:gd name="connsiteY1" fmla="*/ 0 h 1132583"/>
                  <a:gd name="connsiteX2" fmla="*/ 2217746 w 2545216"/>
                  <a:gd name="connsiteY2" fmla="*/ 13620 h 1132583"/>
                  <a:gd name="connsiteX3" fmla="*/ 2534467 w 2545216"/>
                  <a:gd name="connsiteY3" fmla="*/ 693877 h 1132583"/>
                  <a:gd name="connsiteX4" fmla="*/ 2545216 w 2545216"/>
                  <a:gd name="connsiteY4" fmla="*/ 1132583 h 1132583"/>
                  <a:gd name="connsiteX5" fmla="*/ 0 w 2545216"/>
                  <a:gd name="connsiteY5" fmla="*/ 1130369 h 1132583"/>
                  <a:gd name="connsiteX6" fmla="*/ 7617 w 2545216"/>
                  <a:gd name="connsiteY6" fmla="*/ 0 h 1132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5216" h="1132583">
                    <a:moveTo>
                      <a:pt x="7617" y="0"/>
                    </a:moveTo>
                    <a:lnTo>
                      <a:pt x="2224222" y="0"/>
                    </a:lnTo>
                    <a:lnTo>
                      <a:pt x="2217746" y="13620"/>
                    </a:lnTo>
                    <a:lnTo>
                      <a:pt x="2534467" y="693877"/>
                    </a:lnTo>
                    <a:cubicBezTo>
                      <a:pt x="2534930" y="841511"/>
                      <a:pt x="2544753" y="984950"/>
                      <a:pt x="2545216" y="1132583"/>
                    </a:cubicBezTo>
                    <a:lnTo>
                      <a:pt x="0" y="1130369"/>
                    </a:lnTo>
                    <a:lnTo>
                      <a:pt x="7617" y="0"/>
                    </a:lnTo>
                    <a:close/>
                  </a:path>
                </a:pathLst>
              </a:cu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Univers for KPMG" panose="020B0603020202020204" pitchFamily="34" charset="0"/>
                </a:endParaRPr>
              </a:p>
            </p:txBody>
          </p:sp>
        </p:grpSp>
        <p:grpSp>
          <p:nvGrpSpPr>
            <p:cNvPr id="7" name="Group 13"/>
            <p:cNvGrpSpPr/>
            <p:nvPr/>
          </p:nvGrpSpPr>
          <p:grpSpPr>
            <a:xfrm>
              <a:off x="4486071" y="3640028"/>
              <a:ext cx="2895352" cy="2297842"/>
              <a:chOff x="2962071" y="3640028"/>
              <a:chExt cx="2895352" cy="2297842"/>
            </a:xfrm>
          </p:grpSpPr>
          <p:sp>
            <p:nvSpPr>
              <p:cNvPr id="8" name="Rectangle 5"/>
              <p:cNvSpPr/>
              <p:nvPr/>
            </p:nvSpPr>
            <p:spPr>
              <a:xfrm>
                <a:off x="2962071" y="3640028"/>
                <a:ext cx="2895352" cy="2297842"/>
              </a:xfrm>
              <a:custGeom>
                <a:avLst/>
                <a:gdLst>
                  <a:gd name="connsiteX0" fmla="*/ 0 w 2286000"/>
                  <a:gd name="connsiteY0" fmla="*/ 0 h 838200"/>
                  <a:gd name="connsiteX1" fmla="*/ 2286000 w 2286000"/>
                  <a:gd name="connsiteY1" fmla="*/ 0 h 838200"/>
                  <a:gd name="connsiteX2" fmla="*/ 2286000 w 2286000"/>
                  <a:gd name="connsiteY2" fmla="*/ 838200 h 838200"/>
                  <a:gd name="connsiteX3" fmla="*/ 0 w 2286000"/>
                  <a:gd name="connsiteY3" fmla="*/ 838200 h 838200"/>
                  <a:gd name="connsiteX4" fmla="*/ 0 w 2286000"/>
                  <a:gd name="connsiteY4" fmla="*/ 0 h 838200"/>
                  <a:gd name="connsiteX0" fmla="*/ 78922 w 2286000"/>
                  <a:gd name="connsiteY0" fmla="*/ 24493 h 838200"/>
                  <a:gd name="connsiteX1" fmla="*/ 2286000 w 2286000"/>
                  <a:gd name="connsiteY1" fmla="*/ 0 h 838200"/>
                  <a:gd name="connsiteX2" fmla="*/ 2286000 w 2286000"/>
                  <a:gd name="connsiteY2" fmla="*/ 838200 h 838200"/>
                  <a:gd name="connsiteX3" fmla="*/ 0 w 2286000"/>
                  <a:gd name="connsiteY3" fmla="*/ 838200 h 838200"/>
                  <a:gd name="connsiteX4" fmla="*/ 78922 w 2286000"/>
                  <a:gd name="connsiteY4" fmla="*/ 24493 h 838200"/>
                  <a:gd name="connsiteX0" fmla="*/ 2722 w 2209800"/>
                  <a:gd name="connsiteY0" fmla="*/ 24493 h 838200"/>
                  <a:gd name="connsiteX1" fmla="*/ 2209800 w 2209800"/>
                  <a:gd name="connsiteY1" fmla="*/ 0 h 838200"/>
                  <a:gd name="connsiteX2" fmla="*/ 2209800 w 2209800"/>
                  <a:gd name="connsiteY2" fmla="*/ 838200 h 838200"/>
                  <a:gd name="connsiteX3" fmla="*/ 0 w 2209800"/>
                  <a:gd name="connsiteY3" fmla="*/ 419100 h 838200"/>
                  <a:gd name="connsiteX4" fmla="*/ 2722 w 2209800"/>
                  <a:gd name="connsiteY4" fmla="*/ 24493 h 838200"/>
                  <a:gd name="connsiteX0" fmla="*/ 2722 w 2209800"/>
                  <a:gd name="connsiteY0" fmla="*/ 24493 h 838200"/>
                  <a:gd name="connsiteX1" fmla="*/ 2209800 w 2209800"/>
                  <a:gd name="connsiteY1" fmla="*/ 0 h 838200"/>
                  <a:gd name="connsiteX2" fmla="*/ 2209800 w 2209800"/>
                  <a:gd name="connsiteY2" fmla="*/ 838200 h 838200"/>
                  <a:gd name="connsiteX3" fmla="*/ 557893 w 2209800"/>
                  <a:gd name="connsiteY3" fmla="*/ 517071 h 838200"/>
                  <a:gd name="connsiteX4" fmla="*/ 0 w 2209800"/>
                  <a:gd name="connsiteY4" fmla="*/ 419100 h 838200"/>
                  <a:gd name="connsiteX5" fmla="*/ 2722 w 2209800"/>
                  <a:gd name="connsiteY5" fmla="*/ 24493 h 838200"/>
                  <a:gd name="connsiteX0" fmla="*/ 2722 w 2209800"/>
                  <a:gd name="connsiteY0" fmla="*/ 24493 h 1088571"/>
                  <a:gd name="connsiteX1" fmla="*/ 2209800 w 2209800"/>
                  <a:gd name="connsiteY1" fmla="*/ 0 h 1088571"/>
                  <a:gd name="connsiteX2" fmla="*/ 2209800 w 2209800"/>
                  <a:gd name="connsiteY2" fmla="*/ 838200 h 1088571"/>
                  <a:gd name="connsiteX3" fmla="*/ 478972 w 2209800"/>
                  <a:gd name="connsiteY3" fmla="*/ 1088571 h 1088571"/>
                  <a:gd name="connsiteX4" fmla="*/ 0 w 2209800"/>
                  <a:gd name="connsiteY4" fmla="*/ 419100 h 1088571"/>
                  <a:gd name="connsiteX5" fmla="*/ 2722 w 2209800"/>
                  <a:gd name="connsiteY5" fmla="*/ 24493 h 1088571"/>
                  <a:gd name="connsiteX0" fmla="*/ 2722 w 2209800"/>
                  <a:gd name="connsiteY0" fmla="*/ 24493 h 1088571"/>
                  <a:gd name="connsiteX1" fmla="*/ 2209800 w 2209800"/>
                  <a:gd name="connsiteY1" fmla="*/ 0 h 1088571"/>
                  <a:gd name="connsiteX2" fmla="*/ 2209800 w 2209800"/>
                  <a:gd name="connsiteY2" fmla="*/ 838200 h 1088571"/>
                  <a:gd name="connsiteX3" fmla="*/ 998764 w 2209800"/>
                  <a:gd name="connsiteY3" fmla="*/ 1009650 h 1088571"/>
                  <a:gd name="connsiteX4" fmla="*/ 478972 w 2209800"/>
                  <a:gd name="connsiteY4" fmla="*/ 1088571 h 1088571"/>
                  <a:gd name="connsiteX5" fmla="*/ 0 w 2209800"/>
                  <a:gd name="connsiteY5" fmla="*/ 419100 h 1088571"/>
                  <a:gd name="connsiteX6" fmla="*/ 2722 w 2209800"/>
                  <a:gd name="connsiteY6" fmla="*/ 24493 h 1088571"/>
                  <a:gd name="connsiteX0" fmla="*/ 2722 w 2209800"/>
                  <a:gd name="connsiteY0" fmla="*/ 24493 h 1779814"/>
                  <a:gd name="connsiteX1" fmla="*/ 2209800 w 2209800"/>
                  <a:gd name="connsiteY1" fmla="*/ 0 h 1779814"/>
                  <a:gd name="connsiteX2" fmla="*/ 2209800 w 2209800"/>
                  <a:gd name="connsiteY2" fmla="*/ 838200 h 1779814"/>
                  <a:gd name="connsiteX3" fmla="*/ 2721 w 2209800"/>
                  <a:gd name="connsiteY3" fmla="*/ 1779814 h 1779814"/>
                  <a:gd name="connsiteX4" fmla="*/ 478972 w 2209800"/>
                  <a:gd name="connsiteY4" fmla="*/ 1088571 h 1779814"/>
                  <a:gd name="connsiteX5" fmla="*/ 0 w 2209800"/>
                  <a:gd name="connsiteY5" fmla="*/ 419100 h 1779814"/>
                  <a:gd name="connsiteX6" fmla="*/ 2722 w 2209800"/>
                  <a:gd name="connsiteY6" fmla="*/ 24493 h 1779814"/>
                  <a:gd name="connsiteX0" fmla="*/ 2722 w 2209800"/>
                  <a:gd name="connsiteY0" fmla="*/ 24493 h 1779814"/>
                  <a:gd name="connsiteX1" fmla="*/ 2209800 w 2209800"/>
                  <a:gd name="connsiteY1" fmla="*/ 0 h 1779814"/>
                  <a:gd name="connsiteX2" fmla="*/ 2209800 w 2209800"/>
                  <a:gd name="connsiteY2" fmla="*/ 838200 h 1779814"/>
                  <a:gd name="connsiteX3" fmla="*/ 413657 w 2209800"/>
                  <a:gd name="connsiteY3" fmla="*/ 1605642 h 1779814"/>
                  <a:gd name="connsiteX4" fmla="*/ 2721 w 2209800"/>
                  <a:gd name="connsiteY4" fmla="*/ 1779814 h 1779814"/>
                  <a:gd name="connsiteX5" fmla="*/ 478972 w 2209800"/>
                  <a:gd name="connsiteY5" fmla="*/ 1088571 h 1779814"/>
                  <a:gd name="connsiteX6" fmla="*/ 0 w 2209800"/>
                  <a:gd name="connsiteY6" fmla="*/ 419100 h 1779814"/>
                  <a:gd name="connsiteX7" fmla="*/ 2722 w 2209800"/>
                  <a:gd name="connsiteY7" fmla="*/ 24493 h 1779814"/>
                  <a:gd name="connsiteX0" fmla="*/ 2722 w 2209800"/>
                  <a:gd name="connsiteY0" fmla="*/ 24493 h 2177142"/>
                  <a:gd name="connsiteX1" fmla="*/ 2209800 w 2209800"/>
                  <a:gd name="connsiteY1" fmla="*/ 0 h 2177142"/>
                  <a:gd name="connsiteX2" fmla="*/ 2209800 w 2209800"/>
                  <a:gd name="connsiteY2" fmla="*/ 838200 h 2177142"/>
                  <a:gd name="connsiteX3" fmla="*/ 2721 w 2209800"/>
                  <a:gd name="connsiteY3" fmla="*/ 2177142 h 2177142"/>
                  <a:gd name="connsiteX4" fmla="*/ 2721 w 2209800"/>
                  <a:gd name="connsiteY4" fmla="*/ 1779814 h 2177142"/>
                  <a:gd name="connsiteX5" fmla="*/ 478972 w 2209800"/>
                  <a:gd name="connsiteY5" fmla="*/ 1088571 h 2177142"/>
                  <a:gd name="connsiteX6" fmla="*/ 0 w 2209800"/>
                  <a:gd name="connsiteY6" fmla="*/ 419100 h 2177142"/>
                  <a:gd name="connsiteX7" fmla="*/ 2722 w 2209800"/>
                  <a:gd name="connsiteY7" fmla="*/ 24493 h 2177142"/>
                  <a:gd name="connsiteX0" fmla="*/ 2722 w 2209800"/>
                  <a:gd name="connsiteY0" fmla="*/ 1 h 2152650"/>
                  <a:gd name="connsiteX1" fmla="*/ 2155371 w 2209800"/>
                  <a:gd name="connsiteY1" fmla="*/ 0 h 2152650"/>
                  <a:gd name="connsiteX2" fmla="*/ 2209800 w 2209800"/>
                  <a:gd name="connsiteY2" fmla="*/ 813708 h 2152650"/>
                  <a:gd name="connsiteX3" fmla="*/ 2721 w 2209800"/>
                  <a:gd name="connsiteY3" fmla="*/ 2152650 h 2152650"/>
                  <a:gd name="connsiteX4" fmla="*/ 2721 w 2209800"/>
                  <a:gd name="connsiteY4" fmla="*/ 1755322 h 2152650"/>
                  <a:gd name="connsiteX5" fmla="*/ 478972 w 2209800"/>
                  <a:gd name="connsiteY5" fmla="*/ 1064079 h 2152650"/>
                  <a:gd name="connsiteX6" fmla="*/ 0 w 2209800"/>
                  <a:gd name="connsiteY6" fmla="*/ 394608 h 2152650"/>
                  <a:gd name="connsiteX7" fmla="*/ 2722 w 2209800"/>
                  <a:gd name="connsiteY7" fmla="*/ 1 h 2152650"/>
                  <a:gd name="connsiteX0" fmla="*/ 2722 w 2160814"/>
                  <a:gd name="connsiteY0" fmla="*/ 1 h 2152650"/>
                  <a:gd name="connsiteX1" fmla="*/ 2155371 w 2160814"/>
                  <a:gd name="connsiteY1" fmla="*/ 0 h 2152650"/>
                  <a:gd name="connsiteX2" fmla="*/ 2160814 w 2160814"/>
                  <a:gd name="connsiteY2" fmla="*/ 410936 h 2152650"/>
                  <a:gd name="connsiteX3" fmla="*/ 2721 w 2160814"/>
                  <a:gd name="connsiteY3" fmla="*/ 2152650 h 2152650"/>
                  <a:gd name="connsiteX4" fmla="*/ 2721 w 2160814"/>
                  <a:gd name="connsiteY4" fmla="*/ 1755322 h 2152650"/>
                  <a:gd name="connsiteX5" fmla="*/ 478972 w 2160814"/>
                  <a:gd name="connsiteY5" fmla="*/ 1064079 h 2152650"/>
                  <a:gd name="connsiteX6" fmla="*/ 0 w 2160814"/>
                  <a:gd name="connsiteY6" fmla="*/ 394608 h 2152650"/>
                  <a:gd name="connsiteX7" fmla="*/ 2722 w 2160814"/>
                  <a:gd name="connsiteY7" fmla="*/ 1 h 2152650"/>
                  <a:gd name="connsiteX0" fmla="*/ 2722 w 2160814"/>
                  <a:gd name="connsiteY0" fmla="*/ 1 h 2152650"/>
                  <a:gd name="connsiteX1" fmla="*/ 2155371 w 2160814"/>
                  <a:gd name="connsiteY1" fmla="*/ 0 h 2152650"/>
                  <a:gd name="connsiteX2" fmla="*/ 2160814 w 2160814"/>
                  <a:gd name="connsiteY2" fmla="*/ 410936 h 2152650"/>
                  <a:gd name="connsiteX3" fmla="*/ 1845129 w 2160814"/>
                  <a:gd name="connsiteY3" fmla="*/ 664028 h 2152650"/>
                  <a:gd name="connsiteX4" fmla="*/ 2721 w 2160814"/>
                  <a:gd name="connsiteY4" fmla="*/ 2152650 h 2152650"/>
                  <a:gd name="connsiteX5" fmla="*/ 2721 w 2160814"/>
                  <a:gd name="connsiteY5" fmla="*/ 1755322 h 2152650"/>
                  <a:gd name="connsiteX6" fmla="*/ 478972 w 2160814"/>
                  <a:gd name="connsiteY6" fmla="*/ 1064079 h 2152650"/>
                  <a:gd name="connsiteX7" fmla="*/ 0 w 2160814"/>
                  <a:gd name="connsiteY7" fmla="*/ 394608 h 2152650"/>
                  <a:gd name="connsiteX8" fmla="*/ 2722 w 2160814"/>
                  <a:gd name="connsiteY8" fmla="*/ 1 h 2152650"/>
                  <a:gd name="connsiteX0" fmla="*/ 2722 w 2160814"/>
                  <a:gd name="connsiteY0" fmla="*/ 1 h 2152650"/>
                  <a:gd name="connsiteX1" fmla="*/ 2155371 w 2160814"/>
                  <a:gd name="connsiteY1" fmla="*/ 0 h 2152650"/>
                  <a:gd name="connsiteX2" fmla="*/ 2160814 w 2160814"/>
                  <a:gd name="connsiteY2" fmla="*/ 410936 h 2152650"/>
                  <a:gd name="connsiteX3" fmla="*/ 1684565 w 2160814"/>
                  <a:gd name="connsiteY3" fmla="*/ 1061357 h 2152650"/>
                  <a:gd name="connsiteX4" fmla="*/ 2721 w 2160814"/>
                  <a:gd name="connsiteY4" fmla="*/ 2152650 h 2152650"/>
                  <a:gd name="connsiteX5" fmla="*/ 2721 w 2160814"/>
                  <a:gd name="connsiteY5" fmla="*/ 1755322 h 2152650"/>
                  <a:gd name="connsiteX6" fmla="*/ 478972 w 2160814"/>
                  <a:gd name="connsiteY6" fmla="*/ 1064079 h 2152650"/>
                  <a:gd name="connsiteX7" fmla="*/ 0 w 2160814"/>
                  <a:gd name="connsiteY7" fmla="*/ 394608 h 2152650"/>
                  <a:gd name="connsiteX8" fmla="*/ 2722 w 2160814"/>
                  <a:gd name="connsiteY8" fmla="*/ 1 h 2152650"/>
                  <a:gd name="connsiteX0" fmla="*/ 2722 w 2160814"/>
                  <a:gd name="connsiteY0" fmla="*/ 1 h 2152650"/>
                  <a:gd name="connsiteX1" fmla="*/ 2155371 w 2160814"/>
                  <a:gd name="connsiteY1" fmla="*/ 0 h 2152650"/>
                  <a:gd name="connsiteX2" fmla="*/ 2160814 w 2160814"/>
                  <a:gd name="connsiteY2" fmla="*/ 410936 h 2152650"/>
                  <a:gd name="connsiteX3" fmla="*/ 1684565 w 2160814"/>
                  <a:gd name="connsiteY3" fmla="*/ 1061357 h 2152650"/>
                  <a:gd name="connsiteX4" fmla="*/ 383721 w 2160814"/>
                  <a:gd name="connsiteY4" fmla="*/ 1899557 h 2152650"/>
                  <a:gd name="connsiteX5" fmla="*/ 2721 w 2160814"/>
                  <a:gd name="connsiteY5" fmla="*/ 2152650 h 2152650"/>
                  <a:gd name="connsiteX6" fmla="*/ 2721 w 2160814"/>
                  <a:gd name="connsiteY6" fmla="*/ 1755322 h 2152650"/>
                  <a:gd name="connsiteX7" fmla="*/ 478972 w 2160814"/>
                  <a:gd name="connsiteY7" fmla="*/ 1064079 h 2152650"/>
                  <a:gd name="connsiteX8" fmla="*/ 0 w 2160814"/>
                  <a:gd name="connsiteY8" fmla="*/ 394608 h 2152650"/>
                  <a:gd name="connsiteX9" fmla="*/ 2722 w 2160814"/>
                  <a:gd name="connsiteY9" fmla="*/ 1 h 2152650"/>
                  <a:gd name="connsiteX0" fmla="*/ 2722 w 2160814"/>
                  <a:gd name="connsiteY0" fmla="*/ 1 h 2152650"/>
                  <a:gd name="connsiteX1" fmla="*/ 2155371 w 2160814"/>
                  <a:gd name="connsiteY1" fmla="*/ 0 h 2152650"/>
                  <a:gd name="connsiteX2" fmla="*/ 2160814 w 2160814"/>
                  <a:gd name="connsiteY2" fmla="*/ 410936 h 2152650"/>
                  <a:gd name="connsiteX3" fmla="*/ 1684565 w 2160814"/>
                  <a:gd name="connsiteY3" fmla="*/ 1061357 h 2152650"/>
                  <a:gd name="connsiteX4" fmla="*/ 429986 w 2160814"/>
                  <a:gd name="connsiteY4" fmla="*/ 2152650 h 2152650"/>
                  <a:gd name="connsiteX5" fmla="*/ 2721 w 2160814"/>
                  <a:gd name="connsiteY5" fmla="*/ 2152650 h 2152650"/>
                  <a:gd name="connsiteX6" fmla="*/ 2721 w 2160814"/>
                  <a:gd name="connsiteY6" fmla="*/ 1755322 h 2152650"/>
                  <a:gd name="connsiteX7" fmla="*/ 478972 w 2160814"/>
                  <a:gd name="connsiteY7" fmla="*/ 1064079 h 2152650"/>
                  <a:gd name="connsiteX8" fmla="*/ 0 w 2160814"/>
                  <a:gd name="connsiteY8" fmla="*/ 394608 h 2152650"/>
                  <a:gd name="connsiteX9" fmla="*/ 2722 w 2160814"/>
                  <a:gd name="connsiteY9" fmla="*/ 1 h 2152650"/>
                  <a:gd name="connsiteX0" fmla="*/ 2722 w 2160814"/>
                  <a:gd name="connsiteY0" fmla="*/ 1 h 2152650"/>
                  <a:gd name="connsiteX1" fmla="*/ 2155371 w 2160814"/>
                  <a:gd name="connsiteY1" fmla="*/ 0 h 2152650"/>
                  <a:gd name="connsiteX2" fmla="*/ 2160814 w 2160814"/>
                  <a:gd name="connsiteY2" fmla="*/ 410936 h 2152650"/>
                  <a:gd name="connsiteX3" fmla="*/ 1684565 w 2160814"/>
                  <a:gd name="connsiteY3" fmla="*/ 1061357 h 2152650"/>
                  <a:gd name="connsiteX4" fmla="*/ 745671 w 2160814"/>
                  <a:gd name="connsiteY4" fmla="*/ 1872343 h 2152650"/>
                  <a:gd name="connsiteX5" fmla="*/ 429986 w 2160814"/>
                  <a:gd name="connsiteY5" fmla="*/ 2152650 h 2152650"/>
                  <a:gd name="connsiteX6" fmla="*/ 2721 w 2160814"/>
                  <a:gd name="connsiteY6" fmla="*/ 2152650 h 2152650"/>
                  <a:gd name="connsiteX7" fmla="*/ 2721 w 2160814"/>
                  <a:gd name="connsiteY7" fmla="*/ 1755322 h 2152650"/>
                  <a:gd name="connsiteX8" fmla="*/ 478972 w 2160814"/>
                  <a:gd name="connsiteY8" fmla="*/ 1064079 h 2152650"/>
                  <a:gd name="connsiteX9" fmla="*/ 0 w 2160814"/>
                  <a:gd name="connsiteY9" fmla="*/ 394608 h 2152650"/>
                  <a:gd name="connsiteX10" fmla="*/ 2722 w 2160814"/>
                  <a:gd name="connsiteY10" fmla="*/ 1 h 2152650"/>
                  <a:gd name="connsiteX0" fmla="*/ 2722 w 2160814"/>
                  <a:gd name="connsiteY0" fmla="*/ 1 h 2604407"/>
                  <a:gd name="connsiteX1" fmla="*/ 2155371 w 2160814"/>
                  <a:gd name="connsiteY1" fmla="*/ 0 h 2604407"/>
                  <a:gd name="connsiteX2" fmla="*/ 2160814 w 2160814"/>
                  <a:gd name="connsiteY2" fmla="*/ 410936 h 2604407"/>
                  <a:gd name="connsiteX3" fmla="*/ 1684565 w 2160814"/>
                  <a:gd name="connsiteY3" fmla="*/ 1061357 h 2604407"/>
                  <a:gd name="connsiteX4" fmla="*/ 1074964 w 2160814"/>
                  <a:gd name="connsiteY4" fmla="*/ 2604407 h 2604407"/>
                  <a:gd name="connsiteX5" fmla="*/ 429986 w 2160814"/>
                  <a:gd name="connsiteY5" fmla="*/ 2152650 h 2604407"/>
                  <a:gd name="connsiteX6" fmla="*/ 2721 w 2160814"/>
                  <a:gd name="connsiteY6" fmla="*/ 2152650 h 2604407"/>
                  <a:gd name="connsiteX7" fmla="*/ 2721 w 2160814"/>
                  <a:gd name="connsiteY7" fmla="*/ 1755322 h 2604407"/>
                  <a:gd name="connsiteX8" fmla="*/ 478972 w 2160814"/>
                  <a:gd name="connsiteY8" fmla="*/ 1064079 h 2604407"/>
                  <a:gd name="connsiteX9" fmla="*/ 0 w 2160814"/>
                  <a:gd name="connsiteY9" fmla="*/ 394608 h 2604407"/>
                  <a:gd name="connsiteX10" fmla="*/ 2722 w 2160814"/>
                  <a:gd name="connsiteY10" fmla="*/ 1 h 2604407"/>
                  <a:gd name="connsiteX0" fmla="*/ 2722 w 2160814"/>
                  <a:gd name="connsiteY0" fmla="*/ 1 h 2604407"/>
                  <a:gd name="connsiteX1" fmla="*/ 2155371 w 2160814"/>
                  <a:gd name="connsiteY1" fmla="*/ 0 h 2604407"/>
                  <a:gd name="connsiteX2" fmla="*/ 2160814 w 2160814"/>
                  <a:gd name="connsiteY2" fmla="*/ 410936 h 2604407"/>
                  <a:gd name="connsiteX3" fmla="*/ 1684565 w 2160814"/>
                  <a:gd name="connsiteY3" fmla="*/ 1061357 h 2604407"/>
                  <a:gd name="connsiteX4" fmla="*/ 1303564 w 2160814"/>
                  <a:gd name="connsiteY4" fmla="*/ 2030186 h 2604407"/>
                  <a:gd name="connsiteX5" fmla="*/ 1074964 w 2160814"/>
                  <a:gd name="connsiteY5" fmla="*/ 2604407 h 2604407"/>
                  <a:gd name="connsiteX6" fmla="*/ 429986 w 2160814"/>
                  <a:gd name="connsiteY6" fmla="*/ 2152650 h 2604407"/>
                  <a:gd name="connsiteX7" fmla="*/ 2721 w 2160814"/>
                  <a:gd name="connsiteY7" fmla="*/ 2152650 h 2604407"/>
                  <a:gd name="connsiteX8" fmla="*/ 2721 w 2160814"/>
                  <a:gd name="connsiteY8" fmla="*/ 1755322 h 2604407"/>
                  <a:gd name="connsiteX9" fmla="*/ 478972 w 2160814"/>
                  <a:gd name="connsiteY9" fmla="*/ 1064079 h 2604407"/>
                  <a:gd name="connsiteX10" fmla="*/ 0 w 2160814"/>
                  <a:gd name="connsiteY10" fmla="*/ 394608 h 2604407"/>
                  <a:gd name="connsiteX11" fmla="*/ 2722 w 2160814"/>
                  <a:gd name="connsiteY11" fmla="*/ 1 h 2604407"/>
                  <a:gd name="connsiteX0" fmla="*/ 2722 w 2160814"/>
                  <a:gd name="connsiteY0" fmla="*/ 1 h 2604407"/>
                  <a:gd name="connsiteX1" fmla="*/ 2155371 w 2160814"/>
                  <a:gd name="connsiteY1" fmla="*/ 0 h 2604407"/>
                  <a:gd name="connsiteX2" fmla="*/ 2160814 w 2160814"/>
                  <a:gd name="connsiteY2" fmla="*/ 410936 h 2604407"/>
                  <a:gd name="connsiteX3" fmla="*/ 1684565 w 2160814"/>
                  <a:gd name="connsiteY3" fmla="*/ 1061357 h 2604407"/>
                  <a:gd name="connsiteX4" fmla="*/ 1725385 w 2160814"/>
                  <a:gd name="connsiteY4" fmla="*/ 2149929 h 2604407"/>
                  <a:gd name="connsiteX5" fmla="*/ 1074964 w 2160814"/>
                  <a:gd name="connsiteY5" fmla="*/ 2604407 h 2604407"/>
                  <a:gd name="connsiteX6" fmla="*/ 429986 w 2160814"/>
                  <a:gd name="connsiteY6" fmla="*/ 2152650 h 2604407"/>
                  <a:gd name="connsiteX7" fmla="*/ 2721 w 2160814"/>
                  <a:gd name="connsiteY7" fmla="*/ 2152650 h 2604407"/>
                  <a:gd name="connsiteX8" fmla="*/ 2721 w 2160814"/>
                  <a:gd name="connsiteY8" fmla="*/ 1755322 h 2604407"/>
                  <a:gd name="connsiteX9" fmla="*/ 478972 w 2160814"/>
                  <a:gd name="connsiteY9" fmla="*/ 1064079 h 2604407"/>
                  <a:gd name="connsiteX10" fmla="*/ 0 w 2160814"/>
                  <a:gd name="connsiteY10" fmla="*/ 394608 h 2604407"/>
                  <a:gd name="connsiteX11" fmla="*/ 2722 w 2160814"/>
                  <a:gd name="connsiteY11" fmla="*/ 1 h 2604407"/>
                  <a:gd name="connsiteX0" fmla="*/ 121 w 2158213"/>
                  <a:gd name="connsiteY0" fmla="*/ 1 h 2604407"/>
                  <a:gd name="connsiteX1" fmla="*/ 2152770 w 2158213"/>
                  <a:gd name="connsiteY1" fmla="*/ 0 h 2604407"/>
                  <a:gd name="connsiteX2" fmla="*/ 2158213 w 2158213"/>
                  <a:gd name="connsiteY2" fmla="*/ 410936 h 2604407"/>
                  <a:gd name="connsiteX3" fmla="*/ 1681964 w 2158213"/>
                  <a:gd name="connsiteY3" fmla="*/ 1061357 h 2604407"/>
                  <a:gd name="connsiteX4" fmla="*/ 1722784 w 2158213"/>
                  <a:gd name="connsiteY4" fmla="*/ 2149929 h 2604407"/>
                  <a:gd name="connsiteX5" fmla="*/ 1072363 w 2158213"/>
                  <a:gd name="connsiteY5" fmla="*/ 2604407 h 2604407"/>
                  <a:gd name="connsiteX6" fmla="*/ 427385 w 2158213"/>
                  <a:gd name="connsiteY6" fmla="*/ 2152650 h 2604407"/>
                  <a:gd name="connsiteX7" fmla="*/ 120 w 2158213"/>
                  <a:gd name="connsiteY7" fmla="*/ 2152650 h 2604407"/>
                  <a:gd name="connsiteX8" fmla="*/ 120 w 2158213"/>
                  <a:gd name="connsiteY8" fmla="*/ 1755322 h 2604407"/>
                  <a:gd name="connsiteX9" fmla="*/ 476371 w 2158213"/>
                  <a:gd name="connsiteY9" fmla="*/ 1064079 h 2604407"/>
                  <a:gd name="connsiteX10" fmla="*/ 2842 w 2158213"/>
                  <a:gd name="connsiteY10" fmla="*/ 391887 h 2604407"/>
                  <a:gd name="connsiteX11" fmla="*/ 121 w 2158213"/>
                  <a:gd name="connsiteY11" fmla="*/ 1 h 2604407"/>
                  <a:gd name="connsiteX0" fmla="*/ 261 w 2158353"/>
                  <a:gd name="connsiteY0" fmla="*/ 1 h 2604407"/>
                  <a:gd name="connsiteX1" fmla="*/ 2152910 w 2158353"/>
                  <a:gd name="connsiteY1" fmla="*/ 0 h 2604407"/>
                  <a:gd name="connsiteX2" fmla="*/ 2158353 w 2158353"/>
                  <a:gd name="connsiteY2" fmla="*/ 410936 h 2604407"/>
                  <a:gd name="connsiteX3" fmla="*/ 1682104 w 2158353"/>
                  <a:gd name="connsiteY3" fmla="*/ 1061357 h 2604407"/>
                  <a:gd name="connsiteX4" fmla="*/ 1722924 w 2158353"/>
                  <a:gd name="connsiteY4" fmla="*/ 2149929 h 2604407"/>
                  <a:gd name="connsiteX5" fmla="*/ 1072503 w 2158353"/>
                  <a:gd name="connsiteY5" fmla="*/ 2604407 h 2604407"/>
                  <a:gd name="connsiteX6" fmla="*/ 427525 w 2158353"/>
                  <a:gd name="connsiteY6" fmla="*/ 2152650 h 2604407"/>
                  <a:gd name="connsiteX7" fmla="*/ 260 w 2158353"/>
                  <a:gd name="connsiteY7" fmla="*/ 2152650 h 2604407"/>
                  <a:gd name="connsiteX8" fmla="*/ 260 w 2158353"/>
                  <a:gd name="connsiteY8" fmla="*/ 1755322 h 2604407"/>
                  <a:gd name="connsiteX9" fmla="*/ 476511 w 2158353"/>
                  <a:gd name="connsiteY9" fmla="*/ 1064079 h 2604407"/>
                  <a:gd name="connsiteX10" fmla="*/ 260 w 2158353"/>
                  <a:gd name="connsiteY10" fmla="*/ 389166 h 2604407"/>
                  <a:gd name="connsiteX11" fmla="*/ 261 w 2158353"/>
                  <a:gd name="connsiteY11" fmla="*/ 1 h 2604407"/>
                  <a:gd name="connsiteX0" fmla="*/ 261 w 2153151"/>
                  <a:gd name="connsiteY0" fmla="*/ 1 h 2604407"/>
                  <a:gd name="connsiteX1" fmla="*/ 2152910 w 2153151"/>
                  <a:gd name="connsiteY1" fmla="*/ 0 h 2604407"/>
                  <a:gd name="connsiteX2" fmla="*/ 2147468 w 2153151"/>
                  <a:gd name="connsiteY2" fmla="*/ 405493 h 2604407"/>
                  <a:gd name="connsiteX3" fmla="*/ 1682104 w 2153151"/>
                  <a:gd name="connsiteY3" fmla="*/ 1061357 h 2604407"/>
                  <a:gd name="connsiteX4" fmla="*/ 1722924 w 2153151"/>
                  <a:gd name="connsiteY4" fmla="*/ 2149929 h 2604407"/>
                  <a:gd name="connsiteX5" fmla="*/ 1072503 w 2153151"/>
                  <a:gd name="connsiteY5" fmla="*/ 2604407 h 2604407"/>
                  <a:gd name="connsiteX6" fmla="*/ 427525 w 2153151"/>
                  <a:gd name="connsiteY6" fmla="*/ 2152650 h 2604407"/>
                  <a:gd name="connsiteX7" fmla="*/ 260 w 2153151"/>
                  <a:gd name="connsiteY7" fmla="*/ 2152650 h 2604407"/>
                  <a:gd name="connsiteX8" fmla="*/ 260 w 2153151"/>
                  <a:gd name="connsiteY8" fmla="*/ 1755322 h 2604407"/>
                  <a:gd name="connsiteX9" fmla="*/ 476511 w 2153151"/>
                  <a:gd name="connsiteY9" fmla="*/ 1064079 h 2604407"/>
                  <a:gd name="connsiteX10" fmla="*/ 260 w 2153151"/>
                  <a:gd name="connsiteY10" fmla="*/ 389166 h 2604407"/>
                  <a:gd name="connsiteX11" fmla="*/ 261 w 2153151"/>
                  <a:gd name="connsiteY11"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1722924 w 2158509"/>
                  <a:gd name="connsiteY4" fmla="*/ 2149929 h 2604407"/>
                  <a:gd name="connsiteX5" fmla="*/ 1072503 w 2158509"/>
                  <a:gd name="connsiteY5" fmla="*/ 2604407 h 2604407"/>
                  <a:gd name="connsiteX6" fmla="*/ 427525 w 2158509"/>
                  <a:gd name="connsiteY6" fmla="*/ 2152650 h 2604407"/>
                  <a:gd name="connsiteX7" fmla="*/ 260 w 2158509"/>
                  <a:gd name="connsiteY7" fmla="*/ 2152650 h 2604407"/>
                  <a:gd name="connsiteX8" fmla="*/ 260 w 2158509"/>
                  <a:gd name="connsiteY8" fmla="*/ 1755322 h 2604407"/>
                  <a:gd name="connsiteX9" fmla="*/ 476511 w 2158509"/>
                  <a:gd name="connsiteY9" fmla="*/ 1064079 h 2604407"/>
                  <a:gd name="connsiteX10" fmla="*/ 260 w 2158509"/>
                  <a:gd name="connsiteY10" fmla="*/ 389166 h 2604407"/>
                  <a:gd name="connsiteX11" fmla="*/ 261 w 2158509"/>
                  <a:gd name="connsiteY11"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1717481 w 2158509"/>
                  <a:gd name="connsiteY4" fmla="*/ 2136322 h 2604407"/>
                  <a:gd name="connsiteX5" fmla="*/ 1072503 w 2158509"/>
                  <a:gd name="connsiteY5" fmla="*/ 2604407 h 2604407"/>
                  <a:gd name="connsiteX6" fmla="*/ 427525 w 2158509"/>
                  <a:gd name="connsiteY6" fmla="*/ 2152650 h 2604407"/>
                  <a:gd name="connsiteX7" fmla="*/ 260 w 2158509"/>
                  <a:gd name="connsiteY7" fmla="*/ 2152650 h 2604407"/>
                  <a:gd name="connsiteX8" fmla="*/ 260 w 2158509"/>
                  <a:gd name="connsiteY8" fmla="*/ 1755322 h 2604407"/>
                  <a:gd name="connsiteX9" fmla="*/ 476511 w 2158509"/>
                  <a:gd name="connsiteY9" fmla="*/ 1064079 h 2604407"/>
                  <a:gd name="connsiteX10" fmla="*/ 260 w 2158509"/>
                  <a:gd name="connsiteY10" fmla="*/ 389166 h 2604407"/>
                  <a:gd name="connsiteX11" fmla="*/ 261 w 2158509"/>
                  <a:gd name="connsiteY11"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1709318 w 2158509"/>
                  <a:gd name="connsiteY4" fmla="*/ 1760764 h 2604407"/>
                  <a:gd name="connsiteX5" fmla="*/ 1717481 w 2158509"/>
                  <a:gd name="connsiteY5" fmla="*/ 2136322 h 2604407"/>
                  <a:gd name="connsiteX6" fmla="*/ 1072503 w 2158509"/>
                  <a:gd name="connsiteY6" fmla="*/ 2604407 h 2604407"/>
                  <a:gd name="connsiteX7" fmla="*/ 427525 w 2158509"/>
                  <a:gd name="connsiteY7" fmla="*/ 2152650 h 2604407"/>
                  <a:gd name="connsiteX8" fmla="*/ 260 w 2158509"/>
                  <a:gd name="connsiteY8" fmla="*/ 2152650 h 2604407"/>
                  <a:gd name="connsiteX9" fmla="*/ 260 w 2158509"/>
                  <a:gd name="connsiteY9" fmla="*/ 1755322 h 2604407"/>
                  <a:gd name="connsiteX10" fmla="*/ 476511 w 2158509"/>
                  <a:gd name="connsiteY10" fmla="*/ 1064079 h 2604407"/>
                  <a:gd name="connsiteX11" fmla="*/ 260 w 2158509"/>
                  <a:gd name="connsiteY11" fmla="*/ 389166 h 2604407"/>
                  <a:gd name="connsiteX12" fmla="*/ 261 w 2158509"/>
                  <a:gd name="connsiteY12"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1717481 w 2158509"/>
                  <a:gd name="connsiteY5" fmla="*/ 2136322 h 2604407"/>
                  <a:gd name="connsiteX6" fmla="*/ 1072503 w 2158509"/>
                  <a:gd name="connsiteY6" fmla="*/ 2604407 h 2604407"/>
                  <a:gd name="connsiteX7" fmla="*/ 427525 w 2158509"/>
                  <a:gd name="connsiteY7" fmla="*/ 2152650 h 2604407"/>
                  <a:gd name="connsiteX8" fmla="*/ 260 w 2158509"/>
                  <a:gd name="connsiteY8" fmla="*/ 2152650 h 2604407"/>
                  <a:gd name="connsiteX9" fmla="*/ 260 w 2158509"/>
                  <a:gd name="connsiteY9" fmla="*/ 1755322 h 2604407"/>
                  <a:gd name="connsiteX10" fmla="*/ 476511 w 2158509"/>
                  <a:gd name="connsiteY10" fmla="*/ 1064079 h 2604407"/>
                  <a:gd name="connsiteX11" fmla="*/ 260 w 2158509"/>
                  <a:gd name="connsiteY11" fmla="*/ 389166 h 2604407"/>
                  <a:gd name="connsiteX12" fmla="*/ 261 w 2158509"/>
                  <a:gd name="connsiteY12"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1943360 w 2158509"/>
                  <a:gd name="connsiteY5" fmla="*/ 1926771 h 2604407"/>
                  <a:gd name="connsiteX6" fmla="*/ 1717481 w 2158509"/>
                  <a:gd name="connsiteY6" fmla="*/ 2136322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61074"/>
                  <a:gd name="connsiteY0" fmla="*/ 1 h 2604407"/>
                  <a:gd name="connsiteX1" fmla="*/ 2158352 w 2161074"/>
                  <a:gd name="connsiteY1" fmla="*/ 0 h 2604407"/>
                  <a:gd name="connsiteX2" fmla="*/ 2147468 w 2161074"/>
                  <a:gd name="connsiteY2" fmla="*/ 405493 h 2604407"/>
                  <a:gd name="connsiteX3" fmla="*/ 1682104 w 2161074"/>
                  <a:gd name="connsiteY3" fmla="*/ 1061357 h 2604407"/>
                  <a:gd name="connsiteX4" fmla="*/ 2136582 w 2161074"/>
                  <a:gd name="connsiteY4" fmla="*/ 1738993 h 2604407"/>
                  <a:gd name="connsiteX5" fmla="*/ 2161074 w 2161074"/>
                  <a:gd name="connsiteY5" fmla="*/ 2141764 h 2604407"/>
                  <a:gd name="connsiteX6" fmla="*/ 1717481 w 2161074"/>
                  <a:gd name="connsiteY6" fmla="*/ 2136322 h 2604407"/>
                  <a:gd name="connsiteX7" fmla="*/ 1072503 w 2161074"/>
                  <a:gd name="connsiteY7" fmla="*/ 2604407 h 2604407"/>
                  <a:gd name="connsiteX8" fmla="*/ 427525 w 2161074"/>
                  <a:gd name="connsiteY8" fmla="*/ 2152650 h 2604407"/>
                  <a:gd name="connsiteX9" fmla="*/ 260 w 2161074"/>
                  <a:gd name="connsiteY9" fmla="*/ 2152650 h 2604407"/>
                  <a:gd name="connsiteX10" fmla="*/ 260 w 2161074"/>
                  <a:gd name="connsiteY10" fmla="*/ 1755322 h 2604407"/>
                  <a:gd name="connsiteX11" fmla="*/ 476511 w 2161074"/>
                  <a:gd name="connsiteY11" fmla="*/ 1064079 h 2604407"/>
                  <a:gd name="connsiteX12" fmla="*/ 260 w 2161074"/>
                  <a:gd name="connsiteY12" fmla="*/ 389166 h 2604407"/>
                  <a:gd name="connsiteX13" fmla="*/ 261 w 2161074"/>
                  <a:gd name="connsiteY13" fmla="*/ 1 h 2604407"/>
                  <a:gd name="connsiteX0" fmla="*/ 261 w 2161074"/>
                  <a:gd name="connsiteY0" fmla="*/ 1 h 2604407"/>
                  <a:gd name="connsiteX1" fmla="*/ 2158352 w 2161074"/>
                  <a:gd name="connsiteY1" fmla="*/ 0 h 2604407"/>
                  <a:gd name="connsiteX2" fmla="*/ 2147468 w 2161074"/>
                  <a:gd name="connsiteY2" fmla="*/ 405493 h 2604407"/>
                  <a:gd name="connsiteX3" fmla="*/ 1682104 w 2161074"/>
                  <a:gd name="connsiteY3" fmla="*/ 1061357 h 2604407"/>
                  <a:gd name="connsiteX4" fmla="*/ 2136582 w 2161074"/>
                  <a:gd name="connsiteY4" fmla="*/ 1738993 h 2604407"/>
                  <a:gd name="connsiteX5" fmla="*/ 2161074 w 2161074"/>
                  <a:gd name="connsiteY5" fmla="*/ 2141764 h 2604407"/>
                  <a:gd name="connsiteX6" fmla="*/ 1717481 w 2161074"/>
                  <a:gd name="connsiteY6" fmla="*/ 2147207 h 2604407"/>
                  <a:gd name="connsiteX7" fmla="*/ 1072503 w 2161074"/>
                  <a:gd name="connsiteY7" fmla="*/ 2604407 h 2604407"/>
                  <a:gd name="connsiteX8" fmla="*/ 427525 w 2161074"/>
                  <a:gd name="connsiteY8" fmla="*/ 2152650 h 2604407"/>
                  <a:gd name="connsiteX9" fmla="*/ 260 w 2161074"/>
                  <a:gd name="connsiteY9" fmla="*/ 2152650 h 2604407"/>
                  <a:gd name="connsiteX10" fmla="*/ 260 w 2161074"/>
                  <a:gd name="connsiteY10" fmla="*/ 1755322 h 2604407"/>
                  <a:gd name="connsiteX11" fmla="*/ 476511 w 2161074"/>
                  <a:gd name="connsiteY11" fmla="*/ 1064079 h 2604407"/>
                  <a:gd name="connsiteX12" fmla="*/ 260 w 2161074"/>
                  <a:gd name="connsiteY12" fmla="*/ 389166 h 2604407"/>
                  <a:gd name="connsiteX13" fmla="*/ 261 w 2161074"/>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2150188 w 2158509"/>
                  <a:gd name="connsiteY5" fmla="*/ 2133600 h 2604407"/>
                  <a:gd name="connsiteX6" fmla="*/ 1717481 w 2158509"/>
                  <a:gd name="connsiteY6" fmla="*/ 2147207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2150188 w 2158509"/>
                  <a:gd name="connsiteY5" fmla="*/ 2133600 h 2604407"/>
                  <a:gd name="connsiteX6" fmla="*/ 1714760 w 2158509"/>
                  <a:gd name="connsiteY6" fmla="*/ 2141764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2150188 w 2158509"/>
                  <a:gd name="connsiteY5" fmla="*/ 2130879 h 2604407"/>
                  <a:gd name="connsiteX6" fmla="*/ 1714760 w 2158509"/>
                  <a:gd name="connsiteY6" fmla="*/ 2141764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2150188 w 2158509"/>
                  <a:gd name="connsiteY5" fmla="*/ 2130879 h 2604407"/>
                  <a:gd name="connsiteX6" fmla="*/ 1717481 w 2158509"/>
                  <a:gd name="connsiteY6" fmla="*/ 2144485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2136581 w 2158509"/>
                  <a:gd name="connsiteY5" fmla="*/ 2144487 h 2604407"/>
                  <a:gd name="connsiteX6" fmla="*/ 1717481 w 2158509"/>
                  <a:gd name="connsiteY6" fmla="*/ 2144485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42025 w 2158509"/>
                  <a:gd name="connsiteY4" fmla="*/ 1749879 h 2604407"/>
                  <a:gd name="connsiteX5" fmla="*/ 2136581 w 2158509"/>
                  <a:gd name="connsiteY5" fmla="*/ 2144487 h 2604407"/>
                  <a:gd name="connsiteX6" fmla="*/ 1717481 w 2158509"/>
                  <a:gd name="connsiteY6" fmla="*/ 2144485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42025 w 2158509"/>
                  <a:gd name="connsiteY4" fmla="*/ 1749879 h 2604407"/>
                  <a:gd name="connsiteX5" fmla="*/ 2136581 w 2158509"/>
                  <a:gd name="connsiteY5" fmla="*/ 2144487 h 2604407"/>
                  <a:gd name="connsiteX6" fmla="*/ 1722924 w 2158509"/>
                  <a:gd name="connsiteY6" fmla="*/ 2144485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455"/>
                  <a:gd name="connsiteY0" fmla="*/ 1 h 2604407"/>
                  <a:gd name="connsiteX1" fmla="*/ 2158352 w 2158455"/>
                  <a:gd name="connsiteY1" fmla="*/ 0 h 2604407"/>
                  <a:gd name="connsiteX2" fmla="*/ 2139304 w 2158455"/>
                  <a:gd name="connsiteY2" fmla="*/ 394608 h 2604407"/>
                  <a:gd name="connsiteX3" fmla="*/ 1682104 w 2158455"/>
                  <a:gd name="connsiteY3" fmla="*/ 1061357 h 2604407"/>
                  <a:gd name="connsiteX4" fmla="*/ 2142025 w 2158455"/>
                  <a:gd name="connsiteY4" fmla="*/ 1749879 h 2604407"/>
                  <a:gd name="connsiteX5" fmla="*/ 2136581 w 2158455"/>
                  <a:gd name="connsiteY5" fmla="*/ 2144487 h 2604407"/>
                  <a:gd name="connsiteX6" fmla="*/ 1722924 w 2158455"/>
                  <a:gd name="connsiteY6" fmla="*/ 2144485 h 2604407"/>
                  <a:gd name="connsiteX7" fmla="*/ 1072503 w 2158455"/>
                  <a:gd name="connsiteY7" fmla="*/ 2604407 h 2604407"/>
                  <a:gd name="connsiteX8" fmla="*/ 427525 w 2158455"/>
                  <a:gd name="connsiteY8" fmla="*/ 2152650 h 2604407"/>
                  <a:gd name="connsiteX9" fmla="*/ 260 w 2158455"/>
                  <a:gd name="connsiteY9" fmla="*/ 2152650 h 2604407"/>
                  <a:gd name="connsiteX10" fmla="*/ 260 w 2158455"/>
                  <a:gd name="connsiteY10" fmla="*/ 1755322 h 2604407"/>
                  <a:gd name="connsiteX11" fmla="*/ 476511 w 2158455"/>
                  <a:gd name="connsiteY11" fmla="*/ 1064079 h 2604407"/>
                  <a:gd name="connsiteX12" fmla="*/ 260 w 2158455"/>
                  <a:gd name="connsiteY12" fmla="*/ 389166 h 2604407"/>
                  <a:gd name="connsiteX13" fmla="*/ 261 w 2158455"/>
                  <a:gd name="connsiteY13" fmla="*/ 1 h 2604407"/>
                  <a:gd name="connsiteX0" fmla="*/ 261 w 2158509"/>
                  <a:gd name="connsiteY0" fmla="*/ 1 h 2604407"/>
                  <a:gd name="connsiteX1" fmla="*/ 2158352 w 2158509"/>
                  <a:gd name="connsiteY1" fmla="*/ 0 h 2604407"/>
                  <a:gd name="connsiteX2" fmla="*/ 2147469 w 2158509"/>
                  <a:gd name="connsiteY2" fmla="*/ 394608 h 2604407"/>
                  <a:gd name="connsiteX3" fmla="*/ 1682104 w 2158509"/>
                  <a:gd name="connsiteY3" fmla="*/ 1061357 h 2604407"/>
                  <a:gd name="connsiteX4" fmla="*/ 2142025 w 2158509"/>
                  <a:gd name="connsiteY4" fmla="*/ 1749879 h 2604407"/>
                  <a:gd name="connsiteX5" fmla="*/ 2136581 w 2158509"/>
                  <a:gd name="connsiteY5" fmla="*/ 2144487 h 2604407"/>
                  <a:gd name="connsiteX6" fmla="*/ 1722924 w 2158509"/>
                  <a:gd name="connsiteY6" fmla="*/ 2144485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681"/>
                  <a:gd name="connsiteY0" fmla="*/ 1 h 2604407"/>
                  <a:gd name="connsiteX1" fmla="*/ 2158352 w 2158681"/>
                  <a:gd name="connsiteY1" fmla="*/ 0 h 2604407"/>
                  <a:gd name="connsiteX2" fmla="*/ 2155633 w 2158681"/>
                  <a:gd name="connsiteY2" fmla="*/ 381000 h 2604407"/>
                  <a:gd name="connsiteX3" fmla="*/ 1682104 w 2158681"/>
                  <a:gd name="connsiteY3" fmla="*/ 1061357 h 2604407"/>
                  <a:gd name="connsiteX4" fmla="*/ 2142025 w 2158681"/>
                  <a:gd name="connsiteY4" fmla="*/ 1749879 h 2604407"/>
                  <a:gd name="connsiteX5" fmla="*/ 2136581 w 2158681"/>
                  <a:gd name="connsiteY5" fmla="*/ 2144487 h 2604407"/>
                  <a:gd name="connsiteX6" fmla="*/ 1722924 w 2158681"/>
                  <a:gd name="connsiteY6" fmla="*/ 2144485 h 2604407"/>
                  <a:gd name="connsiteX7" fmla="*/ 1072503 w 2158681"/>
                  <a:gd name="connsiteY7" fmla="*/ 2604407 h 2604407"/>
                  <a:gd name="connsiteX8" fmla="*/ 427525 w 2158681"/>
                  <a:gd name="connsiteY8" fmla="*/ 2152650 h 2604407"/>
                  <a:gd name="connsiteX9" fmla="*/ 260 w 2158681"/>
                  <a:gd name="connsiteY9" fmla="*/ 2152650 h 2604407"/>
                  <a:gd name="connsiteX10" fmla="*/ 260 w 2158681"/>
                  <a:gd name="connsiteY10" fmla="*/ 1755322 h 2604407"/>
                  <a:gd name="connsiteX11" fmla="*/ 476511 w 2158681"/>
                  <a:gd name="connsiteY11" fmla="*/ 1064079 h 2604407"/>
                  <a:gd name="connsiteX12" fmla="*/ 260 w 2158681"/>
                  <a:gd name="connsiteY12" fmla="*/ 389166 h 2604407"/>
                  <a:gd name="connsiteX13" fmla="*/ 261 w 2158681"/>
                  <a:gd name="connsiteY13" fmla="*/ 1 h 2604407"/>
                  <a:gd name="connsiteX0" fmla="*/ 261 w 2158352"/>
                  <a:gd name="connsiteY0" fmla="*/ 1 h 2604407"/>
                  <a:gd name="connsiteX1" fmla="*/ 2158352 w 2158352"/>
                  <a:gd name="connsiteY1" fmla="*/ 0 h 2604407"/>
                  <a:gd name="connsiteX2" fmla="*/ 2155633 w 2158352"/>
                  <a:gd name="connsiteY2" fmla="*/ 381000 h 2604407"/>
                  <a:gd name="connsiteX3" fmla="*/ 1682104 w 2158352"/>
                  <a:gd name="connsiteY3" fmla="*/ 1061357 h 2604407"/>
                  <a:gd name="connsiteX4" fmla="*/ 2142025 w 2158352"/>
                  <a:gd name="connsiteY4" fmla="*/ 1749879 h 2604407"/>
                  <a:gd name="connsiteX5" fmla="*/ 2136581 w 2158352"/>
                  <a:gd name="connsiteY5" fmla="*/ 2144487 h 2604407"/>
                  <a:gd name="connsiteX6" fmla="*/ 1722924 w 2158352"/>
                  <a:gd name="connsiteY6" fmla="*/ 2144485 h 2604407"/>
                  <a:gd name="connsiteX7" fmla="*/ 1072503 w 2158352"/>
                  <a:gd name="connsiteY7" fmla="*/ 2604407 h 2604407"/>
                  <a:gd name="connsiteX8" fmla="*/ 427525 w 2158352"/>
                  <a:gd name="connsiteY8" fmla="*/ 2152650 h 2604407"/>
                  <a:gd name="connsiteX9" fmla="*/ 260 w 2158352"/>
                  <a:gd name="connsiteY9" fmla="*/ 2152650 h 2604407"/>
                  <a:gd name="connsiteX10" fmla="*/ 260 w 2158352"/>
                  <a:gd name="connsiteY10" fmla="*/ 1755322 h 2604407"/>
                  <a:gd name="connsiteX11" fmla="*/ 476511 w 2158352"/>
                  <a:gd name="connsiteY11" fmla="*/ 1064079 h 2604407"/>
                  <a:gd name="connsiteX12" fmla="*/ 260 w 2158352"/>
                  <a:gd name="connsiteY12" fmla="*/ 389166 h 2604407"/>
                  <a:gd name="connsiteX13" fmla="*/ 261 w 2158352"/>
                  <a:gd name="connsiteY13" fmla="*/ 1 h 2604407"/>
                  <a:gd name="connsiteX0" fmla="*/ 261 w 2158352"/>
                  <a:gd name="connsiteY0" fmla="*/ 1 h 2604407"/>
                  <a:gd name="connsiteX1" fmla="*/ 2158352 w 2158352"/>
                  <a:gd name="connsiteY1" fmla="*/ 0 h 2604407"/>
                  <a:gd name="connsiteX2" fmla="*/ 2155633 w 2158352"/>
                  <a:gd name="connsiteY2" fmla="*/ 381000 h 2604407"/>
                  <a:gd name="connsiteX3" fmla="*/ 1682104 w 2158352"/>
                  <a:gd name="connsiteY3" fmla="*/ 1061357 h 2604407"/>
                  <a:gd name="connsiteX4" fmla="*/ 2142025 w 2158352"/>
                  <a:gd name="connsiteY4" fmla="*/ 1749879 h 2604407"/>
                  <a:gd name="connsiteX5" fmla="*/ 2136581 w 2158352"/>
                  <a:gd name="connsiteY5" fmla="*/ 2134760 h 2604407"/>
                  <a:gd name="connsiteX6" fmla="*/ 1722924 w 2158352"/>
                  <a:gd name="connsiteY6" fmla="*/ 2144485 h 2604407"/>
                  <a:gd name="connsiteX7" fmla="*/ 1072503 w 2158352"/>
                  <a:gd name="connsiteY7" fmla="*/ 2604407 h 2604407"/>
                  <a:gd name="connsiteX8" fmla="*/ 427525 w 2158352"/>
                  <a:gd name="connsiteY8" fmla="*/ 2152650 h 2604407"/>
                  <a:gd name="connsiteX9" fmla="*/ 260 w 2158352"/>
                  <a:gd name="connsiteY9" fmla="*/ 2152650 h 2604407"/>
                  <a:gd name="connsiteX10" fmla="*/ 260 w 2158352"/>
                  <a:gd name="connsiteY10" fmla="*/ 1755322 h 2604407"/>
                  <a:gd name="connsiteX11" fmla="*/ 476511 w 2158352"/>
                  <a:gd name="connsiteY11" fmla="*/ 1064079 h 2604407"/>
                  <a:gd name="connsiteX12" fmla="*/ 260 w 2158352"/>
                  <a:gd name="connsiteY12" fmla="*/ 389166 h 2604407"/>
                  <a:gd name="connsiteX13" fmla="*/ 261 w 2158352"/>
                  <a:gd name="connsiteY13" fmla="*/ 1 h 2604407"/>
                  <a:gd name="connsiteX0" fmla="*/ 261 w 2158352"/>
                  <a:gd name="connsiteY0" fmla="*/ 1 h 2604407"/>
                  <a:gd name="connsiteX1" fmla="*/ 2158352 w 2158352"/>
                  <a:gd name="connsiteY1" fmla="*/ 0 h 2604407"/>
                  <a:gd name="connsiteX2" fmla="*/ 2155633 w 2158352"/>
                  <a:gd name="connsiteY2" fmla="*/ 381000 h 2604407"/>
                  <a:gd name="connsiteX3" fmla="*/ 1682104 w 2158352"/>
                  <a:gd name="connsiteY3" fmla="*/ 1061357 h 2604407"/>
                  <a:gd name="connsiteX4" fmla="*/ 2151753 w 2158352"/>
                  <a:gd name="connsiteY4" fmla="*/ 1759607 h 2604407"/>
                  <a:gd name="connsiteX5" fmla="*/ 2136581 w 2158352"/>
                  <a:gd name="connsiteY5" fmla="*/ 2134760 h 2604407"/>
                  <a:gd name="connsiteX6" fmla="*/ 1722924 w 2158352"/>
                  <a:gd name="connsiteY6" fmla="*/ 2144485 h 2604407"/>
                  <a:gd name="connsiteX7" fmla="*/ 1072503 w 2158352"/>
                  <a:gd name="connsiteY7" fmla="*/ 2604407 h 2604407"/>
                  <a:gd name="connsiteX8" fmla="*/ 427525 w 2158352"/>
                  <a:gd name="connsiteY8" fmla="*/ 2152650 h 2604407"/>
                  <a:gd name="connsiteX9" fmla="*/ 260 w 2158352"/>
                  <a:gd name="connsiteY9" fmla="*/ 2152650 h 2604407"/>
                  <a:gd name="connsiteX10" fmla="*/ 260 w 2158352"/>
                  <a:gd name="connsiteY10" fmla="*/ 1755322 h 2604407"/>
                  <a:gd name="connsiteX11" fmla="*/ 476511 w 2158352"/>
                  <a:gd name="connsiteY11" fmla="*/ 1064079 h 2604407"/>
                  <a:gd name="connsiteX12" fmla="*/ 260 w 2158352"/>
                  <a:gd name="connsiteY12" fmla="*/ 389166 h 2604407"/>
                  <a:gd name="connsiteX13" fmla="*/ 261 w 2158352"/>
                  <a:gd name="connsiteY13" fmla="*/ 1 h 2604407"/>
                  <a:gd name="connsiteX0" fmla="*/ 261 w 2158352"/>
                  <a:gd name="connsiteY0" fmla="*/ 1 h 2604407"/>
                  <a:gd name="connsiteX1" fmla="*/ 2158352 w 2158352"/>
                  <a:gd name="connsiteY1" fmla="*/ 0 h 2604407"/>
                  <a:gd name="connsiteX2" fmla="*/ 2155633 w 2158352"/>
                  <a:gd name="connsiteY2" fmla="*/ 381000 h 2604407"/>
                  <a:gd name="connsiteX3" fmla="*/ 1682104 w 2158352"/>
                  <a:gd name="connsiteY3" fmla="*/ 1061357 h 2604407"/>
                  <a:gd name="connsiteX4" fmla="*/ 2151753 w 2158352"/>
                  <a:gd name="connsiteY4" fmla="*/ 1759607 h 2604407"/>
                  <a:gd name="connsiteX5" fmla="*/ 2151173 w 2158352"/>
                  <a:gd name="connsiteY5" fmla="*/ 2129896 h 2604407"/>
                  <a:gd name="connsiteX6" fmla="*/ 1722924 w 2158352"/>
                  <a:gd name="connsiteY6" fmla="*/ 2144485 h 2604407"/>
                  <a:gd name="connsiteX7" fmla="*/ 1072503 w 2158352"/>
                  <a:gd name="connsiteY7" fmla="*/ 2604407 h 2604407"/>
                  <a:gd name="connsiteX8" fmla="*/ 427525 w 2158352"/>
                  <a:gd name="connsiteY8" fmla="*/ 2152650 h 2604407"/>
                  <a:gd name="connsiteX9" fmla="*/ 260 w 2158352"/>
                  <a:gd name="connsiteY9" fmla="*/ 2152650 h 2604407"/>
                  <a:gd name="connsiteX10" fmla="*/ 260 w 2158352"/>
                  <a:gd name="connsiteY10" fmla="*/ 1755322 h 2604407"/>
                  <a:gd name="connsiteX11" fmla="*/ 476511 w 2158352"/>
                  <a:gd name="connsiteY11" fmla="*/ 1064079 h 2604407"/>
                  <a:gd name="connsiteX12" fmla="*/ 260 w 2158352"/>
                  <a:gd name="connsiteY12" fmla="*/ 389166 h 2604407"/>
                  <a:gd name="connsiteX13" fmla="*/ 261 w 2158352"/>
                  <a:gd name="connsiteY13" fmla="*/ 1 h 2604407"/>
                  <a:gd name="connsiteX0" fmla="*/ 261 w 2158352"/>
                  <a:gd name="connsiteY0" fmla="*/ 10452 h 2614858"/>
                  <a:gd name="connsiteX1" fmla="*/ 464264 w 2158352"/>
                  <a:gd name="connsiteY1" fmla="*/ 0 h 2614858"/>
                  <a:gd name="connsiteX2" fmla="*/ 2158352 w 2158352"/>
                  <a:gd name="connsiteY2" fmla="*/ 10451 h 2614858"/>
                  <a:gd name="connsiteX3" fmla="*/ 2155633 w 2158352"/>
                  <a:gd name="connsiteY3" fmla="*/ 391451 h 2614858"/>
                  <a:gd name="connsiteX4" fmla="*/ 1682104 w 2158352"/>
                  <a:gd name="connsiteY4" fmla="*/ 1071808 h 2614858"/>
                  <a:gd name="connsiteX5" fmla="*/ 2151753 w 2158352"/>
                  <a:gd name="connsiteY5" fmla="*/ 1770058 h 2614858"/>
                  <a:gd name="connsiteX6" fmla="*/ 2151173 w 2158352"/>
                  <a:gd name="connsiteY6" fmla="*/ 2140347 h 2614858"/>
                  <a:gd name="connsiteX7" fmla="*/ 1722924 w 2158352"/>
                  <a:gd name="connsiteY7" fmla="*/ 2154936 h 2614858"/>
                  <a:gd name="connsiteX8" fmla="*/ 1072503 w 2158352"/>
                  <a:gd name="connsiteY8" fmla="*/ 2614858 h 2614858"/>
                  <a:gd name="connsiteX9" fmla="*/ 427525 w 2158352"/>
                  <a:gd name="connsiteY9" fmla="*/ 2163101 h 2614858"/>
                  <a:gd name="connsiteX10" fmla="*/ 260 w 2158352"/>
                  <a:gd name="connsiteY10" fmla="*/ 2163101 h 2614858"/>
                  <a:gd name="connsiteX11" fmla="*/ 260 w 2158352"/>
                  <a:gd name="connsiteY11" fmla="*/ 1765773 h 2614858"/>
                  <a:gd name="connsiteX12" fmla="*/ 476511 w 2158352"/>
                  <a:gd name="connsiteY12" fmla="*/ 1074530 h 2614858"/>
                  <a:gd name="connsiteX13" fmla="*/ 260 w 2158352"/>
                  <a:gd name="connsiteY13" fmla="*/ 399617 h 2614858"/>
                  <a:gd name="connsiteX14" fmla="*/ 261 w 2158352"/>
                  <a:gd name="connsiteY14" fmla="*/ 10452 h 2614858"/>
                  <a:gd name="connsiteX0" fmla="*/ 261 w 2158352"/>
                  <a:gd name="connsiteY0" fmla="*/ 10452 h 2614858"/>
                  <a:gd name="connsiteX1" fmla="*/ 464264 w 2158352"/>
                  <a:gd name="connsiteY1" fmla="*/ 0 h 2614858"/>
                  <a:gd name="connsiteX2" fmla="*/ 1769189 w 2158352"/>
                  <a:gd name="connsiteY2" fmla="*/ 9525 h 2614858"/>
                  <a:gd name="connsiteX3" fmla="*/ 2158352 w 2158352"/>
                  <a:gd name="connsiteY3" fmla="*/ 10451 h 2614858"/>
                  <a:gd name="connsiteX4" fmla="*/ 2155633 w 2158352"/>
                  <a:gd name="connsiteY4" fmla="*/ 391451 h 2614858"/>
                  <a:gd name="connsiteX5" fmla="*/ 1682104 w 2158352"/>
                  <a:gd name="connsiteY5" fmla="*/ 1071808 h 2614858"/>
                  <a:gd name="connsiteX6" fmla="*/ 2151753 w 2158352"/>
                  <a:gd name="connsiteY6" fmla="*/ 1770058 h 2614858"/>
                  <a:gd name="connsiteX7" fmla="*/ 2151173 w 2158352"/>
                  <a:gd name="connsiteY7" fmla="*/ 2140347 h 2614858"/>
                  <a:gd name="connsiteX8" fmla="*/ 1722924 w 2158352"/>
                  <a:gd name="connsiteY8" fmla="*/ 2154936 h 2614858"/>
                  <a:gd name="connsiteX9" fmla="*/ 1072503 w 2158352"/>
                  <a:gd name="connsiteY9" fmla="*/ 2614858 h 2614858"/>
                  <a:gd name="connsiteX10" fmla="*/ 427525 w 2158352"/>
                  <a:gd name="connsiteY10" fmla="*/ 2163101 h 2614858"/>
                  <a:gd name="connsiteX11" fmla="*/ 260 w 2158352"/>
                  <a:gd name="connsiteY11" fmla="*/ 2163101 h 2614858"/>
                  <a:gd name="connsiteX12" fmla="*/ 260 w 2158352"/>
                  <a:gd name="connsiteY12" fmla="*/ 1765773 h 2614858"/>
                  <a:gd name="connsiteX13" fmla="*/ 476511 w 2158352"/>
                  <a:gd name="connsiteY13" fmla="*/ 1074530 h 2614858"/>
                  <a:gd name="connsiteX14" fmla="*/ 260 w 2158352"/>
                  <a:gd name="connsiteY14" fmla="*/ 399617 h 2614858"/>
                  <a:gd name="connsiteX15" fmla="*/ 261 w 2158352"/>
                  <a:gd name="connsiteY15" fmla="*/ 10452 h 2614858"/>
                  <a:gd name="connsiteX0" fmla="*/ 261 w 2158352"/>
                  <a:gd name="connsiteY0" fmla="*/ 19977 h 2624383"/>
                  <a:gd name="connsiteX1" fmla="*/ 464264 w 2158352"/>
                  <a:gd name="connsiteY1" fmla="*/ 9525 h 2624383"/>
                  <a:gd name="connsiteX2" fmla="*/ 1054814 w 2158352"/>
                  <a:gd name="connsiteY2" fmla="*/ 0 h 2624383"/>
                  <a:gd name="connsiteX3" fmla="*/ 1769189 w 2158352"/>
                  <a:gd name="connsiteY3" fmla="*/ 19050 h 2624383"/>
                  <a:gd name="connsiteX4" fmla="*/ 2158352 w 2158352"/>
                  <a:gd name="connsiteY4" fmla="*/ 19976 h 2624383"/>
                  <a:gd name="connsiteX5" fmla="*/ 2155633 w 2158352"/>
                  <a:gd name="connsiteY5" fmla="*/ 400976 h 2624383"/>
                  <a:gd name="connsiteX6" fmla="*/ 1682104 w 2158352"/>
                  <a:gd name="connsiteY6" fmla="*/ 1081333 h 2624383"/>
                  <a:gd name="connsiteX7" fmla="*/ 2151753 w 2158352"/>
                  <a:gd name="connsiteY7" fmla="*/ 1779583 h 2624383"/>
                  <a:gd name="connsiteX8" fmla="*/ 2151173 w 2158352"/>
                  <a:gd name="connsiteY8" fmla="*/ 2149872 h 2624383"/>
                  <a:gd name="connsiteX9" fmla="*/ 1722924 w 2158352"/>
                  <a:gd name="connsiteY9" fmla="*/ 2164461 h 2624383"/>
                  <a:gd name="connsiteX10" fmla="*/ 1072503 w 2158352"/>
                  <a:gd name="connsiteY10" fmla="*/ 2624383 h 2624383"/>
                  <a:gd name="connsiteX11" fmla="*/ 427525 w 2158352"/>
                  <a:gd name="connsiteY11" fmla="*/ 2172626 h 2624383"/>
                  <a:gd name="connsiteX12" fmla="*/ 260 w 2158352"/>
                  <a:gd name="connsiteY12" fmla="*/ 2172626 h 2624383"/>
                  <a:gd name="connsiteX13" fmla="*/ 260 w 2158352"/>
                  <a:gd name="connsiteY13" fmla="*/ 1775298 h 2624383"/>
                  <a:gd name="connsiteX14" fmla="*/ 476511 w 2158352"/>
                  <a:gd name="connsiteY14" fmla="*/ 1084055 h 2624383"/>
                  <a:gd name="connsiteX15" fmla="*/ 260 w 2158352"/>
                  <a:gd name="connsiteY15" fmla="*/ 409142 h 2624383"/>
                  <a:gd name="connsiteX16" fmla="*/ 261 w 2158352"/>
                  <a:gd name="connsiteY16" fmla="*/ 19977 h 2624383"/>
                  <a:gd name="connsiteX0" fmla="*/ 261 w 2158352"/>
                  <a:gd name="connsiteY0" fmla="*/ 10452 h 2614858"/>
                  <a:gd name="connsiteX1" fmla="*/ 464264 w 2158352"/>
                  <a:gd name="connsiteY1" fmla="*/ 0 h 2614858"/>
                  <a:gd name="connsiteX2" fmla="*/ 1111964 w 2158352"/>
                  <a:gd name="connsiteY2" fmla="*/ 485775 h 2614858"/>
                  <a:gd name="connsiteX3" fmla="*/ 1769189 w 2158352"/>
                  <a:gd name="connsiteY3" fmla="*/ 9525 h 2614858"/>
                  <a:gd name="connsiteX4" fmla="*/ 2158352 w 2158352"/>
                  <a:gd name="connsiteY4" fmla="*/ 10451 h 2614858"/>
                  <a:gd name="connsiteX5" fmla="*/ 2155633 w 2158352"/>
                  <a:gd name="connsiteY5" fmla="*/ 391451 h 2614858"/>
                  <a:gd name="connsiteX6" fmla="*/ 1682104 w 2158352"/>
                  <a:gd name="connsiteY6" fmla="*/ 1071808 h 2614858"/>
                  <a:gd name="connsiteX7" fmla="*/ 2151753 w 2158352"/>
                  <a:gd name="connsiteY7" fmla="*/ 1770058 h 2614858"/>
                  <a:gd name="connsiteX8" fmla="*/ 2151173 w 2158352"/>
                  <a:gd name="connsiteY8" fmla="*/ 2140347 h 2614858"/>
                  <a:gd name="connsiteX9" fmla="*/ 1722924 w 2158352"/>
                  <a:gd name="connsiteY9" fmla="*/ 2154936 h 2614858"/>
                  <a:gd name="connsiteX10" fmla="*/ 1072503 w 2158352"/>
                  <a:gd name="connsiteY10" fmla="*/ 2614858 h 2614858"/>
                  <a:gd name="connsiteX11" fmla="*/ 427525 w 2158352"/>
                  <a:gd name="connsiteY11" fmla="*/ 2163101 h 2614858"/>
                  <a:gd name="connsiteX12" fmla="*/ 260 w 2158352"/>
                  <a:gd name="connsiteY12" fmla="*/ 2163101 h 2614858"/>
                  <a:gd name="connsiteX13" fmla="*/ 260 w 2158352"/>
                  <a:gd name="connsiteY13" fmla="*/ 1765773 h 2614858"/>
                  <a:gd name="connsiteX14" fmla="*/ 476511 w 2158352"/>
                  <a:gd name="connsiteY14" fmla="*/ 1074530 h 2614858"/>
                  <a:gd name="connsiteX15" fmla="*/ 260 w 2158352"/>
                  <a:gd name="connsiteY15" fmla="*/ 399617 h 2614858"/>
                  <a:gd name="connsiteX16" fmla="*/ 261 w 2158352"/>
                  <a:gd name="connsiteY16" fmla="*/ 10452 h 2614858"/>
                  <a:gd name="connsiteX0" fmla="*/ 261 w 2158352"/>
                  <a:gd name="connsiteY0" fmla="*/ 10452 h 2614858"/>
                  <a:gd name="connsiteX1" fmla="*/ 464264 w 2158352"/>
                  <a:gd name="connsiteY1" fmla="*/ 0 h 2614858"/>
                  <a:gd name="connsiteX2" fmla="*/ 1064339 w 2158352"/>
                  <a:gd name="connsiteY2" fmla="*/ 485775 h 2614858"/>
                  <a:gd name="connsiteX3" fmla="*/ 1769189 w 2158352"/>
                  <a:gd name="connsiteY3" fmla="*/ 9525 h 2614858"/>
                  <a:gd name="connsiteX4" fmla="*/ 2158352 w 2158352"/>
                  <a:gd name="connsiteY4" fmla="*/ 10451 h 2614858"/>
                  <a:gd name="connsiteX5" fmla="*/ 2155633 w 2158352"/>
                  <a:gd name="connsiteY5" fmla="*/ 391451 h 2614858"/>
                  <a:gd name="connsiteX6" fmla="*/ 1682104 w 2158352"/>
                  <a:gd name="connsiteY6" fmla="*/ 1071808 h 2614858"/>
                  <a:gd name="connsiteX7" fmla="*/ 2151753 w 2158352"/>
                  <a:gd name="connsiteY7" fmla="*/ 1770058 h 2614858"/>
                  <a:gd name="connsiteX8" fmla="*/ 2151173 w 2158352"/>
                  <a:gd name="connsiteY8" fmla="*/ 2140347 h 2614858"/>
                  <a:gd name="connsiteX9" fmla="*/ 1722924 w 2158352"/>
                  <a:gd name="connsiteY9" fmla="*/ 2154936 h 2614858"/>
                  <a:gd name="connsiteX10" fmla="*/ 1072503 w 2158352"/>
                  <a:gd name="connsiteY10" fmla="*/ 2614858 h 2614858"/>
                  <a:gd name="connsiteX11" fmla="*/ 427525 w 2158352"/>
                  <a:gd name="connsiteY11" fmla="*/ 2163101 h 2614858"/>
                  <a:gd name="connsiteX12" fmla="*/ 260 w 2158352"/>
                  <a:gd name="connsiteY12" fmla="*/ 2163101 h 2614858"/>
                  <a:gd name="connsiteX13" fmla="*/ 260 w 2158352"/>
                  <a:gd name="connsiteY13" fmla="*/ 1765773 h 2614858"/>
                  <a:gd name="connsiteX14" fmla="*/ 476511 w 2158352"/>
                  <a:gd name="connsiteY14" fmla="*/ 1074530 h 2614858"/>
                  <a:gd name="connsiteX15" fmla="*/ 260 w 2158352"/>
                  <a:gd name="connsiteY15" fmla="*/ 399617 h 2614858"/>
                  <a:gd name="connsiteX16" fmla="*/ 261 w 2158352"/>
                  <a:gd name="connsiteY16" fmla="*/ 10452 h 2614858"/>
                  <a:gd name="connsiteX0" fmla="*/ 261 w 2158352"/>
                  <a:gd name="connsiteY0" fmla="*/ 927 h 2605333"/>
                  <a:gd name="connsiteX1" fmla="*/ 397589 w 2158352"/>
                  <a:gd name="connsiteY1" fmla="*/ 9525 h 2605333"/>
                  <a:gd name="connsiteX2" fmla="*/ 1064339 w 2158352"/>
                  <a:gd name="connsiteY2" fmla="*/ 476250 h 2605333"/>
                  <a:gd name="connsiteX3" fmla="*/ 1769189 w 2158352"/>
                  <a:gd name="connsiteY3" fmla="*/ 0 h 2605333"/>
                  <a:gd name="connsiteX4" fmla="*/ 2158352 w 2158352"/>
                  <a:gd name="connsiteY4" fmla="*/ 926 h 2605333"/>
                  <a:gd name="connsiteX5" fmla="*/ 2155633 w 2158352"/>
                  <a:gd name="connsiteY5" fmla="*/ 381926 h 2605333"/>
                  <a:gd name="connsiteX6" fmla="*/ 1682104 w 2158352"/>
                  <a:gd name="connsiteY6" fmla="*/ 1062283 h 2605333"/>
                  <a:gd name="connsiteX7" fmla="*/ 2151753 w 2158352"/>
                  <a:gd name="connsiteY7" fmla="*/ 1760533 h 2605333"/>
                  <a:gd name="connsiteX8" fmla="*/ 2151173 w 2158352"/>
                  <a:gd name="connsiteY8" fmla="*/ 2130822 h 2605333"/>
                  <a:gd name="connsiteX9" fmla="*/ 1722924 w 2158352"/>
                  <a:gd name="connsiteY9" fmla="*/ 2145411 h 2605333"/>
                  <a:gd name="connsiteX10" fmla="*/ 1072503 w 2158352"/>
                  <a:gd name="connsiteY10" fmla="*/ 2605333 h 2605333"/>
                  <a:gd name="connsiteX11" fmla="*/ 427525 w 2158352"/>
                  <a:gd name="connsiteY11" fmla="*/ 2153576 h 2605333"/>
                  <a:gd name="connsiteX12" fmla="*/ 260 w 2158352"/>
                  <a:gd name="connsiteY12" fmla="*/ 2153576 h 2605333"/>
                  <a:gd name="connsiteX13" fmla="*/ 260 w 2158352"/>
                  <a:gd name="connsiteY13" fmla="*/ 1756248 h 2605333"/>
                  <a:gd name="connsiteX14" fmla="*/ 476511 w 2158352"/>
                  <a:gd name="connsiteY14" fmla="*/ 1065005 h 2605333"/>
                  <a:gd name="connsiteX15" fmla="*/ 260 w 2158352"/>
                  <a:gd name="connsiteY15" fmla="*/ 390092 h 2605333"/>
                  <a:gd name="connsiteX16" fmla="*/ 261 w 2158352"/>
                  <a:gd name="connsiteY16" fmla="*/ 927 h 2605333"/>
                  <a:gd name="connsiteX0" fmla="*/ 261 w 2158352"/>
                  <a:gd name="connsiteY0" fmla="*/ 927 h 2605333"/>
                  <a:gd name="connsiteX1" fmla="*/ 397589 w 2158352"/>
                  <a:gd name="connsiteY1" fmla="*/ 9525 h 2605333"/>
                  <a:gd name="connsiteX2" fmla="*/ 1083389 w 2158352"/>
                  <a:gd name="connsiteY2" fmla="*/ 457200 h 2605333"/>
                  <a:gd name="connsiteX3" fmla="*/ 1769189 w 2158352"/>
                  <a:gd name="connsiteY3" fmla="*/ 0 h 2605333"/>
                  <a:gd name="connsiteX4" fmla="*/ 2158352 w 2158352"/>
                  <a:gd name="connsiteY4" fmla="*/ 926 h 2605333"/>
                  <a:gd name="connsiteX5" fmla="*/ 2155633 w 2158352"/>
                  <a:gd name="connsiteY5" fmla="*/ 381926 h 2605333"/>
                  <a:gd name="connsiteX6" fmla="*/ 1682104 w 2158352"/>
                  <a:gd name="connsiteY6" fmla="*/ 1062283 h 2605333"/>
                  <a:gd name="connsiteX7" fmla="*/ 2151753 w 2158352"/>
                  <a:gd name="connsiteY7" fmla="*/ 1760533 h 2605333"/>
                  <a:gd name="connsiteX8" fmla="*/ 2151173 w 2158352"/>
                  <a:gd name="connsiteY8" fmla="*/ 2130822 h 2605333"/>
                  <a:gd name="connsiteX9" fmla="*/ 1722924 w 2158352"/>
                  <a:gd name="connsiteY9" fmla="*/ 2145411 h 2605333"/>
                  <a:gd name="connsiteX10" fmla="*/ 1072503 w 2158352"/>
                  <a:gd name="connsiteY10" fmla="*/ 2605333 h 2605333"/>
                  <a:gd name="connsiteX11" fmla="*/ 427525 w 2158352"/>
                  <a:gd name="connsiteY11" fmla="*/ 2153576 h 2605333"/>
                  <a:gd name="connsiteX12" fmla="*/ 260 w 2158352"/>
                  <a:gd name="connsiteY12" fmla="*/ 2153576 h 2605333"/>
                  <a:gd name="connsiteX13" fmla="*/ 260 w 2158352"/>
                  <a:gd name="connsiteY13" fmla="*/ 1756248 h 2605333"/>
                  <a:gd name="connsiteX14" fmla="*/ 476511 w 2158352"/>
                  <a:gd name="connsiteY14" fmla="*/ 1065005 h 2605333"/>
                  <a:gd name="connsiteX15" fmla="*/ 260 w 2158352"/>
                  <a:gd name="connsiteY15" fmla="*/ 390092 h 2605333"/>
                  <a:gd name="connsiteX16" fmla="*/ 261 w 2158352"/>
                  <a:gd name="connsiteY16" fmla="*/ 927 h 2605333"/>
                  <a:gd name="connsiteX0" fmla="*/ 261 w 2158352"/>
                  <a:gd name="connsiteY0" fmla="*/ 927 h 2153576"/>
                  <a:gd name="connsiteX1" fmla="*/ 397589 w 2158352"/>
                  <a:gd name="connsiteY1" fmla="*/ 9525 h 2153576"/>
                  <a:gd name="connsiteX2" fmla="*/ 1083389 w 2158352"/>
                  <a:gd name="connsiteY2" fmla="*/ 457200 h 2153576"/>
                  <a:gd name="connsiteX3" fmla="*/ 1769189 w 2158352"/>
                  <a:gd name="connsiteY3" fmla="*/ 0 h 2153576"/>
                  <a:gd name="connsiteX4" fmla="*/ 2158352 w 2158352"/>
                  <a:gd name="connsiteY4" fmla="*/ 926 h 2153576"/>
                  <a:gd name="connsiteX5" fmla="*/ 2155633 w 2158352"/>
                  <a:gd name="connsiteY5" fmla="*/ 381926 h 2153576"/>
                  <a:gd name="connsiteX6" fmla="*/ 1682104 w 2158352"/>
                  <a:gd name="connsiteY6" fmla="*/ 1062283 h 2153576"/>
                  <a:gd name="connsiteX7" fmla="*/ 2151753 w 2158352"/>
                  <a:gd name="connsiteY7" fmla="*/ 1760533 h 2153576"/>
                  <a:gd name="connsiteX8" fmla="*/ 2151173 w 2158352"/>
                  <a:gd name="connsiteY8" fmla="*/ 2130822 h 2153576"/>
                  <a:gd name="connsiteX9" fmla="*/ 1722924 w 2158352"/>
                  <a:gd name="connsiteY9" fmla="*/ 2145411 h 2153576"/>
                  <a:gd name="connsiteX10" fmla="*/ 1101078 w 2158352"/>
                  <a:gd name="connsiteY10" fmla="*/ 1681408 h 2153576"/>
                  <a:gd name="connsiteX11" fmla="*/ 427525 w 2158352"/>
                  <a:gd name="connsiteY11" fmla="*/ 2153576 h 2153576"/>
                  <a:gd name="connsiteX12" fmla="*/ 260 w 2158352"/>
                  <a:gd name="connsiteY12" fmla="*/ 2153576 h 2153576"/>
                  <a:gd name="connsiteX13" fmla="*/ 260 w 2158352"/>
                  <a:gd name="connsiteY13" fmla="*/ 1756248 h 2153576"/>
                  <a:gd name="connsiteX14" fmla="*/ 476511 w 2158352"/>
                  <a:gd name="connsiteY14" fmla="*/ 1065005 h 2153576"/>
                  <a:gd name="connsiteX15" fmla="*/ 260 w 2158352"/>
                  <a:gd name="connsiteY15" fmla="*/ 390092 h 2153576"/>
                  <a:gd name="connsiteX16" fmla="*/ 261 w 2158352"/>
                  <a:gd name="connsiteY16" fmla="*/ 927 h 2153576"/>
                  <a:gd name="connsiteX0" fmla="*/ 261 w 2158352"/>
                  <a:gd name="connsiteY0" fmla="*/ 927 h 2153576"/>
                  <a:gd name="connsiteX1" fmla="*/ 397589 w 2158352"/>
                  <a:gd name="connsiteY1" fmla="*/ 9525 h 2153576"/>
                  <a:gd name="connsiteX2" fmla="*/ 1083389 w 2158352"/>
                  <a:gd name="connsiteY2" fmla="*/ 457200 h 2153576"/>
                  <a:gd name="connsiteX3" fmla="*/ 1769189 w 2158352"/>
                  <a:gd name="connsiteY3" fmla="*/ 0 h 2153576"/>
                  <a:gd name="connsiteX4" fmla="*/ 2158352 w 2158352"/>
                  <a:gd name="connsiteY4" fmla="*/ 926 h 2153576"/>
                  <a:gd name="connsiteX5" fmla="*/ 2155633 w 2158352"/>
                  <a:gd name="connsiteY5" fmla="*/ 381926 h 2153576"/>
                  <a:gd name="connsiteX6" fmla="*/ 1682104 w 2158352"/>
                  <a:gd name="connsiteY6" fmla="*/ 1062283 h 2153576"/>
                  <a:gd name="connsiteX7" fmla="*/ 2151753 w 2158352"/>
                  <a:gd name="connsiteY7" fmla="*/ 1760533 h 2153576"/>
                  <a:gd name="connsiteX8" fmla="*/ 2151173 w 2158352"/>
                  <a:gd name="connsiteY8" fmla="*/ 2130822 h 2153576"/>
                  <a:gd name="connsiteX9" fmla="*/ 1722924 w 2158352"/>
                  <a:gd name="connsiteY9" fmla="*/ 2145411 h 2153576"/>
                  <a:gd name="connsiteX10" fmla="*/ 1089202 w 2158352"/>
                  <a:gd name="connsiteY10" fmla="*/ 1722971 h 2153576"/>
                  <a:gd name="connsiteX11" fmla="*/ 427525 w 2158352"/>
                  <a:gd name="connsiteY11" fmla="*/ 2153576 h 2153576"/>
                  <a:gd name="connsiteX12" fmla="*/ 260 w 2158352"/>
                  <a:gd name="connsiteY12" fmla="*/ 2153576 h 2153576"/>
                  <a:gd name="connsiteX13" fmla="*/ 260 w 2158352"/>
                  <a:gd name="connsiteY13" fmla="*/ 1756248 h 2153576"/>
                  <a:gd name="connsiteX14" fmla="*/ 476511 w 2158352"/>
                  <a:gd name="connsiteY14" fmla="*/ 1065005 h 2153576"/>
                  <a:gd name="connsiteX15" fmla="*/ 260 w 2158352"/>
                  <a:gd name="connsiteY15" fmla="*/ 390092 h 2153576"/>
                  <a:gd name="connsiteX16" fmla="*/ 261 w 2158352"/>
                  <a:gd name="connsiteY16" fmla="*/ 927 h 2153576"/>
                  <a:gd name="connsiteX0" fmla="*/ 261 w 2158352"/>
                  <a:gd name="connsiteY0" fmla="*/ 927 h 2153576"/>
                  <a:gd name="connsiteX1" fmla="*/ 397589 w 2158352"/>
                  <a:gd name="connsiteY1" fmla="*/ 9525 h 2153576"/>
                  <a:gd name="connsiteX2" fmla="*/ 1083389 w 2158352"/>
                  <a:gd name="connsiteY2" fmla="*/ 457200 h 2153576"/>
                  <a:gd name="connsiteX3" fmla="*/ 1769189 w 2158352"/>
                  <a:gd name="connsiteY3" fmla="*/ 0 h 2153576"/>
                  <a:gd name="connsiteX4" fmla="*/ 2158352 w 2158352"/>
                  <a:gd name="connsiteY4" fmla="*/ 926 h 2153576"/>
                  <a:gd name="connsiteX5" fmla="*/ 2155633 w 2158352"/>
                  <a:gd name="connsiteY5" fmla="*/ 381926 h 2153576"/>
                  <a:gd name="connsiteX6" fmla="*/ 1682104 w 2158352"/>
                  <a:gd name="connsiteY6" fmla="*/ 1062283 h 2153576"/>
                  <a:gd name="connsiteX7" fmla="*/ 2151753 w 2158352"/>
                  <a:gd name="connsiteY7" fmla="*/ 1760533 h 2153576"/>
                  <a:gd name="connsiteX8" fmla="*/ 2151173 w 2158352"/>
                  <a:gd name="connsiteY8" fmla="*/ 2130822 h 2153576"/>
                  <a:gd name="connsiteX9" fmla="*/ 1722924 w 2158352"/>
                  <a:gd name="connsiteY9" fmla="*/ 2145411 h 2153576"/>
                  <a:gd name="connsiteX10" fmla="*/ 1089202 w 2158352"/>
                  <a:gd name="connsiteY10" fmla="*/ 1722971 h 2153576"/>
                  <a:gd name="connsiteX11" fmla="*/ 427525 w 2158352"/>
                  <a:gd name="connsiteY11" fmla="*/ 2153576 h 2153576"/>
                  <a:gd name="connsiteX12" fmla="*/ 260 w 2158352"/>
                  <a:gd name="connsiteY12" fmla="*/ 2153576 h 2153576"/>
                  <a:gd name="connsiteX13" fmla="*/ 260 w 2158352"/>
                  <a:gd name="connsiteY13" fmla="*/ 1756248 h 2153576"/>
                  <a:gd name="connsiteX14" fmla="*/ 476511 w 2158352"/>
                  <a:gd name="connsiteY14" fmla="*/ 1065005 h 2153576"/>
                  <a:gd name="connsiteX15" fmla="*/ 260 w 2158352"/>
                  <a:gd name="connsiteY15" fmla="*/ 390092 h 2153576"/>
                  <a:gd name="connsiteX16" fmla="*/ 261 w 2158352"/>
                  <a:gd name="connsiteY16" fmla="*/ 927 h 2153576"/>
                  <a:gd name="connsiteX0" fmla="*/ 261 w 2158352"/>
                  <a:gd name="connsiteY0" fmla="*/ 927 h 2153576"/>
                  <a:gd name="connsiteX1" fmla="*/ 397589 w 2158352"/>
                  <a:gd name="connsiteY1" fmla="*/ 9525 h 2153576"/>
                  <a:gd name="connsiteX2" fmla="*/ 1083389 w 2158352"/>
                  <a:gd name="connsiteY2" fmla="*/ 457200 h 2153576"/>
                  <a:gd name="connsiteX3" fmla="*/ 1769189 w 2158352"/>
                  <a:gd name="connsiteY3" fmla="*/ 0 h 2153576"/>
                  <a:gd name="connsiteX4" fmla="*/ 2158352 w 2158352"/>
                  <a:gd name="connsiteY4" fmla="*/ 926 h 2153576"/>
                  <a:gd name="connsiteX5" fmla="*/ 2155633 w 2158352"/>
                  <a:gd name="connsiteY5" fmla="*/ 381926 h 2153576"/>
                  <a:gd name="connsiteX6" fmla="*/ 1682104 w 2158352"/>
                  <a:gd name="connsiteY6" fmla="*/ 1062283 h 2153576"/>
                  <a:gd name="connsiteX7" fmla="*/ 2151753 w 2158352"/>
                  <a:gd name="connsiteY7" fmla="*/ 1760533 h 2153576"/>
                  <a:gd name="connsiteX8" fmla="*/ 2151173 w 2158352"/>
                  <a:gd name="connsiteY8" fmla="*/ 2148635 h 2153576"/>
                  <a:gd name="connsiteX9" fmla="*/ 1722924 w 2158352"/>
                  <a:gd name="connsiteY9" fmla="*/ 2145411 h 2153576"/>
                  <a:gd name="connsiteX10" fmla="*/ 1089202 w 2158352"/>
                  <a:gd name="connsiteY10" fmla="*/ 1722971 h 2153576"/>
                  <a:gd name="connsiteX11" fmla="*/ 427525 w 2158352"/>
                  <a:gd name="connsiteY11" fmla="*/ 2153576 h 2153576"/>
                  <a:gd name="connsiteX12" fmla="*/ 260 w 2158352"/>
                  <a:gd name="connsiteY12" fmla="*/ 2153576 h 2153576"/>
                  <a:gd name="connsiteX13" fmla="*/ 260 w 2158352"/>
                  <a:gd name="connsiteY13" fmla="*/ 1756248 h 2153576"/>
                  <a:gd name="connsiteX14" fmla="*/ 476511 w 2158352"/>
                  <a:gd name="connsiteY14" fmla="*/ 1065005 h 2153576"/>
                  <a:gd name="connsiteX15" fmla="*/ 260 w 2158352"/>
                  <a:gd name="connsiteY15" fmla="*/ 390092 h 2153576"/>
                  <a:gd name="connsiteX16" fmla="*/ 261 w 2158352"/>
                  <a:gd name="connsiteY16" fmla="*/ 927 h 2153576"/>
                  <a:gd name="connsiteX0" fmla="*/ 261 w 2158352"/>
                  <a:gd name="connsiteY0" fmla="*/ 927 h 2154572"/>
                  <a:gd name="connsiteX1" fmla="*/ 397589 w 2158352"/>
                  <a:gd name="connsiteY1" fmla="*/ 9525 h 2154572"/>
                  <a:gd name="connsiteX2" fmla="*/ 1083389 w 2158352"/>
                  <a:gd name="connsiteY2" fmla="*/ 457200 h 2154572"/>
                  <a:gd name="connsiteX3" fmla="*/ 1769189 w 2158352"/>
                  <a:gd name="connsiteY3" fmla="*/ 0 h 2154572"/>
                  <a:gd name="connsiteX4" fmla="*/ 2158352 w 2158352"/>
                  <a:gd name="connsiteY4" fmla="*/ 926 h 2154572"/>
                  <a:gd name="connsiteX5" fmla="*/ 2155633 w 2158352"/>
                  <a:gd name="connsiteY5" fmla="*/ 381926 h 2154572"/>
                  <a:gd name="connsiteX6" fmla="*/ 1682104 w 2158352"/>
                  <a:gd name="connsiteY6" fmla="*/ 1062283 h 2154572"/>
                  <a:gd name="connsiteX7" fmla="*/ 2151753 w 2158352"/>
                  <a:gd name="connsiteY7" fmla="*/ 1760533 h 2154572"/>
                  <a:gd name="connsiteX8" fmla="*/ 2157111 w 2158352"/>
                  <a:gd name="connsiteY8" fmla="*/ 2154572 h 2154572"/>
                  <a:gd name="connsiteX9" fmla="*/ 1722924 w 2158352"/>
                  <a:gd name="connsiteY9" fmla="*/ 2145411 h 2154572"/>
                  <a:gd name="connsiteX10" fmla="*/ 1089202 w 2158352"/>
                  <a:gd name="connsiteY10" fmla="*/ 1722971 h 2154572"/>
                  <a:gd name="connsiteX11" fmla="*/ 427525 w 2158352"/>
                  <a:gd name="connsiteY11" fmla="*/ 2153576 h 2154572"/>
                  <a:gd name="connsiteX12" fmla="*/ 260 w 2158352"/>
                  <a:gd name="connsiteY12" fmla="*/ 2153576 h 2154572"/>
                  <a:gd name="connsiteX13" fmla="*/ 260 w 2158352"/>
                  <a:gd name="connsiteY13" fmla="*/ 1756248 h 2154572"/>
                  <a:gd name="connsiteX14" fmla="*/ 476511 w 2158352"/>
                  <a:gd name="connsiteY14" fmla="*/ 1065005 h 2154572"/>
                  <a:gd name="connsiteX15" fmla="*/ 260 w 2158352"/>
                  <a:gd name="connsiteY15" fmla="*/ 390092 h 2154572"/>
                  <a:gd name="connsiteX16" fmla="*/ 261 w 2158352"/>
                  <a:gd name="connsiteY16" fmla="*/ 927 h 2154572"/>
                  <a:gd name="connsiteX0" fmla="*/ 261 w 2158352"/>
                  <a:gd name="connsiteY0" fmla="*/ 927 h 2154572"/>
                  <a:gd name="connsiteX1" fmla="*/ 403526 w 2158352"/>
                  <a:gd name="connsiteY1" fmla="*/ 15462 h 2154572"/>
                  <a:gd name="connsiteX2" fmla="*/ 1083389 w 2158352"/>
                  <a:gd name="connsiteY2" fmla="*/ 457200 h 2154572"/>
                  <a:gd name="connsiteX3" fmla="*/ 1769189 w 2158352"/>
                  <a:gd name="connsiteY3" fmla="*/ 0 h 2154572"/>
                  <a:gd name="connsiteX4" fmla="*/ 2158352 w 2158352"/>
                  <a:gd name="connsiteY4" fmla="*/ 926 h 2154572"/>
                  <a:gd name="connsiteX5" fmla="*/ 2155633 w 2158352"/>
                  <a:gd name="connsiteY5" fmla="*/ 381926 h 2154572"/>
                  <a:gd name="connsiteX6" fmla="*/ 1682104 w 2158352"/>
                  <a:gd name="connsiteY6" fmla="*/ 1062283 h 2154572"/>
                  <a:gd name="connsiteX7" fmla="*/ 2151753 w 2158352"/>
                  <a:gd name="connsiteY7" fmla="*/ 1760533 h 2154572"/>
                  <a:gd name="connsiteX8" fmla="*/ 2157111 w 2158352"/>
                  <a:gd name="connsiteY8" fmla="*/ 2154572 h 2154572"/>
                  <a:gd name="connsiteX9" fmla="*/ 1722924 w 2158352"/>
                  <a:gd name="connsiteY9" fmla="*/ 2145411 h 2154572"/>
                  <a:gd name="connsiteX10" fmla="*/ 1089202 w 2158352"/>
                  <a:gd name="connsiteY10" fmla="*/ 1722971 h 2154572"/>
                  <a:gd name="connsiteX11" fmla="*/ 427525 w 2158352"/>
                  <a:gd name="connsiteY11" fmla="*/ 2153576 h 2154572"/>
                  <a:gd name="connsiteX12" fmla="*/ 260 w 2158352"/>
                  <a:gd name="connsiteY12" fmla="*/ 2153576 h 2154572"/>
                  <a:gd name="connsiteX13" fmla="*/ 260 w 2158352"/>
                  <a:gd name="connsiteY13" fmla="*/ 1756248 h 2154572"/>
                  <a:gd name="connsiteX14" fmla="*/ 476511 w 2158352"/>
                  <a:gd name="connsiteY14" fmla="*/ 1065005 h 2154572"/>
                  <a:gd name="connsiteX15" fmla="*/ 260 w 2158352"/>
                  <a:gd name="connsiteY15" fmla="*/ 390092 h 2154572"/>
                  <a:gd name="connsiteX16" fmla="*/ 261 w 2158352"/>
                  <a:gd name="connsiteY16" fmla="*/ 927 h 2154572"/>
                  <a:gd name="connsiteX0" fmla="*/ 261 w 2158352"/>
                  <a:gd name="connsiteY0" fmla="*/ 927 h 2154572"/>
                  <a:gd name="connsiteX1" fmla="*/ 403526 w 2158352"/>
                  <a:gd name="connsiteY1" fmla="*/ 15462 h 2154572"/>
                  <a:gd name="connsiteX2" fmla="*/ 1083389 w 2158352"/>
                  <a:gd name="connsiteY2" fmla="*/ 463138 h 2154572"/>
                  <a:gd name="connsiteX3" fmla="*/ 1769189 w 2158352"/>
                  <a:gd name="connsiteY3" fmla="*/ 0 h 2154572"/>
                  <a:gd name="connsiteX4" fmla="*/ 2158352 w 2158352"/>
                  <a:gd name="connsiteY4" fmla="*/ 926 h 2154572"/>
                  <a:gd name="connsiteX5" fmla="*/ 2155633 w 2158352"/>
                  <a:gd name="connsiteY5" fmla="*/ 381926 h 2154572"/>
                  <a:gd name="connsiteX6" fmla="*/ 1682104 w 2158352"/>
                  <a:gd name="connsiteY6" fmla="*/ 1062283 h 2154572"/>
                  <a:gd name="connsiteX7" fmla="*/ 2151753 w 2158352"/>
                  <a:gd name="connsiteY7" fmla="*/ 1760533 h 2154572"/>
                  <a:gd name="connsiteX8" fmla="*/ 2157111 w 2158352"/>
                  <a:gd name="connsiteY8" fmla="*/ 2154572 h 2154572"/>
                  <a:gd name="connsiteX9" fmla="*/ 1722924 w 2158352"/>
                  <a:gd name="connsiteY9" fmla="*/ 2145411 h 2154572"/>
                  <a:gd name="connsiteX10" fmla="*/ 1089202 w 2158352"/>
                  <a:gd name="connsiteY10" fmla="*/ 1722971 h 2154572"/>
                  <a:gd name="connsiteX11" fmla="*/ 427525 w 2158352"/>
                  <a:gd name="connsiteY11" fmla="*/ 2153576 h 2154572"/>
                  <a:gd name="connsiteX12" fmla="*/ 260 w 2158352"/>
                  <a:gd name="connsiteY12" fmla="*/ 2153576 h 2154572"/>
                  <a:gd name="connsiteX13" fmla="*/ 260 w 2158352"/>
                  <a:gd name="connsiteY13" fmla="*/ 1756248 h 2154572"/>
                  <a:gd name="connsiteX14" fmla="*/ 476511 w 2158352"/>
                  <a:gd name="connsiteY14" fmla="*/ 1065005 h 2154572"/>
                  <a:gd name="connsiteX15" fmla="*/ 260 w 2158352"/>
                  <a:gd name="connsiteY15" fmla="*/ 390092 h 2154572"/>
                  <a:gd name="connsiteX16" fmla="*/ 261 w 2158352"/>
                  <a:gd name="connsiteY16" fmla="*/ 927 h 2154572"/>
                  <a:gd name="connsiteX0" fmla="*/ 261 w 2158352"/>
                  <a:gd name="connsiteY0" fmla="*/ 5939 h 2159584"/>
                  <a:gd name="connsiteX1" fmla="*/ 403526 w 2158352"/>
                  <a:gd name="connsiteY1" fmla="*/ 20474 h 2159584"/>
                  <a:gd name="connsiteX2" fmla="*/ 1083389 w 2158352"/>
                  <a:gd name="connsiteY2" fmla="*/ 468150 h 2159584"/>
                  <a:gd name="connsiteX3" fmla="*/ 1769189 w 2158352"/>
                  <a:gd name="connsiteY3" fmla="*/ 5012 h 2159584"/>
                  <a:gd name="connsiteX4" fmla="*/ 2158352 w 2158352"/>
                  <a:gd name="connsiteY4" fmla="*/ 0 h 2159584"/>
                  <a:gd name="connsiteX5" fmla="*/ 2155633 w 2158352"/>
                  <a:gd name="connsiteY5" fmla="*/ 386938 h 2159584"/>
                  <a:gd name="connsiteX6" fmla="*/ 1682104 w 2158352"/>
                  <a:gd name="connsiteY6" fmla="*/ 1067295 h 2159584"/>
                  <a:gd name="connsiteX7" fmla="*/ 2151753 w 2158352"/>
                  <a:gd name="connsiteY7" fmla="*/ 1765545 h 2159584"/>
                  <a:gd name="connsiteX8" fmla="*/ 2157111 w 2158352"/>
                  <a:gd name="connsiteY8" fmla="*/ 2159584 h 2159584"/>
                  <a:gd name="connsiteX9" fmla="*/ 1722924 w 2158352"/>
                  <a:gd name="connsiteY9" fmla="*/ 2150423 h 2159584"/>
                  <a:gd name="connsiteX10" fmla="*/ 1089202 w 2158352"/>
                  <a:gd name="connsiteY10" fmla="*/ 1727983 h 2159584"/>
                  <a:gd name="connsiteX11" fmla="*/ 427525 w 2158352"/>
                  <a:gd name="connsiteY11" fmla="*/ 2158588 h 2159584"/>
                  <a:gd name="connsiteX12" fmla="*/ 260 w 2158352"/>
                  <a:gd name="connsiteY12" fmla="*/ 2158588 h 2159584"/>
                  <a:gd name="connsiteX13" fmla="*/ 260 w 2158352"/>
                  <a:gd name="connsiteY13" fmla="*/ 1761260 h 2159584"/>
                  <a:gd name="connsiteX14" fmla="*/ 476511 w 2158352"/>
                  <a:gd name="connsiteY14" fmla="*/ 1070017 h 2159584"/>
                  <a:gd name="connsiteX15" fmla="*/ 260 w 2158352"/>
                  <a:gd name="connsiteY15" fmla="*/ 395104 h 2159584"/>
                  <a:gd name="connsiteX16" fmla="*/ 261 w 2158352"/>
                  <a:gd name="connsiteY16" fmla="*/ 5939 h 2159584"/>
                  <a:gd name="connsiteX0" fmla="*/ 261 w 2158352"/>
                  <a:gd name="connsiteY0" fmla="*/ 6865 h 2160510"/>
                  <a:gd name="connsiteX1" fmla="*/ 403526 w 2158352"/>
                  <a:gd name="connsiteY1" fmla="*/ 21400 h 2160510"/>
                  <a:gd name="connsiteX2" fmla="*/ 1083389 w 2158352"/>
                  <a:gd name="connsiteY2" fmla="*/ 469076 h 2160510"/>
                  <a:gd name="connsiteX3" fmla="*/ 1775127 w 2158352"/>
                  <a:gd name="connsiteY3" fmla="*/ 0 h 2160510"/>
                  <a:gd name="connsiteX4" fmla="*/ 2158352 w 2158352"/>
                  <a:gd name="connsiteY4" fmla="*/ 926 h 2160510"/>
                  <a:gd name="connsiteX5" fmla="*/ 2155633 w 2158352"/>
                  <a:gd name="connsiteY5" fmla="*/ 387864 h 2160510"/>
                  <a:gd name="connsiteX6" fmla="*/ 1682104 w 2158352"/>
                  <a:gd name="connsiteY6" fmla="*/ 1068221 h 2160510"/>
                  <a:gd name="connsiteX7" fmla="*/ 2151753 w 2158352"/>
                  <a:gd name="connsiteY7" fmla="*/ 1766471 h 2160510"/>
                  <a:gd name="connsiteX8" fmla="*/ 2157111 w 2158352"/>
                  <a:gd name="connsiteY8" fmla="*/ 2160510 h 2160510"/>
                  <a:gd name="connsiteX9" fmla="*/ 1722924 w 2158352"/>
                  <a:gd name="connsiteY9" fmla="*/ 2151349 h 2160510"/>
                  <a:gd name="connsiteX10" fmla="*/ 1089202 w 2158352"/>
                  <a:gd name="connsiteY10" fmla="*/ 1728909 h 2160510"/>
                  <a:gd name="connsiteX11" fmla="*/ 427525 w 2158352"/>
                  <a:gd name="connsiteY11" fmla="*/ 2159514 h 2160510"/>
                  <a:gd name="connsiteX12" fmla="*/ 260 w 2158352"/>
                  <a:gd name="connsiteY12" fmla="*/ 2159514 h 2160510"/>
                  <a:gd name="connsiteX13" fmla="*/ 260 w 2158352"/>
                  <a:gd name="connsiteY13" fmla="*/ 1762186 h 2160510"/>
                  <a:gd name="connsiteX14" fmla="*/ 476511 w 2158352"/>
                  <a:gd name="connsiteY14" fmla="*/ 1070943 h 2160510"/>
                  <a:gd name="connsiteX15" fmla="*/ 260 w 2158352"/>
                  <a:gd name="connsiteY15" fmla="*/ 396030 h 2160510"/>
                  <a:gd name="connsiteX16" fmla="*/ 261 w 2158352"/>
                  <a:gd name="connsiteY16" fmla="*/ 6865 h 2160510"/>
                  <a:gd name="connsiteX0" fmla="*/ 261 w 2158352"/>
                  <a:gd name="connsiteY0" fmla="*/ 6865 h 2160510"/>
                  <a:gd name="connsiteX1" fmla="*/ 403526 w 2158352"/>
                  <a:gd name="connsiteY1" fmla="*/ 21400 h 2160510"/>
                  <a:gd name="connsiteX2" fmla="*/ 1071513 w 2158352"/>
                  <a:gd name="connsiteY2" fmla="*/ 445326 h 2160510"/>
                  <a:gd name="connsiteX3" fmla="*/ 1775127 w 2158352"/>
                  <a:gd name="connsiteY3" fmla="*/ 0 h 2160510"/>
                  <a:gd name="connsiteX4" fmla="*/ 2158352 w 2158352"/>
                  <a:gd name="connsiteY4" fmla="*/ 926 h 2160510"/>
                  <a:gd name="connsiteX5" fmla="*/ 2155633 w 2158352"/>
                  <a:gd name="connsiteY5" fmla="*/ 387864 h 2160510"/>
                  <a:gd name="connsiteX6" fmla="*/ 1682104 w 2158352"/>
                  <a:gd name="connsiteY6" fmla="*/ 1068221 h 2160510"/>
                  <a:gd name="connsiteX7" fmla="*/ 2151753 w 2158352"/>
                  <a:gd name="connsiteY7" fmla="*/ 1766471 h 2160510"/>
                  <a:gd name="connsiteX8" fmla="*/ 2157111 w 2158352"/>
                  <a:gd name="connsiteY8" fmla="*/ 2160510 h 2160510"/>
                  <a:gd name="connsiteX9" fmla="*/ 1722924 w 2158352"/>
                  <a:gd name="connsiteY9" fmla="*/ 2151349 h 2160510"/>
                  <a:gd name="connsiteX10" fmla="*/ 1089202 w 2158352"/>
                  <a:gd name="connsiteY10" fmla="*/ 1728909 h 2160510"/>
                  <a:gd name="connsiteX11" fmla="*/ 427525 w 2158352"/>
                  <a:gd name="connsiteY11" fmla="*/ 2159514 h 2160510"/>
                  <a:gd name="connsiteX12" fmla="*/ 260 w 2158352"/>
                  <a:gd name="connsiteY12" fmla="*/ 2159514 h 2160510"/>
                  <a:gd name="connsiteX13" fmla="*/ 260 w 2158352"/>
                  <a:gd name="connsiteY13" fmla="*/ 1762186 h 2160510"/>
                  <a:gd name="connsiteX14" fmla="*/ 476511 w 2158352"/>
                  <a:gd name="connsiteY14" fmla="*/ 1070943 h 2160510"/>
                  <a:gd name="connsiteX15" fmla="*/ 260 w 2158352"/>
                  <a:gd name="connsiteY15" fmla="*/ 396030 h 2160510"/>
                  <a:gd name="connsiteX16" fmla="*/ 261 w 2158352"/>
                  <a:gd name="connsiteY16" fmla="*/ 6865 h 2160510"/>
                  <a:gd name="connsiteX0" fmla="*/ 261 w 2158352"/>
                  <a:gd name="connsiteY0" fmla="*/ 6865 h 2160510"/>
                  <a:gd name="connsiteX1" fmla="*/ 403526 w 2158352"/>
                  <a:gd name="connsiteY1" fmla="*/ 21400 h 2160510"/>
                  <a:gd name="connsiteX2" fmla="*/ 1071513 w 2158352"/>
                  <a:gd name="connsiteY2" fmla="*/ 480952 h 2160510"/>
                  <a:gd name="connsiteX3" fmla="*/ 1775127 w 2158352"/>
                  <a:gd name="connsiteY3" fmla="*/ 0 h 2160510"/>
                  <a:gd name="connsiteX4" fmla="*/ 2158352 w 2158352"/>
                  <a:gd name="connsiteY4" fmla="*/ 926 h 2160510"/>
                  <a:gd name="connsiteX5" fmla="*/ 2155633 w 2158352"/>
                  <a:gd name="connsiteY5" fmla="*/ 387864 h 2160510"/>
                  <a:gd name="connsiteX6" fmla="*/ 1682104 w 2158352"/>
                  <a:gd name="connsiteY6" fmla="*/ 1068221 h 2160510"/>
                  <a:gd name="connsiteX7" fmla="*/ 2151753 w 2158352"/>
                  <a:gd name="connsiteY7" fmla="*/ 1766471 h 2160510"/>
                  <a:gd name="connsiteX8" fmla="*/ 2157111 w 2158352"/>
                  <a:gd name="connsiteY8" fmla="*/ 2160510 h 2160510"/>
                  <a:gd name="connsiteX9" fmla="*/ 1722924 w 2158352"/>
                  <a:gd name="connsiteY9" fmla="*/ 2151349 h 2160510"/>
                  <a:gd name="connsiteX10" fmla="*/ 1089202 w 2158352"/>
                  <a:gd name="connsiteY10" fmla="*/ 1728909 h 2160510"/>
                  <a:gd name="connsiteX11" fmla="*/ 427525 w 2158352"/>
                  <a:gd name="connsiteY11" fmla="*/ 2159514 h 2160510"/>
                  <a:gd name="connsiteX12" fmla="*/ 260 w 2158352"/>
                  <a:gd name="connsiteY12" fmla="*/ 2159514 h 2160510"/>
                  <a:gd name="connsiteX13" fmla="*/ 260 w 2158352"/>
                  <a:gd name="connsiteY13" fmla="*/ 1762186 h 2160510"/>
                  <a:gd name="connsiteX14" fmla="*/ 476511 w 2158352"/>
                  <a:gd name="connsiteY14" fmla="*/ 1070943 h 2160510"/>
                  <a:gd name="connsiteX15" fmla="*/ 260 w 2158352"/>
                  <a:gd name="connsiteY15" fmla="*/ 396030 h 2160510"/>
                  <a:gd name="connsiteX16" fmla="*/ 261 w 2158352"/>
                  <a:gd name="connsiteY16" fmla="*/ 6865 h 2160510"/>
                  <a:gd name="connsiteX0" fmla="*/ 261 w 2158352"/>
                  <a:gd name="connsiteY0" fmla="*/ 6865 h 2160510"/>
                  <a:gd name="connsiteX1" fmla="*/ 403526 w 2158352"/>
                  <a:gd name="connsiteY1" fmla="*/ 21400 h 2160510"/>
                  <a:gd name="connsiteX2" fmla="*/ 1071513 w 2158352"/>
                  <a:gd name="connsiteY2" fmla="*/ 480952 h 2160510"/>
                  <a:gd name="connsiteX3" fmla="*/ 1775127 w 2158352"/>
                  <a:gd name="connsiteY3" fmla="*/ 0 h 2160510"/>
                  <a:gd name="connsiteX4" fmla="*/ 2158352 w 2158352"/>
                  <a:gd name="connsiteY4" fmla="*/ 926 h 2160510"/>
                  <a:gd name="connsiteX5" fmla="*/ 2155633 w 2158352"/>
                  <a:gd name="connsiteY5" fmla="*/ 387864 h 2160510"/>
                  <a:gd name="connsiteX6" fmla="*/ 1682104 w 2158352"/>
                  <a:gd name="connsiteY6" fmla="*/ 1068221 h 2160510"/>
                  <a:gd name="connsiteX7" fmla="*/ 2151753 w 2158352"/>
                  <a:gd name="connsiteY7" fmla="*/ 1766471 h 2160510"/>
                  <a:gd name="connsiteX8" fmla="*/ 2157111 w 2158352"/>
                  <a:gd name="connsiteY8" fmla="*/ 2160510 h 2160510"/>
                  <a:gd name="connsiteX9" fmla="*/ 1722924 w 2158352"/>
                  <a:gd name="connsiteY9" fmla="*/ 2151349 h 2160510"/>
                  <a:gd name="connsiteX10" fmla="*/ 1089202 w 2158352"/>
                  <a:gd name="connsiteY10" fmla="*/ 1728909 h 2160510"/>
                  <a:gd name="connsiteX11" fmla="*/ 427525 w 2158352"/>
                  <a:gd name="connsiteY11" fmla="*/ 2159514 h 2160510"/>
                  <a:gd name="connsiteX12" fmla="*/ 260 w 2158352"/>
                  <a:gd name="connsiteY12" fmla="*/ 2159514 h 2160510"/>
                  <a:gd name="connsiteX13" fmla="*/ 18073 w 2158352"/>
                  <a:gd name="connsiteY13" fmla="*/ 1750311 h 2160510"/>
                  <a:gd name="connsiteX14" fmla="*/ 476511 w 2158352"/>
                  <a:gd name="connsiteY14" fmla="*/ 1070943 h 2160510"/>
                  <a:gd name="connsiteX15" fmla="*/ 260 w 2158352"/>
                  <a:gd name="connsiteY15" fmla="*/ 396030 h 2160510"/>
                  <a:gd name="connsiteX16" fmla="*/ 261 w 2158352"/>
                  <a:gd name="connsiteY16" fmla="*/ 6865 h 2160510"/>
                  <a:gd name="connsiteX0" fmla="*/ 261 w 2158352"/>
                  <a:gd name="connsiteY0" fmla="*/ 6865 h 2160510"/>
                  <a:gd name="connsiteX1" fmla="*/ 403526 w 2158352"/>
                  <a:gd name="connsiteY1" fmla="*/ 21400 h 2160510"/>
                  <a:gd name="connsiteX2" fmla="*/ 1071513 w 2158352"/>
                  <a:gd name="connsiteY2" fmla="*/ 480952 h 2160510"/>
                  <a:gd name="connsiteX3" fmla="*/ 1775127 w 2158352"/>
                  <a:gd name="connsiteY3" fmla="*/ 0 h 2160510"/>
                  <a:gd name="connsiteX4" fmla="*/ 2158352 w 2158352"/>
                  <a:gd name="connsiteY4" fmla="*/ 926 h 2160510"/>
                  <a:gd name="connsiteX5" fmla="*/ 2155633 w 2158352"/>
                  <a:gd name="connsiteY5" fmla="*/ 387864 h 2160510"/>
                  <a:gd name="connsiteX6" fmla="*/ 1682104 w 2158352"/>
                  <a:gd name="connsiteY6" fmla="*/ 1068221 h 2160510"/>
                  <a:gd name="connsiteX7" fmla="*/ 2151753 w 2158352"/>
                  <a:gd name="connsiteY7" fmla="*/ 1766471 h 2160510"/>
                  <a:gd name="connsiteX8" fmla="*/ 2157111 w 2158352"/>
                  <a:gd name="connsiteY8" fmla="*/ 2160510 h 2160510"/>
                  <a:gd name="connsiteX9" fmla="*/ 1722924 w 2158352"/>
                  <a:gd name="connsiteY9" fmla="*/ 2151349 h 2160510"/>
                  <a:gd name="connsiteX10" fmla="*/ 1089202 w 2158352"/>
                  <a:gd name="connsiteY10" fmla="*/ 1728909 h 2160510"/>
                  <a:gd name="connsiteX11" fmla="*/ 427525 w 2158352"/>
                  <a:gd name="connsiteY11" fmla="*/ 2159514 h 2160510"/>
                  <a:gd name="connsiteX12" fmla="*/ 260 w 2158352"/>
                  <a:gd name="connsiteY12" fmla="*/ 2159514 h 2160510"/>
                  <a:gd name="connsiteX13" fmla="*/ 260 w 2158352"/>
                  <a:gd name="connsiteY13" fmla="*/ 1750311 h 2160510"/>
                  <a:gd name="connsiteX14" fmla="*/ 476511 w 2158352"/>
                  <a:gd name="connsiteY14" fmla="*/ 1070943 h 2160510"/>
                  <a:gd name="connsiteX15" fmla="*/ 260 w 2158352"/>
                  <a:gd name="connsiteY15" fmla="*/ 396030 h 2160510"/>
                  <a:gd name="connsiteX16" fmla="*/ 261 w 2158352"/>
                  <a:gd name="connsiteY16" fmla="*/ 6865 h 2160510"/>
                  <a:gd name="connsiteX0" fmla="*/ 261 w 2158352"/>
                  <a:gd name="connsiteY0" fmla="*/ 6865 h 2160510"/>
                  <a:gd name="connsiteX1" fmla="*/ 403526 w 2158352"/>
                  <a:gd name="connsiteY1" fmla="*/ 21400 h 2160510"/>
                  <a:gd name="connsiteX2" fmla="*/ 1071513 w 2158352"/>
                  <a:gd name="connsiteY2" fmla="*/ 480952 h 2160510"/>
                  <a:gd name="connsiteX3" fmla="*/ 1775127 w 2158352"/>
                  <a:gd name="connsiteY3" fmla="*/ 0 h 2160510"/>
                  <a:gd name="connsiteX4" fmla="*/ 2158352 w 2158352"/>
                  <a:gd name="connsiteY4" fmla="*/ 926 h 2160510"/>
                  <a:gd name="connsiteX5" fmla="*/ 2155633 w 2158352"/>
                  <a:gd name="connsiteY5" fmla="*/ 387864 h 2160510"/>
                  <a:gd name="connsiteX6" fmla="*/ 1682104 w 2158352"/>
                  <a:gd name="connsiteY6" fmla="*/ 1068221 h 2160510"/>
                  <a:gd name="connsiteX7" fmla="*/ 2151753 w 2158352"/>
                  <a:gd name="connsiteY7" fmla="*/ 1766471 h 2160510"/>
                  <a:gd name="connsiteX8" fmla="*/ 2157111 w 2158352"/>
                  <a:gd name="connsiteY8" fmla="*/ 2160510 h 2160510"/>
                  <a:gd name="connsiteX9" fmla="*/ 1722924 w 2158352"/>
                  <a:gd name="connsiteY9" fmla="*/ 2151349 h 2160510"/>
                  <a:gd name="connsiteX10" fmla="*/ 1089202 w 2158352"/>
                  <a:gd name="connsiteY10" fmla="*/ 1728909 h 2160510"/>
                  <a:gd name="connsiteX11" fmla="*/ 427525 w 2158352"/>
                  <a:gd name="connsiteY11" fmla="*/ 2159514 h 2160510"/>
                  <a:gd name="connsiteX12" fmla="*/ 260 w 2158352"/>
                  <a:gd name="connsiteY12" fmla="*/ 2159514 h 2160510"/>
                  <a:gd name="connsiteX13" fmla="*/ 260 w 2158352"/>
                  <a:gd name="connsiteY13" fmla="*/ 1756249 h 2160510"/>
                  <a:gd name="connsiteX14" fmla="*/ 476511 w 2158352"/>
                  <a:gd name="connsiteY14" fmla="*/ 1070943 h 2160510"/>
                  <a:gd name="connsiteX15" fmla="*/ 260 w 2158352"/>
                  <a:gd name="connsiteY15" fmla="*/ 396030 h 2160510"/>
                  <a:gd name="connsiteX16" fmla="*/ 261 w 2158352"/>
                  <a:gd name="connsiteY16" fmla="*/ 6865 h 2160510"/>
                  <a:gd name="connsiteX0" fmla="*/ 261 w 2158352"/>
                  <a:gd name="connsiteY0" fmla="*/ 6865 h 2160510"/>
                  <a:gd name="connsiteX1" fmla="*/ 403526 w 2158352"/>
                  <a:gd name="connsiteY1" fmla="*/ 21400 h 2160510"/>
                  <a:gd name="connsiteX2" fmla="*/ 1071513 w 2158352"/>
                  <a:gd name="connsiteY2" fmla="*/ 480952 h 2160510"/>
                  <a:gd name="connsiteX3" fmla="*/ 1775127 w 2158352"/>
                  <a:gd name="connsiteY3" fmla="*/ 0 h 2160510"/>
                  <a:gd name="connsiteX4" fmla="*/ 2158352 w 2158352"/>
                  <a:gd name="connsiteY4" fmla="*/ 926 h 2160510"/>
                  <a:gd name="connsiteX5" fmla="*/ 2155633 w 2158352"/>
                  <a:gd name="connsiteY5" fmla="*/ 387864 h 2160510"/>
                  <a:gd name="connsiteX6" fmla="*/ 1682104 w 2158352"/>
                  <a:gd name="connsiteY6" fmla="*/ 1068221 h 2160510"/>
                  <a:gd name="connsiteX7" fmla="*/ 2151753 w 2158352"/>
                  <a:gd name="connsiteY7" fmla="*/ 1766471 h 2160510"/>
                  <a:gd name="connsiteX8" fmla="*/ 2157111 w 2158352"/>
                  <a:gd name="connsiteY8" fmla="*/ 2160510 h 2160510"/>
                  <a:gd name="connsiteX9" fmla="*/ 1722924 w 2158352"/>
                  <a:gd name="connsiteY9" fmla="*/ 2151349 h 2160510"/>
                  <a:gd name="connsiteX10" fmla="*/ 1089202 w 2158352"/>
                  <a:gd name="connsiteY10" fmla="*/ 1728909 h 2160510"/>
                  <a:gd name="connsiteX11" fmla="*/ 427525 w 2158352"/>
                  <a:gd name="connsiteY11" fmla="*/ 2159514 h 2160510"/>
                  <a:gd name="connsiteX12" fmla="*/ 260 w 2158352"/>
                  <a:gd name="connsiteY12" fmla="*/ 2159514 h 2160510"/>
                  <a:gd name="connsiteX13" fmla="*/ 260 w 2158352"/>
                  <a:gd name="connsiteY13" fmla="*/ 1756249 h 2160510"/>
                  <a:gd name="connsiteX14" fmla="*/ 464635 w 2158352"/>
                  <a:gd name="connsiteY14" fmla="*/ 1106569 h 2160510"/>
                  <a:gd name="connsiteX15" fmla="*/ 260 w 2158352"/>
                  <a:gd name="connsiteY15" fmla="*/ 396030 h 2160510"/>
                  <a:gd name="connsiteX16" fmla="*/ 261 w 2158352"/>
                  <a:gd name="connsiteY16" fmla="*/ 6865 h 2160510"/>
                  <a:gd name="connsiteX0" fmla="*/ 261 w 2158352"/>
                  <a:gd name="connsiteY0" fmla="*/ 6865 h 2181294"/>
                  <a:gd name="connsiteX1" fmla="*/ 403526 w 2158352"/>
                  <a:gd name="connsiteY1" fmla="*/ 21400 h 2181294"/>
                  <a:gd name="connsiteX2" fmla="*/ 1071513 w 2158352"/>
                  <a:gd name="connsiteY2" fmla="*/ 480952 h 2181294"/>
                  <a:gd name="connsiteX3" fmla="*/ 1775127 w 2158352"/>
                  <a:gd name="connsiteY3" fmla="*/ 0 h 2181294"/>
                  <a:gd name="connsiteX4" fmla="*/ 2158352 w 2158352"/>
                  <a:gd name="connsiteY4" fmla="*/ 926 h 2181294"/>
                  <a:gd name="connsiteX5" fmla="*/ 2155633 w 2158352"/>
                  <a:gd name="connsiteY5" fmla="*/ 387864 h 2181294"/>
                  <a:gd name="connsiteX6" fmla="*/ 1682104 w 2158352"/>
                  <a:gd name="connsiteY6" fmla="*/ 1068221 h 2181294"/>
                  <a:gd name="connsiteX7" fmla="*/ 2151753 w 2158352"/>
                  <a:gd name="connsiteY7" fmla="*/ 1766471 h 2181294"/>
                  <a:gd name="connsiteX8" fmla="*/ 2157111 w 2158352"/>
                  <a:gd name="connsiteY8" fmla="*/ 2160510 h 2181294"/>
                  <a:gd name="connsiteX9" fmla="*/ 1722924 w 2158352"/>
                  <a:gd name="connsiteY9" fmla="*/ 2181294 h 2181294"/>
                  <a:gd name="connsiteX10" fmla="*/ 1089202 w 2158352"/>
                  <a:gd name="connsiteY10" fmla="*/ 1728909 h 2181294"/>
                  <a:gd name="connsiteX11" fmla="*/ 427525 w 2158352"/>
                  <a:gd name="connsiteY11" fmla="*/ 2159514 h 2181294"/>
                  <a:gd name="connsiteX12" fmla="*/ 260 w 2158352"/>
                  <a:gd name="connsiteY12" fmla="*/ 2159514 h 2181294"/>
                  <a:gd name="connsiteX13" fmla="*/ 260 w 2158352"/>
                  <a:gd name="connsiteY13" fmla="*/ 1756249 h 2181294"/>
                  <a:gd name="connsiteX14" fmla="*/ 464635 w 2158352"/>
                  <a:gd name="connsiteY14" fmla="*/ 1106569 h 2181294"/>
                  <a:gd name="connsiteX15" fmla="*/ 260 w 2158352"/>
                  <a:gd name="connsiteY15" fmla="*/ 396030 h 2181294"/>
                  <a:gd name="connsiteX16" fmla="*/ 261 w 2158352"/>
                  <a:gd name="connsiteY16" fmla="*/ 6865 h 2181294"/>
                  <a:gd name="connsiteX0" fmla="*/ 261 w 2158352"/>
                  <a:gd name="connsiteY0" fmla="*/ 6865 h 2181294"/>
                  <a:gd name="connsiteX1" fmla="*/ 403526 w 2158352"/>
                  <a:gd name="connsiteY1" fmla="*/ 21400 h 2181294"/>
                  <a:gd name="connsiteX2" fmla="*/ 1071513 w 2158352"/>
                  <a:gd name="connsiteY2" fmla="*/ 480952 h 2181294"/>
                  <a:gd name="connsiteX3" fmla="*/ 1775127 w 2158352"/>
                  <a:gd name="connsiteY3" fmla="*/ 0 h 2181294"/>
                  <a:gd name="connsiteX4" fmla="*/ 2158352 w 2158352"/>
                  <a:gd name="connsiteY4" fmla="*/ 926 h 2181294"/>
                  <a:gd name="connsiteX5" fmla="*/ 2155633 w 2158352"/>
                  <a:gd name="connsiteY5" fmla="*/ 387864 h 2181294"/>
                  <a:gd name="connsiteX6" fmla="*/ 1682104 w 2158352"/>
                  <a:gd name="connsiteY6" fmla="*/ 1068221 h 2181294"/>
                  <a:gd name="connsiteX7" fmla="*/ 2151753 w 2158352"/>
                  <a:gd name="connsiteY7" fmla="*/ 1766471 h 2181294"/>
                  <a:gd name="connsiteX8" fmla="*/ 2157111 w 2158352"/>
                  <a:gd name="connsiteY8" fmla="*/ 2170492 h 2181294"/>
                  <a:gd name="connsiteX9" fmla="*/ 1722924 w 2158352"/>
                  <a:gd name="connsiteY9" fmla="*/ 2181294 h 2181294"/>
                  <a:gd name="connsiteX10" fmla="*/ 1089202 w 2158352"/>
                  <a:gd name="connsiteY10" fmla="*/ 1728909 h 2181294"/>
                  <a:gd name="connsiteX11" fmla="*/ 427525 w 2158352"/>
                  <a:gd name="connsiteY11" fmla="*/ 2159514 h 2181294"/>
                  <a:gd name="connsiteX12" fmla="*/ 260 w 2158352"/>
                  <a:gd name="connsiteY12" fmla="*/ 2159514 h 2181294"/>
                  <a:gd name="connsiteX13" fmla="*/ 260 w 2158352"/>
                  <a:gd name="connsiteY13" fmla="*/ 1756249 h 2181294"/>
                  <a:gd name="connsiteX14" fmla="*/ 464635 w 2158352"/>
                  <a:gd name="connsiteY14" fmla="*/ 1106569 h 2181294"/>
                  <a:gd name="connsiteX15" fmla="*/ 260 w 2158352"/>
                  <a:gd name="connsiteY15" fmla="*/ 396030 h 2181294"/>
                  <a:gd name="connsiteX16" fmla="*/ 261 w 2158352"/>
                  <a:gd name="connsiteY16" fmla="*/ 6865 h 2181294"/>
                  <a:gd name="connsiteX0" fmla="*/ 261 w 2158352"/>
                  <a:gd name="connsiteY0" fmla="*/ 6865 h 2176303"/>
                  <a:gd name="connsiteX1" fmla="*/ 403526 w 2158352"/>
                  <a:gd name="connsiteY1" fmla="*/ 21400 h 2176303"/>
                  <a:gd name="connsiteX2" fmla="*/ 1071513 w 2158352"/>
                  <a:gd name="connsiteY2" fmla="*/ 480952 h 2176303"/>
                  <a:gd name="connsiteX3" fmla="*/ 1775127 w 2158352"/>
                  <a:gd name="connsiteY3" fmla="*/ 0 h 2176303"/>
                  <a:gd name="connsiteX4" fmla="*/ 2158352 w 2158352"/>
                  <a:gd name="connsiteY4" fmla="*/ 926 h 2176303"/>
                  <a:gd name="connsiteX5" fmla="*/ 2155633 w 2158352"/>
                  <a:gd name="connsiteY5" fmla="*/ 387864 h 2176303"/>
                  <a:gd name="connsiteX6" fmla="*/ 1682104 w 2158352"/>
                  <a:gd name="connsiteY6" fmla="*/ 1068221 h 2176303"/>
                  <a:gd name="connsiteX7" fmla="*/ 2151753 w 2158352"/>
                  <a:gd name="connsiteY7" fmla="*/ 1766471 h 2176303"/>
                  <a:gd name="connsiteX8" fmla="*/ 2157111 w 2158352"/>
                  <a:gd name="connsiteY8" fmla="*/ 2170492 h 2176303"/>
                  <a:gd name="connsiteX9" fmla="*/ 1718451 w 2158352"/>
                  <a:gd name="connsiteY9" fmla="*/ 2176303 h 2176303"/>
                  <a:gd name="connsiteX10" fmla="*/ 1089202 w 2158352"/>
                  <a:gd name="connsiteY10" fmla="*/ 1728909 h 2176303"/>
                  <a:gd name="connsiteX11" fmla="*/ 427525 w 2158352"/>
                  <a:gd name="connsiteY11" fmla="*/ 2159514 h 2176303"/>
                  <a:gd name="connsiteX12" fmla="*/ 260 w 2158352"/>
                  <a:gd name="connsiteY12" fmla="*/ 2159514 h 2176303"/>
                  <a:gd name="connsiteX13" fmla="*/ 260 w 2158352"/>
                  <a:gd name="connsiteY13" fmla="*/ 1756249 h 2176303"/>
                  <a:gd name="connsiteX14" fmla="*/ 464635 w 2158352"/>
                  <a:gd name="connsiteY14" fmla="*/ 1106569 h 2176303"/>
                  <a:gd name="connsiteX15" fmla="*/ 260 w 2158352"/>
                  <a:gd name="connsiteY15" fmla="*/ 396030 h 2176303"/>
                  <a:gd name="connsiteX16" fmla="*/ 261 w 2158352"/>
                  <a:gd name="connsiteY16" fmla="*/ 6865 h 2176303"/>
                  <a:gd name="connsiteX0" fmla="*/ 8948 w 2167039"/>
                  <a:gd name="connsiteY0" fmla="*/ 6865 h 2176303"/>
                  <a:gd name="connsiteX1" fmla="*/ 412213 w 2167039"/>
                  <a:gd name="connsiteY1" fmla="*/ 21400 h 2176303"/>
                  <a:gd name="connsiteX2" fmla="*/ 1080200 w 2167039"/>
                  <a:gd name="connsiteY2" fmla="*/ 480952 h 2176303"/>
                  <a:gd name="connsiteX3" fmla="*/ 1783814 w 2167039"/>
                  <a:gd name="connsiteY3" fmla="*/ 0 h 2176303"/>
                  <a:gd name="connsiteX4" fmla="*/ 2167039 w 2167039"/>
                  <a:gd name="connsiteY4" fmla="*/ 926 h 2176303"/>
                  <a:gd name="connsiteX5" fmla="*/ 2164320 w 2167039"/>
                  <a:gd name="connsiteY5" fmla="*/ 387864 h 2176303"/>
                  <a:gd name="connsiteX6" fmla="*/ 1690791 w 2167039"/>
                  <a:gd name="connsiteY6" fmla="*/ 1068221 h 2176303"/>
                  <a:gd name="connsiteX7" fmla="*/ 2160440 w 2167039"/>
                  <a:gd name="connsiteY7" fmla="*/ 1766471 h 2176303"/>
                  <a:gd name="connsiteX8" fmla="*/ 2165798 w 2167039"/>
                  <a:gd name="connsiteY8" fmla="*/ 2170492 h 2176303"/>
                  <a:gd name="connsiteX9" fmla="*/ 1727138 w 2167039"/>
                  <a:gd name="connsiteY9" fmla="*/ 2176303 h 2176303"/>
                  <a:gd name="connsiteX10" fmla="*/ 1097889 w 2167039"/>
                  <a:gd name="connsiteY10" fmla="*/ 1728909 h 2176303"/>
                  <a:gd name="connsiteX11" fmla="*/ 436212 w 2167039"/>
                  <a:gd name="connsiteY11" fmla="*/ 2159514 h 2176303"/>
                  <a:gd name="connsiteX12" fmla="*/ 0 w 2167039"/>
                  <a:gd name="connsiteY12" fmla="*/ 2169496 h 2176303"/>
                  <a:gd name="connsiteX13" fmla="*/ 8947 w 2167039"/>
                  <a:gd name="connsiteY13" fmla="*/ 1756249 h 2176303"/>
                  <a:gd name="connsiteX14" fmla="*/ 473322 w 2167039"/>
                  <a:gd name="connsiteY14" fmla="*/ 1106569 h 2176303"/>
                  <a:gd name="connsiteX15" fmla="*/ 8947 w 2167039"/>
                  <a:gd name="connsiteY15" fmla="*/ 396030 h 2176303"/>
                  <a:gd name="connsiteX16" fmla="*/ 8948 w 2167039"/>
                  <a:gd name="connsiteY16" fmla="*/ 6865 h 2176303"/>
                  <a:gd name="connsiteX0" fmla="*/ 8948 w 2167039"/>
                  <a:gd name="connsiteY0" fmla="*/ 6865 h 2176303"/>
                  <a:gd name="connsiteX1" fmla="*/ 412213 w 2167039"/>
                  <a:gd name="connsiteY1" fmla="*/ 21400 h 2176303"/>
                  <a:gd name="connsiteX2" fmla="*/ 1080200 w 2167039"/>
                  <a:gd name="connsiteY2" fmla="*/ 480952 h 2176303"/>
                  <a:gd name="connsiteX3" fmla="*/ 1783814 w 2167039"/>
                  <a:gd name="connsiteY3" fmla="*/ 0 h 2176303"/>
                  <a:gd name="connsiteX4" fmla="*/ 2167039 w 2167039"/>
                  <a:gd name="connsiteY4" fmla="*/ 926 h 2176303"/>
                  <a:gd name="connsiteX5" fmla="*/ 2164320 w 2167039"/>
                  <a:gd name="connsiteY5" fmla="*/ 387864 h 2176303"/>
                  <a:gd name="connsiteX6" fmla="*/ 1690791 w 2167039"/>
                  <a:gd name="connsiteY6" fmla="*/ 1068221 h 2176303"/>
                  <a:gd name="connsiteX7" fmla="*/ 2160440 w 2167039"/>
                  <a:gd name="connsiteY7" fmla="*/ 1766471 h 2176303"/>
                  <a:gd name="connsiteX8" fmla="*/ 2165798 w 2167039"/>
                  <a:gd name="connsiteY8" fmla="*/ 2170492 h 2176303"/>
                  <a:gd name="connsiteX9" fmla="*/ 1727138 w 2167039"/>
                  <a:gd name="connsiteY9" fmla="*/ 2176303 h 2176303"/>
                  <a:gd name="connsiteX10" fmla="*/ 1097889 w 2167039"/>
                  <a:gd name="connsiteY10" fmla="*/ 1728909 h 2176303"/>
                  <a:gd name="connsiteX11" fmla="*/ 436212 w 2167039"/>
                  <a:gd name="connsiteY11" fmla="*/ 2174487 h 2176303"/>
                  <a:gd name="connsiteX12" fmla="*/ 0 w 2167039"/>
                  <a:gd name="connsiteY12" fmla="*/ 2169496 h 2176303"/>
                  <a:gd name="connsiteX13" fmla="*/ 8947 w 2167039"/>
                  <a:gd name="connsiteY13" fmla="*/ 1756249 h 2176303"/>
                  <a:gd name="connsiteX14" fmla="*/ 473322 w 2167039"/>
                  <a:gd name="connsiteY14" fmla="*/ 1106569 h 2176303"/>
                  <a:gd name="connsiteX15" fmla="*/ 8947 w 2167039"/>
                  <a:gd name="connsiteY15" fmla="*/ 396030 h 2176303"/>
                  <a:gd name="connsiteX16" fmla="*/ 8948 w 2167039"/>
                  <a:gd name="connsiteY16" fmla="*/ 6865 h 2176303"/>
                  <a:gd name="connsiteX0" fmla="*/ 8948 w 2167039"/>
                  <a:gd name="connsiteY0" fmla="*/ 6865 h 2176303"/>
                  <a:gd name="connsiteX1" fmla="*/ 412213 w 2167039"/>
                  <a:gd name="connsiteY1" fmla="*/ 21400 h 2176303"/>
                  <a:gd name="connsiteX2" fmla="*/ 1080200 w 2167039"/>
                  <a:gd name="connsiteY2" fmla="*/ 480952 h 2176303"/>
                  <a:gd name="connsiteX3" fmla="*/ 1783814 w 2167039"/>
                  <a:gd name="connsiteY3" fmla="*/ 0 h 2176303"/>
                  <a:gd name="connsiteX4" fmla="*/ 2167039 w 2167039"/>
                  <a:gd name="connsiteY4" fmla="*/ 926 h 2176303"/>
                  <a:gd name="connsiteX5" fmla="*/ 2164320 w 2167039"/>
                  <a:gd name="connsiteY5" fmla="*/ 387864 h 2176303"/>
                  <a:gd name="connsiteX6" fmla="*/ 1690791 w 2167039"/>
                  <a:gd name="connsiteY6" fmla="*/ 1068221 h 2176303"/>
                  <a:gd name="connsiteX7" fmla="*/ 2160440 w 2167039"/>
                  <a:gd name="connsiteY7" fmla="*/ 1766471 h 2176303"/>
                  <a:gd name="connsiteX8" fmla="*/ 2165798 w 2167039"/>
                  <a:gd name="connsiteY8" fmla="*/ 2170492 h 2176303"/>
                  <a:gd name="connsiteX9" fmla="*/ 1727138 w 2167039"/>
                  <a:gd name="connsiteY9" fmla="*/ 2176303 h 2176303"/>
                  <a:gd name="connsiteX10" fmla="*/ 436212 w 2167039"/>
                  <a:gd name="connsiteY10" fmla="*/ 2174487 h 2176303"/>
                  <a:gd name="connsiteX11" fmla="*/ 0 w 2167039"/>
                  <a:gd name="connsiteY11" fmla="*/ 2169496 h 2176303"/>
                  <a:gd name="connsiteX12" fmla="*/ 8947 w 2167039"/>
                  <a:gd name="connsiteY12" fmla="*/ 1756249 h 2176303"/>
                  <a:gd name="connsiteX13" fmla="*/ 473322 w 2167039"/>
                  <a:gd name="connsiteY13" fmla="*/ 1106569 h 2176303"/>
                  <a:gd name="connsiteX14" fmla="*/ 8947 w 2167039"/>
                  <a:gd name="connsiteY14" fmla="*/ 396030 h 2176303"/>
                  <a:gd name="connsiteX15" fmla="*/ 8948 w 2167039"/>
                  <a:gd name="connsiteY15" fmla="*/ 6865 h 2176303"/>
                  <a:gd name="connsiteX0" fmla="*/ 8948 w 2167039"/>
                  <a:gd name="connsiteY0" fmla="*/ 6865 h 2174487"/>
                  <a:gd name="connsiteX1" fmla="*/ 412213 w 2167039"/>
                  <a:gd name="connsiteY1" fmla="*/ 21400 h 2174487"/>
                  <a:gd name="connsiteX2" fmla="*/ 1080200 w 2167039"/>
                  <a:gd name="connsiteY2" fmla="*/ 480952 h 2174487"/>
                  <a:gd name="connsiteX3" fmla="*/ 1783814 w 2167039"/>
                  <a:gd name="connsiteY3" fmla="*/ 0 h 2174487"/>
                  <a:gd name="connsiteX4" fmla="*/ 2167039 w 2167039"/>
                  <a:gd name="connsiteY4" fmla="*/ 926 h 2174487"/>
                  <a:gd name="connsiteX5" fmla="*/ 2164320 w 2167039"/>
                  <a:gd name="connsiteY5" fmla="*/ 387864 h 2174487"/>
                  <a:gd name="connsiteX6" fmla="*/ 1690791 w 2167039"/>
                  <a:gd name="connsiteY6" fmla="*/ 1068221 h 2174487"/>
                  <a:gd name="connsiteX7" fmla="*/ 2160440 w 2167039"/>
                  <a:gd name="connsiteY7" fmla="*/ 1766471 h 2174487"/>
                  <a:gd name="connsiteX8" fmla="*/ 2165798 w 2167039"/>
                  <a:gd name="connsiteY8" fmla="*/ 2170492 h 2174487"/>
                  <a:gd name="connsiteX9" fmla="*/ 436212 w 2167039"/>
                  <a:gd name="connsiteY9" fmla="*/ 2174487 h 2174487"/>
                  <a:gd name="connsiteX10" fmla="*/ 0 w 2167039"/>
                  <a:gd name="connsiteY10" fmla="*/ 2169496 h 2174487"/>
                  <a:gd name="connsiteX11" fmla="*/ 8947 w 2167039"/>
                  <a:gd name="connsiteY11" fmla="*/ 1756249 h 2174487"/>
                  <a:gd name="connsiteX12" fmla="*/ 473322 w 2167039"/>
                  <a:gd name="connsiteY12" fmla="*/ 1106569 h 2174487"/>
                  <a:gd name="connsiteX13" fmla="*/ 8947 w 2167039"/>
                  <a:gd name="connsiteY13" fmla="*/ 396030 h 2174487"/>
                  <a:gd name="connsiteX14" fmla="*/ 8948 w 2167039"/>
                  <a:gd name="connsiteY14" fmla="*/ 6865 h 2174487"/>
                  <a:gd name="connsiteX0" fmla="*/ 8948 w 2167039"/>
                  <a:gd name="connsiteY0" fmla="*/ 6865 h 2170492"/>
                  <a:gd name="connsiteX1" fmla="*/ 412213 w 2167039"/>
                  <a:gd name="connsiteY1" fmla="*/ 21400 h 2170492"/>
                  <a:gd name="connsiteX2" fmla="*/ 1080200 w 2167039"/>
                  <a:gd name="connsiteY2" fmla="*/ 480952 h 2170492"/>
                  <a:gd name="connsiteX3" fmla="*/ 1783814 w 2167039"/>
                  <a:gd name="connsiteY3" fmla="*/ 0 h 2170492"/>
                  <a:gd name="connsiteX4" fmla="*/ 2167039 w 2167039"/>
                  <a:gd name="connsiteY4" fmla="*/ 926 h 2170492"/>
                  <a:gd name="connsiteX5" fmla="*/ 2164320 w 2167039"/>
                  <a:gd name="connsiteY5" fmla="*/ 387864 h 2170492"/>
                  <a:gd name="connsiteX6" fmla="*/ 1690791 w 2167039"/>
                  <a:gd name="connsiteY6" fmla="*/ 1068221 h 2170492"/>
                  <a:gd name="connsiteX7" fmla="*/ 2160440 w 2167039"/>
                  <a:gd name="connsiteY7" fmla="*/ 1766471 h 2170492"/>
                  <a:gd name="connsiteX8" fmla="*/ 2165798 w 2167039"/>
                  <a:gd name="connsiteY8" fmla="*/ 2170492 h 2170492"/>
                  <a:gd name="connsiteX9" fmla="*/ 0 w 2167039"/>
                  <a:gd name="connsiteY9" fmla="*/ 2169496 h 2170492"/>
                  <a:gd name="connsiteX10" fmla="*/ 8947 w 2167039"/>
                  <a:gd name="connsiteY10" fmla="*/ 1756249 h 2170492"/>
                  <a:gd name="connsiteX11" fmla="*/ 473322 w 2167039"/>
                  <a:gd name="connsiteY11" fmla="*/ 1106569 h 2170492"/>
                  <a:gd name="connsiteX12" fmla="*/ 8947 w 2167039"/>
                  <a:gd name="connsiteY12" fmla="*/ 396030 h 2170492"/>
                  <a:gd name="connsiteX13" fmla="*/ 8948 w 2167039"/>
                  <a:gd name="connsiteY13" fmla="*/ 6865 h 2170492"/>
                  <a:gd name="connsiteX0" fmla="*/ 8948 w 2167039"/>
                  <a:gd name="connsiteY0" fmla="*/ 6865 h 2170492"/>
                  <a:gd name="connsiteX1" fmla="*/ 412213 w 2167039"/>
                  <a:gd name="connsiteY1" fmla="*/ 21400 h 2170492"/>
                  <a:gd name="connsiteX2" fmla="*/ 1080200 w 2167039"/>
                  <a:gd name="connsiteY2" fmla="*/ 480952 h 2170492"/>
                  <a:gd name="connsiteX3" fmla="*/ 1783814 w 2167039"/>
                  <a:gd name="connsiteY3" fmla="*/ 0 h 2170492"/>
                  <a:gd name="connsiteX4" fmla="*/ 2167039 w 2167039"/>
                  <a:gd name="connsiteY4" fmla="*/ 926 h 2170492"/>
                  <a:gd name="connsiteX5" fmla="*/ 2164320 w 2167039"/>
                  <a:gd name="connsiteY5" fmla="*/ 387864 h 2170492"/>
                  <a:gd name="connsiteX6" fmla="*/ 1690791 w 2167039"/>
                  <a:gd name="connsiteY6" fmla="*/ 1068221 h 2170492"/>
                  <a:gd name="connsiteX7" fmla="*/ 2160440 w 2167039"/>
                  <a:gd name="connsiteY7" fmla="*/ 1766471 h 2170492"/>
                  <a:gd name="connsiteX8" fmla="*/ 2165798 w 2167039"/>
                  <a:gd name="connsiteY8" fmla="*/ 2170492 h 2170492"/>
                  <a:gd name="connsiteX9" fmla="*/ 0 w 2167039"/>
                  <a:gd name="connsiteY9" fmla="*/ 2169496 h 2170492"/>
                  <a:gd name="connsiteX10" fmla="*/ 8947 w 2167039"/>
                  <a:gd name="connsiteY10" fmla="*/ 1756249 h 2170492"/>
                  <a:gd name="connsiteX11" fmla="*/ 473322 w 2167039"/>
                  <a:gd name="connsiteY11" fmla="*/ 1106569 h 2170492"/>
                  <a:gd name="connsiteX12" fmla="*/ 8947 w 2167039"/>
                  <a:gd name="connsiteY12" fmla="*/ 396030 h 2170492"/>
                  <a:gd name="connsiteX13" fmla="*/ 8948 w 2167039"/>
                  <a:gd name="connsiteY13" fmla="*/ 6865 h 2170492"/>
                  <a:gd name="connsiteX0" fmla="*/ 286857 w 2444948"/>
                  <a:gd name="connsiteY0" fmla="*/ 6865 h 2170492"/>
                  <a:gd name="connsiteX1" fmla="*/ 690122 w 2444948"/>
                  <a:gd name="connsiteY1" fmla="*/ 21400 h 2170492"/>
                  <a:gd name="connsiteX2" fmla="*/ 1358109 w 2444948"/>
                  <a:gd name="connsiteY2" fmla="*/ 480952 h 2170492"/>
                  <a:gd name="connsiteX3" fmla="*/ 2061723 w 2444948"/>
                  <a:gd name="connsiteY3" fmla="*/ 0 h 2170492"/>
                  <a:gd name="connsiteX4" fmla="*/ 2444948 w 2444948"/>
                  <a:gd name="connsiteY4" fmla="*/ 926 h 2170492"/>
                  <a:gd name="connsiteX5" fmla="*/ 2442229 w 2444948"/>
                  <a:gd name="connsiteY5" fmla="*/ 387864 h 2170492"/>
                  <a:gd name="connsiteX6" fmla="*/ 1968700 w 2444948"/>
                  <a:gd name="connsiteY6" fmla="*/ 1068221 h 2170492"/>
                  <a:gd name="connsiteX7" fmla="*/ 2438349 w 2444948"/>
                  <a:gd name="connsiteY7" fmla="*/ 1766471 h 2170492"/>
                  <a:gd name="connsiteX8" fmla="*/ 2443707 w 2444948"/>
                  <a:gd name="connsiteY8" fmla="*/ 2170492 h 2170492"/>
                  <a:gd name="connsiteX9" fmla="*/ 277909 w 2444948"/>
                  <a:gd name="connsiteY9" fmla="*/ 2169496 h 2170492"/>
                  <a:gd name="connsiteX10" fmla="*/ 286856 w 2444948"/>
                  <a:gd name="connsiteY10" fmla="*/ 1756249 h 2170492"/>
                  <a:gd name="connsiteX11" fmla="*/ 0 w 2444948"/>
                  <a:gd name="connsiteY11" fmla="*/ 1130863 h 2170492"/>
                  <a:gd name="connsiteX12" fmla="*/ 286856 w 2444948"/>
                  <a:gd name="connsiteY12" fmla="*/ 396030 h 2170492"/>
                  <a:gd name="connsiteX13" fmla="*/ 286857 w 2444948"/>
                  <a:gd name="connsiteY13" fmla="*/ 6865 h 2170492"/>
                  <a:gd name="connsiteX0" fmla="*/ 286857 w 2444948"/>
                  <a:gd name="connsiteY0" fmla="*/ 6865 h 2170492"/>
                  <a:gd name="connsiteX1" fmla="*/ 690122 w 2444948"/>
                  <a:gd name="connsiteY1" fmla="*/ 21400 h 2170492"/>
                  <a:gd name="connsiteX2" fmla="*/ 1358109 w 2444948"/>
                  <a:gd name="connsiteY2" fmla="*/ 480952 h 2170492"/>
                  <a:gd name="connsiteX3" fmla="*/ 2061723 w 2444948"/>
                  <a:gd name="connsiteY3" fmla="*/ 0 h 2170492"/>
                  <a:gd name="connsiteX4" fmla="*/ 2444948 w 2444948"/>
                  <a:gd name="connsiteY4" fmla="*/ 926 h 2170492"/>
                  <a:gd name="connsiteX5" fmla="*/ 2442229 w 2444948"/>
                  <a:gd name="connsiteY5" fmla="*/ 387864 h 2170492"/>
                  <a:gd name="connsiteX6" fmla="*/ 1997617 w 2444948"/>
                  <a:gd name="connsiteY6" fmla="*/ 1060156 h 2170492"/>
                  <a:gd name="connsiteX7" fmla="*/ 2438349 w 2444948"/>
                  <a:gd name="connsiteY7" fmla="*/ 1766471 h 2170492"/>
                  <a:gd name="connsiteX8" fmla="*/ 2443707 w 2444948"/>
                  <a:gd name="connsiteY8" fmla="*/ 2170492 h 2170492"/>
                  <a:gd name="connsiteX9" fmla="*/ 277909 w 2444948"/>
                  <a:gd name="connsiteY9" fmla="*/ 2169496 h 2170492"/>
                  <a:gd name="connsiteX10" fmla="*/ 286856 w 2444948"/>
                  <a:gd name="connsiteY10" fmla="*/ 1756249 h 2170492"/>
                  <a:gd name="connsiteX11" fmla="*/ 0 w 2444948"/>
                  <a:gd name="connsiteY11" fmla="*/ 1130863 h 2170492"/>
                  <a:gd name="connsiteX12" fmla="*/ 286856 w 2444948"/>
                  <a:gd name="connsiteY12" fmla="*/ 396030 h 2170492"/>
                  <a:gd name="connsiteX13" fmla="*/ 286857 w 2444948"/>
                  <a:gd name="connsiteY13" fmla="*/ 6865 h 2170492"/>
                  <a:gd name="connsiteX0" fmla="*/ 286857 w 2459407"/>
                  <a:gd name="connsiteY0" fmla="*/ 14004 h 2177631"/>
                  <a:gd name="connsiteX1" fmla="*/ 690122 w 2459407"/>
                  <a:gd name="connsiteY1" fmla="*/ 28539 h 2177631"/>
                  <a:gd name="connsiteX2" fmla="*/ 1358109 w 2459407"/>
                  <a:gd name="connsiteY2" fmla="*/ 488091 h 2177631"/>
                  <a:gd name="connsiteX3" fmla="*/ 2061723 w 2459407"/>
                  <a:gd name="connsiteY3" fmla="*/ 7139 h 2177631"/>
                  <a:gd name="connsiteX4" fmla="*/ 2459407 w 2459407"/>
                  <a:gd name="connsiteY4" fmla="*/ 0 h 2177631"/>
                  <a:gd name="connsiteX5" fmla="*/ 2442229 w 2459407"/>
                  <a:gd name="connsiteY5" fmla="*/ 395003 h 2177631"/>
                  <a:gd name="connsiteX6" fmla="*/ 1997617 w 2459407"/>
                  <a:gd name="connsiteY6" fmla="*/ 1067295 h 2177631"/>
                  <a:gd name="connsiteX7" fmla="*/ 2438349 w 2459407"/>
                  <a:gd name="connsiteY7" fmla="*/ 1773610 h 2177631"/>
                  <a:gd name="connsiteX8" fmla="*/ 2443707 w 2459407"/>
                  <a:gd name="connsiteY8" fmla="*/ 2177631 h 2177631"/>
                  <a:gd name="connsiteX9" fmla="*/ 277909 w 2459407"/>
                  <a:gd name="connsiteY9" fmla="*/ 2176635 h 2177631"/>
                  <a:gd name="connsiteX10" fmla="*/ 286856 w 2459407"/>
                  <a:gd name="connsiteY10" fmla="*/ 1763388 h 2177631"/>
                  <a:gd name="connsiteX11" fmla="*/ 0 w 2459407"/>
                  <a:gd name="connsiteY11" fmla="*/ 1138002 h 2177631"/>
                  <a:gd name="connsiteX12" fmla="*/ 286856 w 2459407"/>
                  <a:gd name="connsiteY12" fmla="*/ 403169 h 2177631"/>
                  <a:gd name="connsiteX13" fmla="*/ 286857 w 2459407"/>
                  <a:gd name="connsiteY13" fmla="*/ 14004 h 2177631"/>
                  <a:gd name="connsiteX0" fmla="*/ 286857 w 2459407"/>
                  <a:gd name="connsiteY0" fmla="*/ 14004 h 2177631"/>
                  <a:gd name="connsiteX1" fmla="*/ 690122 w 2459407"/>
                  <a:gd name="connsiteY1" fmla="*/ 28539 h 2177631"/>
                  <a:gd name="connsiteX2" fmla="*/ 1358109 w 2459407"/>
                  <a:gd name="connsiteY2" fmla="*/ 488091 h 2177631"/>
                  <a:gd name="connsiteX3" fmla="*/ 2061723 w 2459407"/>
                  <a:gd name="connsiteY3" fmla="*/ 7139 h 2177631"/>
                  <a:gd name="connsiteX4" fmla="*/ 2459407 w 2459407"/>
                  <a:gd name="connsiteY4" fmla="*/ 0 h 2177631"/>
                  <a:gd name="connsiteX5" fmla="*/ 2456688 w 2459407"/>
                  <a:gd name="connsiteY5" fmla="*/ 419200 h 2177631"/>
                  <a:gd name="connsiteX6" fmla="*/ 1997617 w 2459407"/>
                  <a:gd name="connsiteY6" fmla="*/ 1067295 h 2177631"/>
                  <a:gd name="connsiteX7" fmla="*/ 2438349 w 2459407"/>
                  <a:gd name="connsiteY7" fmla="*/ 1773610 h 2177631"/>
                  <a:gd name="connsiteX8" fmla="*/ 2443707 w 2459407"/>
                  <a:gd name="connsiteY8" fmla="*/ 2177631 h 2177631"/>
                  <a:gd name="connsiteX9" fmla="*/ 277909 w 2459407"/>
                  <a:gd name="connsiteY9" fmla="*/ 2176635 h 2177631"/>
                  <a:gd name="connsiteX10" fmla="*/ 286856 w 2459407"/>
                  <a:gd name="connsiteY10" fmla="*/ 1763388 h 2177631"/>
                  <a:gd name="connsiteX11" fmla="*/ 0 w 2459407"/>
                  <a:gd name="connsiteY11" fmla="*/ 1138002 h 2177631"/>
                  <a:gd name="connsiteX12" fmla="*/ 286856 w 2459407"/>
                  <a:gd name="connsiteY12" fmla="*/ 403169 h 2177631"/>
                  <a:gd name="connsiteX13" fmla="*/ 286857 w 2459407"/>
                  <a:gd name="connsiteY13" fmla="*/ 14004 h 217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59407" h="2177631">
                    <a:moveTo>
                      <a:pt x="286857" y="14004"/>
                    </a:moveTo>
                    <a:lnTo>
                      <a:pt x="690122" y="28539"/>
                    </a:lnTo>
                    <a:lnTo>
                      <a:pt x="1358109" y="488091"/>
                    </a:lnTo>
                    <a:lnTo>
                      <a:pt x="2061723" y="7139"/>
                    </a:lnTo>
                    <a:lnTo>
                      <a:pt x="2459407" y="0"/>
                    </a:lnTo>
                    <a:cubicBezTo>
                      <a:pt x="2458499" y="164193"/>
                      <a:pt x="2454874" y="282221"/>
                      <a:pt x="2456688" y="419200"/>
                    </a:cubicBezTo>
                    <a:lnTo>
                      <a:pt x="1997617" y="1067295"/>
                    </a:lnTo>
                    <a:lnTo>
                      <a:pt x="2438349" y="1773610"/>
                    </a:lnTo>
                    <a:cubicBezTo>
                      <a:pt x="2438349" y="1908775"/>
                      <a:pt x="2443707" y="2042466"/>
                      <a:pt x="2443707" y="2177631"/>
                    </a:cubicBezTo>
                    <a:lnTo>
                      <a:pt x="277909" y="2176635"/>
                    </a:lnTo>
                    <a:lnTo>
                      <a:pt x="286856" y="1763388"/>
                    </a:lnTo>
                    <a:lnTo>
                      <a:pt x="0" y="1138002"/>
                    </a:lnTo>
                    <a:lnTo>
                      <a:pt x="286856" y="403169"/>
                    </a:lnTo>
                    <a:cubicBezTo>
                      <a:pt x="287763" y="271633"/>
                      <a:pt x="285950" y="145540"/>
                      <a:pt x="286857" y="14004"/>
                    </a:cubicBezTo>
                    <a:close/>
                  </a:path>
                </a:pathLst>
              </a:custGeom>
              <a:solidFill>
                <a:schemeClr val="accent3"/>
              </a:solidFill>
              <a:ln>
                <a:noFill/>
              </a:ln>
              <a:effectLst/>
              <a:scene3d>
                <a:camera prst="orthographicFront"/>
                <a:lightRig rig="threePt" dir="t"/>
              </a:scene3d>
              <a:sp3d prstMaterial="plastic"/>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Univers for KPMG" panose="020B0603020202020204" pitchFamily="34" charset="0"/>
                </a:endParaRPr>
              </a:p>
            </p:txBody>
          </p:sp>
          <p:sp>
            <p:nvSpPr>
              <p:cNvPr id="9" name="Freeform 142"/>
              <p:cNvSpPr/>
              <p:nvPr/>
            </p:nvSpPr>
            <p:spPr>
              <a:xfrm>
                <a:off x="2964269" y="4800599"/>
                <a:ext cx="2876869" cy="1133318"/>
              </a:xfrm>
              <a:custGeom>
                <a:avLst/>
                <a:gdLst>
                  <a:gd name="connsiteX0" fmla="*/ 15809 w 2876869"/>
                  <a:gd name="connsiteY0" fmla="*/ 0 h 1133318"/>
                  <a:gd name="connsiteX1" fmla="*/ 2378378 w 2876869"/>
                  <a:gd name="connsiteY1" fmla="*/ 0 h 1133318"/>
                  <a:gd name="connsiteX2" fmla="*/ 2870561 w 2876869"/>
                  <a:gd name="connsiteY2" fmla="*/ 706994 h 1133318"/>
                  <a:gd name="connsiteX3" fmla="*/ 2876869 w 2876869"/>
                  <a:gd name="connsiteY3" fmla="*/ 1133318 h 1133318"/>
                  <a:gd name="connsiteX4" fmla="*/ 327170 w 2876869"/>
                  <a:gd name="connsiteY4" fmla="*/ 1132267 h 1133318"/>
                  <a:gd name="connsiteX5" fmla="*/ 337703 w 2876869"/>
                  <a:gd name="connsiteY5" fmla="*/ 696208 h 1133318"/>
                  <a:gd name="connsiteX6" fmla="*/ 0 w 2876869"/>
                  <a:gd name="connsiteY6" fmla="*/ 36299 h 1133318"/>
                  <a:gd name="connsiteX7" fmla="*/ 15809 w 2876869"/>
                  <a:gd name="connsiteY7" fmla="*/ 0 h 1133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6869" h="1133318">
                    <a:moveTo>
                      <a:pt x="15809" y="0"/>
                    </a:moveTo>
                    <a:lnTo>
                      <a:pt x="2378378" y="0"/>
                    </a:lnTo>
                    <a:lnTo>
                      <a:pt x="2870561" y="706994"/>
                    </a:lnTo>
                    <a:cubicBezTo>
                      <a:pt x="2870561" y="849621"/>
                      <a:pt x="2876869" y="990692"/>
                      <a:pt x="2876869" y="1133318"/>
                    </a:cubicBezTo>
                    <a:lnTo>
                      <a:pt x="327170" y="1132267"/>
                    </a:lnTo>
                    <a:lnTo>
                      <a:pt x="337703" y="696208"/>
                    </a:lnTo>
                    <a:lnTo>
                      <a:pt x="0" y="36299"/>
                    </a:lnTo>
                    <a:lnTo>
                      <a:pt x="15809" y="0"/>
                    </a:lnTo>
                    <a:close/>
                  </a:path>
                </a:pathLst>
              </a:cu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Univers for KPMG" panose="020B0603020202020204" pitchFamily="34" charset="0"/>
                </a:endParaRPr>
              </a:p>
            </p:txBody>
          </p:sp>
        </p:grpSp>
        <p:grpSp>
          <p:nvGrpSpPr>
            <p:cNvPr id="10" name="Group 14"/>
            <p:cNvGrpSpPr/>
            <p:nvPr/>
          </p:nvGrpSpPr>
          <p:grpSpPr>
            <a:xfrm>
              <a:off x="6972987" y="3648418"/>
              <a:ext cx="3083455" cy="2295182"/>
              <a:chOff x="5448986" y="3648418"/>
              <a:chExt cx="3083455" cy="2295182"/>
            </a:xfrm>
          </p:grpSpPr>
          <p:sp>
            <p:nvSpPr>
              <p:cNvPr id="11" name="Rectangle 7"/>
              <p:cNvSpPr/>
              <p:nvPr/>
            </p:nvSpPr>
            <p:spPr>
              <a:xfrm>
                <a:off x="5448986" y="3648418"/>
                <a:ext cx="3081258" cy="2295182"/>
              </a:xfrm>
              <a:custGeom>
                <a:avLst/>
                <a:gdLst>
                  <a:gd name="connsiteX0" fmla="*/ 0 w 2743200"/>
                  <a:gd name="connsiteY0" fmla="*/ 0 h 2286000"/>
                  <a:gd name="connsiteX1" fmla="*/ 2743200 w 2743200"/>
                  <a:gd name="connsiteY1" fmla="*/ 0 h 2286000"/>
                  <a:gd name="connsiteX2" fmla="*/ 2743200 w 2743200"/>
                  <a:gd name="connsiteY2" fmla="*/ 2286000 h 2286000"/>
                  <a:gd name="connsiteX3" fmla="*/ 0 w 2743200"/>
                  <a:gd name="connsiteY3" fmla="*/ 2286000 h 2286000"/>
                  <a:gd name="connsiteX4" fmla="*/ 0 w 2743200"/>
                  <a:gd name="connsiteY4" fmla="*/ 0 h 2286000"/>
                  <a:gd name="connsiteX0" fmla="*/ 77822 w 2743200"/>
                  <a:gd name="connsiteY0" fmla="*/ 4864 h 2286000"/>
                  <a:gd name="connsiteX1" fmla="*/ 2743200 w 2743200"/>
                  <a:gd name="connsiteY1" fmla="*/ 0 h 2286000"/>
                  <a:gd name="connsiteX2" fmla="*/ 2743200 w 2743200"/>
                  <a:gd name="connsiteY2" fmla="*/ 2286000 h 2286000"/>
                  <a:gd name="connsiteX3" fmla="*/ 0 w 2743200"/>
                  <a:gd name="connsiteY3" fmla="*/ 2286000 h 2286000"/>
                  <a:gd name="connsiteX4" fmla="*/ 77822 w 2743200"/>
                  <a:gd name="connsiteY4" fmla="*/ 4864 h 2286000"/>
                  <a:gd name="connsiteX0" fmla="*/ 77822 w 2743200"/>
                  <a:gd name="connsiteY0" fmla="*/ 4864 h 2286000"/>
                  <a:gd name="connsiteX1" fmla="*/ 2743200 w 2743200"/>
                  <a:gd name="connsiteY1" fmla="*/ 0 h 2286000"/>
                  <a:gd name="connsiteX2" fmla="*/ 2743200 w 2743200"/>
                  <a:gd name="connsiteY2" fmla="*/ 2286000 h 2286000"/>
                  <a:gd name="connsiteX3" fmla="*/ 0 w 2743200"/>
                  <a:gd name="connsiteY3" fmla="*/ 2286000 h 2286000"/>
                  <a:gd name="connsiteX4" fmla="*/ 43774 w 2743200"/>
                  <a:gd name="connsiteY4" fmla="*/ 1095983 h 2286000"/>
                  <a:gd name="connsiteX5" fmla="*/ 77822 w 2743200"/>
                  <a:gd name="connsiteY5"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374515 w 3117715"/>
                  <a:gd name="connsiteY3" fmla="*/ 2286000 h 2286000"/>
                  <a:gd name="connsiteX4" fmla="*/ 0 w 3117715"/>
                  <a:gd name="connsiteY4" fmla="*/ 1066800 h 2286000"/>
                  <a:gd name="connsiteX5" fmla="*/ 452337 w 3117715"/>
                  <a:gd name="connsiteY5"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374515 w 3117715"/>
                  <a:gd name="connsiteY3" fmla="*/ 2286000 h 2286000"/>
                  <a:gd name="connsiteX4" fmla="*/ 0 w 3117715"/>
                  <a:gd name="connsiteY4" fmla="*/ 1066800 h 2286000"/>
                  <a:gd name="connsiteX5" fmla="*/ 321014 w 3117715"/>
                  <a:gd name="connsiteY5" fmla="*/ 332362 h 2286000"/>
                  <a:gd name="connsiteX6" fmla="*/ 452337 w 3117715"/>
                  <a:gd name="connsiteY6"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374515 w 3117715"/>
                  <a:gd name="connsiteY3" fmla="*/ 2286000 h 2286000"/>
                  <a:gd name="connsiteX4" fmla="*/ 0 w 3117715"/>
                  <a:gd name="connsiteY4" fmla="*/ 1066800 h 2286000"/>
                  <a:gd name="connsiteX5" fmla="*/ 447474 w 3117715"/>
                  <a:gd name="connsiteY5" fmla="*/ 449094 h 2286000"/>
                  <a:gd name="connsiteX6" fmla="*/ 452337 w 3117715"/>
                  <a:gd name="connsiteY6"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374515 w 3117715"/>
                  <a:gd name="connsiteY3" fmla="*/ 2286000 h 2286000"/>
                  <a:gd name="connsiteX4" fmla="*/ 238329 w 3117715"/>
                  <a:gd name="connsiteY4" fmla="*/ 1825557 h 2286000"/>
                  <a:gd name="connsiteX5" fmla="*/ 0 w 3117715"/>
                  <a:gd name="connsiteY5" fmla="*/ 1066800 h 2286000"/>
                  <a:gd name="connsiteX6" fmla="*/ 447474 w 3117715"/>
                  <a:gd name="connsiteY6" fmla="*/ 449094 h 2286000"/>
                  <a:gd name="connsiteX7" fmla="*/ 452337 w 3117715"/>
                  <a:gd name="connsiteY7"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374515 w 3117715"/>
                  <a:gd name="connsiteY3" fmla="*/ 2286000 h 2286000"/>
                  <a:gd name="connsiteX4" fmla="*/ 437746 w 3117715"/>
                  <a:gd name="connsiteY4" fmla="*/ 1752600 h 2286000"/>
                  <a:gd name="connsiteX5" fmla="*/ 0 w 3117715"/>
                  <a:gd name="connsiteY5" fmla="*/ 1066800 h 2286000"/>
                  <a:gd name="connsiteX6" fmla="*/ 447474 w 3117715"/>
                  <a:gd name="connsiteY6" fmla="*/ 449094 h 2286000"/>
                  <a:gd name="connsiteX7" fmla="*/ 452337 w 3117715"/>
                  <a:gd name="connsiteY7"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457200 w 3117715"/>
                  <a:gd name="connsiteY3" fmla="*/ 2144949 h 2286000"/>
                  <a:gd name="connsiteX4" fmla="*/ 437746 w 3117715"/>
                  <a:gd name="connsiteY4" fmla="*/ 1752600 h 2286000"/>
                  <a:gd name="connsiteX5" fmla="*/ 0 w 3117715"/>
                  <a:gd name="connsiteY5" fmla="*/ 1066800 h 2286000"/>
                  <a:gd name="connsiteX6" fmla="*/ 447474 w 3117715"/>
                  <a:gd name="connsiteY6" fmla="*/ 449094 h 2286000"/>
                  <a:gd name="connsiteX7" fmla="*/ 452337 w 3117715"/>
                  <a:gd name="connsiteY7"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1546699 w 3117715"/>
                  <a:gd name="connsiteY3" fmla="*/ 2200072 h 2286000"/>
                  <a:gd name="connsiteX4" fmla="*/ 457200 w 3117715"/>
                  <a:gd name="connsiteY4" fmla="*/ 2144949 h 2286000"/>
                  <a:gd name="connsiteX5" fmla="*/ 437746 w 3117715"/>
                  <a:gd name="connsiteY5" fmla="*/ 1752600 h 2286000"/>
                  <a:gd name="connsiteX6" fmla="*/ 0 w 3117715"/>
                  <a:gd name="connsiteY6" fmla="*/ 1066800 h 2286000"/>
                  <a:gd name="connsiteX7" fmla="*/ 447474 w 3117715"/>
                  <a:gd name="connsiteY7" fmla="*/ 449094 h 2286000"/>
                  <a:gd name="connsiteX8" fmla="*/ 452337 w 3117715"/>
                  <a:gd name="connsiteY8"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1536971 w 3117715"/>
                  <a:gd name="connsiteY3" fmla="*/ 1684506 h 2286000"/>
                  <a:gd name="connsiteX4" fmla="*/ 457200 w 3117715"/>
                  <a:gd name="connsiteY4" fmla="*/ 2144949 h 2286000"/>
                  <a:gd name="connsiteX5" fmla="*/ 437746 w 3117715"/>
                  <a:gd name="connsiteY5" fmla="*/ 1752600 h 2286000"/>
                  <a:gd name="connsiteX6" fmla="*/ 0 w 3117715"/>
                  <a:gd name="connsiteY6" fmla="*/ 1066800 h 2286000"/>
                  <a:gd name="connsiteX7" fmla="*/ 447474 w 3117715"/>
                  <a:gd name="connsiteY7" fmla="*/ 449094 h 2286000"/>
                  <a:gd name="connsiteX8" fmla="*/ 452337 w 3117715"/>
                  <a:gd name="connsiteY8"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1536971 w 3117715"/>
                  <a:gd name="connsiteY3" fmla="*/ 1684506 h 2286000"/>
                  <a:gd name="connsiteX4" fmla="*/ 890082 w 3117715"/>
                  <a:gd name="connsiteY4" fmla="*/ 1956881 h 2286000"/>
                  <a:gd name="connsiteX5" fmla="*/ 457200 w 3117715"/>
                  <a:gd name="connsiteY5" fmla="*/ 2144949 h 2286000"/>
                  <a:gd name="connsiteX6" fmla="*/ 437746 w 3117715"/>
                  <a:gd name="connsiteY6" fmla="*/ 1752600 h 2286000"/>
                  <a:gd name="connsiteX7" fmla="*/ 0 w 3117715"/>
                  <a:gd name="connsiteY7" fmla="*/ 1066800 h 2286000"/>
                  <a:gd name="connsiteX8" fmla="*/ 447474 w 3117715"/>
                  <a:gd name="connsiteY8" fmla="*/ 449094 h 2286000"/>
                  <a:gd name="connsiteX9" fmla="*/ 452337 w 3117715"/>
                  <a:gd name="connsiteY9"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1536971 w 3117715"/>
                  <a:gd name="connsiteY3" fmla="*/ 1684506 h 2286000"/>
                  <a:gd name="connsiteX4" fmla="*/ 841444 w 3117715"/>
                  <a:gd name="connsiteY4" fmla="*/ 2161162 h 2286000"/>
                  <a:gd name="connsiteX5" fmla="*/ 457200 w 3117715"/>
                  <a:gd name="connsiteY5" fmla="*/ 2144949 h 2286000"/>
                  <a:gd name="connsiteX6" fmla="*/ 437746 w 3117715"/>
                  <a:gd name="connsiteY6" fmla="*/ 1752600 h 2286000"/>
                  <a:gd name="connsiteX7" fmla="*/ 0 w 3117715"/>
                  <a:gd name="connsiteY7" fmla="*/ 1066800 h 2286000"/>
                  <a:gd name="connsiteX8" fmla="*/ 447474 w 3117715"/>
                  <a:gd name="connsiteY8" fmla="*/ 449094 h 2286000"/>
                  <a:gd name="connsiteX9" fmla="*/ 452337 w 3117715"/>
                  <a:gd name="connsiteY9"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1536971 w 3117715"/>
                  <a:gd name="connsiteY3" fmla="*/ 1684506 h 2286000"/>
                  <a:gd name="connsiteX4" fmla="*/ 841444 w 3117715"/>
                  <a:gd name="connsiteY4" fmla="*/ 2161162 h 2286000"/>
                  <a:gd name="connsiteX5" fmla="*/ 452336 w 3117715"/>
                  <a:gd name="connsiteY5" fmla="*/ 2149813 h 2286000"/>
                  <a:gd name="connsiteX6" fmla="*/ 437746 w 3117715"/>
                  <a:gd name="connsiteY6" fmla="*/ 1752600 h 2286000"/>
                  <a:gd name="connsiteX7" fmla="*/ 0 w 3117715"/>
                  <a:gd name="connsiteY7" fmla="*/ 1066800 h 2286000"/>
                  <a:gd name="connsiteX8" fmla="*/ 447474 w 3117715"/>
                  <a:gd name="connsiteY8" fmla="*/ 449094 h 2286000"/>
                  <a:gd name="connsiteX9" fmla="*/ 452337 w 3117715"/>
                  <a:gd name="connsiteY9"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1536971 w 3117715"/>
                  <a:gd name="connsiteY3" fmla="*/ 1684506 h 2286000"/>
                  <a:gd name="connsiteX4" fmla="*/ 851172 w 3117715"/>
                  <a:gd name="connsiteY4" fmla="*/ 2161162 h 2286000"/>
                  <a:gd name="connsiteX5" fmla="*/ 452336 w 3117715"/>
                  <a:gd name="connsiteY5" fmla="*/ 2149813 h 2286000"/>
                  <a:gd name="connsiteX6" fmla="*/ 437746 w 3117715"/>
                  <a:gd name="connsiteY6" fmla="*/ 1752600 h 2286000"/>
                  <a:gd name="connsiteX7" fmla="*/ 0 w 3117715"/>
                  <a:gd name="connsiteY7" fmla="*/ 1066800 h 2286000"/>
                  <a:gd name="connsiteX8" fmla="*/ 447474 w 3117715"/>
                  <a:gd name="connsiteY8" fmla="*/ 449094 h 2286000"/>
                  <a:gd name="connsiteX9" fmla="*/ 452337 w 3117715"/>
                  <a:gd name="connsiteY9"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2324912 w 3117715"/>
                  <a:gd name="connsiteY3" fmla="*/ 1976336 h 2286000"/>
                  <a:gd name="connsiteX4" fmla="*/ 1536971 w 3117715"/>
                  <a:gd name="connsiteY4" fmla="*/ 1684506 h 2286000"/>
                  <a:gd name="connsiteX5" fmla="*/ 851172 w 3117715"/>
                  <a:gd name="connsiteY5" fmla="*/ 2161162 h 2286000"/>
                  <a:gd name="connsiteX6" fmla="*/ 452336 w 3117715"/>
                  <a:gd name="connsiteY6" fmla="*/ 2149813 h 2286000"/>
                  <a:gd name="connsiteX7" fmla="*/ 437746 w 3117715"/>
                  <a:gd name="connsiteY7" fmla="*/ 1752600 h 2286000"/>
                  <a:gd name="connsiteX8" fmla="*/ 0 w 3117715"/>
                  <a:gd name="connsiteY8" fmla="*/ 1066800 h 2286000"/>
                  <a:gd name="connsiteX9" fmla="*/ 447474 w 3117715"/>
                  <a:gd name="connsiteY9" fmla="*/ 449094 h 2286000"/>
                  <a:gd name="connsiteX10" fmla="*/ 452337 w 3117715"/>
                  <a:gd name="connsiteY10" fmla="*/ 4864 h 2286000"/>
                  <a:gd name="connsiteX0" fmla="*/ 452337 w 3117715"/>
                  <a:gd name="connsiteY0" fmla="*/ 4864 h 2286000"/>
                  <a:gd name="connsiteX1" fmla="*/ 3117715 w 3117715"/>
                  <a:gd name="connsiteY1" fmla="*/ 0 h 2286000"/>
                  <a:gd name="connsiteX2" fmla="*/ 3117715 w 3117715"/>
                  <a:gd name="connsiteY2" fmla="*/ 2286000 h 2286000"/>
                  <a:gd name="connsiteX3" fmla="*/ 2178997 w 3117715"/>
                  <a:gd name="connsiteY3" fmla="*/ 2166026 h 2286000"/>
                  <a:gd name="connsiteX4" fmla="*/ 1536971 w 3117715"/>
                  <a:gd name="connsiteY4" fmla="*/ 1684506 h 2286000"/>
                  <a:gd name="connsiteX5" fmla="*/ 851172 w 3117715"/>
                  <a:gd name="connsiteY5" fmla="*/ 2161162 h 2286000"/>
                  <a:gd name="connsiteX6" fmla="*/ 452336 w 3117715"/>
                  <a:gd name="connsiteY6" fmla="*/ 2149813 h 2286000"/>
                  <a:gd name="connsiteX7" fmla="*/ 437746 w 3117715"/>
                  <a:gd name="connsiteY7" fmla="*/ 1752600 h 2286000"/>
                  <a:gd name="connsiteX8" fmla="*/ 0 w 3117715"/>
                  <a:gd name="connsiteY8" fmla="*/ 1066800 h 2286000"/>
                  <a:gd name="connsiteX9" fmla="*/ 447474 w 3117715"/>
                  <a:gd name="connsiteY9" fmla="*/ 449094 h 2286000"/>
                  <a:gd name="connsiteX10" fmla="*/ 452337 w 3117715"/>
                  <a:gd name="connsiteY10" fmla="*/ 4864 h 2286000"/>
                  <a:gd name="connsiteX0" fmla="*/ 452337 w 3117715"/>
                  <a:gd name="connsiteY0" fmla="*/ 4864 h 2166026"/>
                  <a:gd name="connsiteX1" fmla="*/ 3117715 w 3117715"/>
                  <a:gd name="connsiteY1" fmla="*/ 0 h 2166026"/>
                  <a:gd name="connsiteX2" fmla="*/ 2602149 w 3117715"/>
                  <a:gd name="connsiteY2" fmla="*/ 2159541 h 2166026"/>
                  <a:gd name="connsiteX3" fmla="*/ 2178997 w 3117715"/>
                  <a:gd name="connsiteY3" fmla="*/ 2166026 h 2166026"/>
                  <a:gd name="connsiteX4" fmla="*/ 1536971 w 3117715"/>
                  <a:gd name="connsiteY4" fmla="*/ 1684506 h 2166026"/>
                  <a:gd name="connsiteX5" fmla="*/ 851172 w 3117715"/>
                  <a:gd name="connsiteY5" fmla="*/ 2161162 h 2166026"/>
                  <a:gd name="connsiteX6" fmla="*/ 452336 w 3117715"/>
                  <a:gd name="connsiteY6" fmla="*/ 2149813 h 2166026"/>
                  <a:gd name="connsiteX7" fmla="*/ 437746 w 3117715"/>
                  <a:gd name="connsiteY7" fmla="*/ 1752600 h 2166026"/>
                  <a:gd name="connsiteX8" fmla="*/ 0 w 3117715"/>
                  <a:gd name="connsiteY8" fmla="*/ 1066800 h 2166026"/>
                  <a:gd name="connsiteX9" fmla="*/ 447474 w 3117715"/>
                  <a:gd name="connsiteY9" fmla="*/ 449094 h 2166026"/>
                  <a:gd name="connsiteX10" fmla="*/ 452337 w 3117715"/>
                  <a:gd name="connsiteY10" fmla="*/ 4864 h 2166026"/>
                  <a:gd name="connsiteX0" fmla="*/ 452337 w 2607013"/>
                  <a:gd name="connsiteY0" fmla="*/ 0 h 2161162"/>
                  <a:gd name="connsiteX1" fmla="*/ 2607013 w 2607013"/>
                  <a:gd name="connsiteY1" fmla="*/ 4864 h 2161162"/>
                  <a:gd name="connsiteX2" fmla="*/ 2602149 w 2607013"/>
                  <a:gd name="connsiteY2" fmla="*/ 2154677 h 2161162"/>
                  <a:gd name="connsiteX3" fmla="*/ 2178997 w 2607013"/>
                  <a:gd name="connsiteY3" fmla="*/ 2161162 h 2161162"/>
                  <a:gd name="connsiteX4" fmla="*/ 1536971 w 2607013"/>
                  <a:gd name="connsiteY4" fmla="*/ 1679642 h 2161162"/>
                  <a:gd name="connsiteX5" fmla="*/ 851172 w 2607013"/>
                  <a:gd name="connsiteY5" fmla="*/ 2156298 h 2161162"/>
                  <a:gd name="connsiteX6" fmla="*/ 452336 w 2607013"/>
                  <a:gd name="connsiteY6" fmla="*/ 2144949 h 2161162"/>
                  <a:gd name="connsiteX7" fmla="*/ 437746 w 2607013"/>
                  <a:gd name="connsiteY7" fmla="*/ 1747736 h 2161162"/>
                  <a:gd name="connsiteX8" fmla="*/ 0 w 2607013"/>
                  <a:gd name="connsiteY8" fmla="*/ 1061936 h 2161162"/>
                  <a:gd name="connsiteX9" fmla="*/ 447474 w 2607013"/>
                  <a:gd name="connsiteY9" fmla="*/ 444230 h 2161162"/>
                  <a:gd name="connsiteX10" fmla="*/ 452337 w 2607013"/>
                  <a:gd name="connsiteY10" fmla="*/ 0 h 2161162"/>
                  <a:gd name="connsiteX0" fmla="*/ 452337 w 2607013"/>
                  <a:gd name="connsiteY0" fmla="*/ 0 h 2161162"/>
                  <a:gd name="connsiteX1" fmla="*/ 1502925 w 2607013"/>
                  <a:gd name="connsiteY1" fmla="*/ 1621 h 2161162"/>
                  <a:gd name="connsiteX2" fmla="*/ 2607013 w 2607013"/>
                  <a:gd name="connsiteY2" fmla="*/ 4864 h 2161162"/>
                  <a:gd name="connsiteX3" fmla="*/ 2602149 w 2607013"/>
                  <a:gd name="connsiteY3" fmla="*/ 2154677 h 2161162"/>
                  <a:gd name="connsiteX4" fmla="*/ 2178997 w 2607013"/>
                  <a:gd name="connsiteY4" fmla="*/ 2161162 h 2161162"/>
                  <a:gd name="connsiteX5" fmla="*/ 1536971 w 2607013"/>
                  <a:gd name="connsiteY5" fmla="*/ 1679642 h 2161162"/>
                  <a:gd name="connsiteX6" fmla="*/ 851172 w 2607013"/>
                  <a:gd name="connsiteY6" fmla="*/ 2156298 h 2161162"/>
                  <a:gd name="connsiteX7" fmla="*/ 452336 w 2607013"/>
                  <a:gd name="connsiteY7" fmla="*/ 2144949 h 2161162"/>
                  <a:gd name="connsiteX8" fmla="*/ 437746 w 2607013"/>
                  <a:gd name="connsiteY8" fmla="*/ 1747736 h 2161162"/>
                  <a:gd name="connsiteX9" fmla="*/ 0 w 2607013"/>
                  <a:gd name="connsiteY9" fmla="*/ 1061936 h 2161162"/>
                  <a:gd name="connsiteX10" fmla="*/ 447474 w 2607013"/>
                  <a:gd name="connsiteY10" fmla="*/ 444230 h 2161162"/>
                  <a:gd name="connsiteX11" fmla="*/ 452337 w 2607013"/>
                  <a:gd name="connsiteY11" fmla="*/ 0 h 2161162"/>
                  <a:gd name="connsiteX0" fmla="*/ 452337 w 2607013"/>
                  <a:gd name="connsiteY0" fmla="*/ 0 h 2161162"/>
                  <a:gd name="connsiteX1" fmla="*/ 1532108 w 2607013"/>
                  <a:gd name="connsiteY1" fmla="*/ 483141 h 2161162"/>
                  <a:gd name="connsiteX2" fmla="*/ 2607013 w 2607013"/>
                  <a:gd name="connsiteY2" fmla="*/ 4864 h 2161162"/>
                  <a:gd name="connsiteX3" fmla="*/ 2602149 w 2607013"/>
                  <a:gd name="connsiteY3" fmla="*/ 2154677 h 2161162"/>
                  <a:gd name="connsiteX4" fmla="*/ 2178997 w 2607013"/>
                  <a:gd name="connsiteY4" fmla="*/ 2161162 h 2161162"/>
                  <a:gd name="connsiteX5" fmla="*/ 1536971 w 2607013"/>
                  <a:gd name="connsiteY5" fmla="*/ 1679642 h 2161162"/>
                  <a:gd name="connsiteX6" fmla="*/ 851172 w 2607013"/>
                  <a:gd name="connsiteY6" fmla="*/ 2156298 h 2161162"/>
                  <a:gd name="connsiteX7" fmla="*/ 452336 w 2607013"/>
                  <a:gd name="connsiteY7" fmla="*/ 2144949 h 2161162"/>
                  <a:gd name="connsiteX8" fmla="*/ 437746 w 2607013"/>
                  <a:gd name="connsiteY8" fmla="*/ 1747736 h 2161162"/>
                  <a:gd name="connsiteX9" fmla="*/ 0 w 2607013"/>
                  <a:gd name="connsiteY9" fmla="*/ 1061936 h 2161162"/>
                  <a:gd name="connsiteX10" fmla="*/ 447474 w 2607013"/>
                  <a:gd name="connsiteY10" fmla="*/ 444230 h 2161162"/>
                  <a:gd name="connsiteX11" fmla="*/ 452337 w 2607013"/>
                  <a:gd name="connsiteY11" fmla="*/ 0 h 2161162"/>
                  <a:gd name="connsiteX0" fmla="*/ 452337 w 2607013"/>
                  <a:gd name="connsiteY0" fmla="*/ 0 h 2161162"/>
                  <a:gd name="connsiteX1" fmla="*/ 880354 w 2607013"/>
                  <a:gd name="connsiteY1" fmla="*/ 186447 h 2161162"/>
                  <a:gd name="connsiteX2" fmla="*/ 1532108 w 2607013"/>
                  <a:gd name="connsiteY2" fmla="*/ 483141 h 2161162"/>
                  <a:gd name="connsiteX3" fmla="*/ 2607013 w 2607013"/>
                  <a:gd name="connsiteY3" fmla="*/ 4864 h 2161162"/>
                  <a:gd name="connsiteX4" fmla="*/ 2602149 w 2607013"/>
                  <a:gd name="connsiteY4" fmla="*/ 2154677 h 2161162"/>
                  <a:gd name="connsiteX5" fmla="*/ 2178997 w 2607013"/>
                  <a:gd name="connsiteY5" fmla="*/ 2161162 h 2161162"/>
                  <a:gd name="connsiteX6" fmla="*/ 1536971 w 2607013"/>
                  <a:gd name="connsiteY6" fmla="*/ 1679642 h 2161162"/>
                  <a:gd name="connsiteX7" fmla="*/ 851172 w 2607013"/>
                  <a:gd name="connsiteY7" fmla="*/ 2156298 h 2161162"/>
                  <a:gd name="connsiteX8" fmla="*/ 452336 w 2607013"/>
                  <a:gd name="connsiteY8" fmla="*/ 2144949 h 2161162"/>
                  <a:gd name="connsiteX9" fmla="*/ 437746 w 2607013"/>
                  <a:gd name="connsiteY9" fmla="*/ 1747736 h 2161162"/>
                  <a:gd name="connsiteX10" fmla="*/ 0 w 2607013"/>
                  <a:gd name="connsiteY10" fmla="*/ 1061936 h 2161162"/>
                  <a:gd name="connsiteX11" fmla="*/ 447474 w 2607013"/>
                  <a:gd name="connsiteY11" fmla="*/ 444230 h 2161162"/>
                  <a:gd name="connsiteX12" fmla="*/ 452337 w 2607013"/>
                  <a:gd name="connsiteY12" fmla="*/ 0 h 2161162"/>
                  <a:gd name="connsiteX0" fmla="*/ 452337 w 2607013"/>
                  <a:gd name="connsiteY0" fmla="*/ 0 h 2161162"/>
                  <a:gd name="connsiteX1" fmla="*/ 846308 w 2607013"/>
                  <a:gd name="connsiteY1" fmla="*/ 6486 h 2161162"/>
                  <a:gd name="connsiteX2" fmla="*/ 1532108 w 2607013"/>
                  <a:gd name="connsiteY2" fmla="*/ 483141 h 2161162"/>
                  <a:gd name="connsiteX3" fmla="*/ 2607013 w 2607013"/>
                  <a:gd name="connsiteY3" fmla="*/ 4864 h 2161162"/>
                  <a:gd name="connsiteX4" fmla="*/ 2602149 w 2607013"/>
                  <a:gd name="connsiteY4" fmla="*/ 2154677 h 2161162"/>
                  <a:gd name="connsiteX5" fmla="*/ 2178997 w 2607013"/>
                  <a:gd name="connsiteY5" fmla="*/ 2161162 h 2161162"/>
                  <a:gd name="connsiteX6" fmla="*/ 1536971 w 2607013"/>
                  <a:gd name="connsiteY6" fmla="*/ 1679642 h 2161162"/>
                  <a:gd name="connsiteX7" fmla="*/ 851172 w 2607013"/>
                  <a:gd name="connsiteY7" fmla="*/ 2156298 h 2161162"/>
                  <a:gd name="connsiteX8" fmla="*/ 452336 w 2607013"/>
                  <a:gd name="connsiteY8" fmla="*/ 2144949 h 2161162"/>
                  <a:gd name="connsiteX9" fmla="*/ 437746 w 2607013"/>
                  <a:gd name="connsiteY9" fmla="*/ 1747736 h 2161162"/>
                  <a:gd name="connsiteX10" fmla="*/ 0 w 2607013"/>
                  <a:gd name="connsiteY10" fmla="*/ 1061936 h 2161162"/>
                  <a:gd name="connsiteX11" fmla="*/ 447474 w 2607013"/>
                  <a:gd name="connsiteY11" fmla="*/ 444230 h 2161162"/>
                  <a:gd name="connsiteX12" fmla="*/ 452337 w 2607013"/>
                  <a:gd name="connsiteY12" fmla="*/ 0 h 2161162"/>
                  <a:gd name="connsiteX0" fmla="*/ 452337 w 2607013"/>
                  <a:gd name="connsiteY0" fmla="*/ 0 h 2161162"/>
                  <a:gd name="connsiteX1" fmla="*/ 846308 w 2607013"/>
                  <a:gd name="connsiteY1" fmla="*/ 6486 h 2161162"/>
                  <a:gd name="connsiteX2" fmla="*/ 1532108 w 2607013"/>
                  <a:gd name="connsiteY2" fmla="*/ 483141 h 2161162"/>
                  <a:gd name="connsiteX3" fmla="*/ 2286001 w 2607013"/>
                  <a:gd name="connsiteY3" fmla="*/ 142672 h 2161162"/>
                  <a:gd name="connsiteX4" fmla="*/ 2607013 w 2607013"/>
                  <a:gd name="connsiteY4" fmla="*/ 4864 h 2161162"/>
                  <a:gd name="connsiteX5" fmla="*/ 2602149 w 2607013"/>
                  <a:gd name="connsiteY5" fmla="*/ 2154677 h 2161162"/>
                  <a:gd name="connsiteX6" fmla="*/ 2178997 w 2607013"/>
                  <a:gd name="connsiteY6" fmla="*/ 2161162 h 2161162"/>
                  <a:gd name="connsiteX7" fmla="*/ 1536971 w 2607013"/>
                  <a:gd name="connsiteY7" fmla="*/ 1679642 h 2161162"/>
                  <a:gd name="connsiteX8" fmla="*/ 851172 w 2607013"/>
                  <a:gd name="connsiteY8" fmla="*/ 2156298 h 2161162"/>
                  <a:gd name="connsiteX9" fmla="*/ 452336 w 2607013"/>
                  <a:gd name="connsiteY9" fmla="*/ 2144949 h 2161162"/>
                  <a:gd name="connsiteX10" fmla="*/ 437746 w 2607013"/>
                  <a:gd name="connsiteY10" fmla="*/ 1747736 h 2161162"/>
                  <a:gd name="connsiteX11" fmla="*/ 0 w 2607013"/>
                  <a:gd name="connsiteY11" fmla="*/ 1061936 h 2161162"/>
                  <a:gd name="connsiteX12" fmla="*/ 447474 w 2607013"/>
                  <a:gd name="connsiteY12" fmla="*/ 444230 h 2161162"/>
                  <a:gd name="connsiteX13" fmla="*/ 452337 w 2607013"/>
                  <a:gd name="connsiteY13" fmla="*/ 0 h 2161162"/>
                  <a:gd name="connsiteX0" fmla="*/ 452337 w 2607013"/>
                  <a:gd name="connsiteY0" fmla="*/ 0 h 2161162"/>
                  <a:gd name="connsiteX1" fmla="*/ 846308 w 2607013"/>
                  <a:gd name="connsiteY1" fmla="*/ 6486 h 2161162"/>
                  <a:gd name="connsiteX2" fmla="*/ 1532108 w 2607013"/>
                  <a:gd name="connsiteY2" fmla="*/ 483141 h 2161162"/>
                  <a:gd name="connsiteX3" fmla="*/ 2251954 w 2607013"/>
                  <a:gd name="connsiteY3" fmla="*/ 1620 h 2161162"/>
                  <a:gd name="connsiteX4" fmla="*/ 2607013 w 2607013"/>
                  <a:gd name="connsiteY4" fmla="*/ 4864 h 2161162"/>
                  <a:gd name="connsiteX5" fmla="*/ 2602149 w 2607013"/>
                  <a:gd name="connsiteY5" fmla="*/ 2154677 h 2161162"/>
                  <a:gd name="connsiteX6" fmla="*/ 2178997 w 2607013"/>
                  <a:gd name="connsiteY6" fmla="*/ 2161162 h 2161162"/>
                  <a:gd name="connsiteX7" fmla="*/ 1536971 w 2607013"/>
                  <a:gd name="connsiteY7" fmla="*/ 1679642 h 2161162"/>
                  <a:gd name="connsiteX8" fmla="*/ 851172 w 2607013"/>
                  <a:gd name="connsiteY8" fmla="*/ 2156298 h 2161162"/>
                  <a:gd name="connsiteX9" fmla="*/ 452336 w 2607013"/>
                  <a:gd name="connsiteY9" fmla="*/ 2144949 h 2161162"/>
                  <a:gd name="connsiteX10" fmla="*/ 437746 w 2607013"/>
                  <a:gd name="connsiteY10" fmla="*/ 1747736 h 2161162"/>
                  <a:gd name="connsiteX11" fmla="*/ 0 w 2607013"/>
                  <a:gd name="connsiteY11" fmla="*/ 1061936 h 2161162"/>
                  <a:gd name="connsiteX12" fmla="*/ 447474 w 2607013"/>
                  <a:gd name="connsiteY12" fmla="*/ 444230 h 2161162"/>
                  <a:gd name="connsiteX13" fmla="*/ 452337 w 2607013"/>
                  <a:gd name="connsiteY13" fmla="*/ 0 h 2161162"/>
                  <a:gd name="connsiteX0" fmla="*/ 459290 w 2613966"/>
                  <a:gd name="connsiteY0" fmla="*/ 0 h 2161162"/>
                  <a:gd name="connsiteX1" fmla="*/ 853261 w 2613966"/>
                  <a:gd name="connsiteY1" fmla="*/ 6486 h 2161162"/>
                  <a:gd name="connsiteX2" fmla="*/ 1539061 w 2613966"/>
                  <a:gd name="connsiteY2" fmla="*/ 483141 h 2161162"/>
                  <a:gd name="connsiteX3" fmla="*/ 2258907 w 2613966"/>
                  <a:gd name="connsiteY3" fmla="*/ 1620 h 2161162"/>
                  <a:gd name="connsiteX4" fmla="*/ 2613966 w 2613966"/>
                  <a:gd name="connsiteY4" fmla="*/ 4864 h 2161162"/>
                  <a:gd name="connsiteX5" fmla="*/ 2609102 w 2613966"/>
                  <a:gd name="connsiteY5" fmla="*/ 2154677 h 2161162"/>
                  <a:gd name="connsiteX6" fmla="*/ 2185950 w 2613966"/>
                  <a:gd name="connsiteY6" fmla="*/ 2161162 h 2161162"/>
                  <a:gd name="connsiteX7" fmla="*/ 1543924 w 2613966"/>
                  <a:gd name="connsiteY7" fmla="*/ 1679642 h 2161162"/>
                  <a:gd name="connsiteX8" fmla="*/ 858125 w 2613966"/>
                  <a:gd name="connsiteY8" fmla="*/ 2156298 h 2161162"/>
                  <a:gd name="connsiteX9" fmla="*/ 459289 w 2613966"/>
                  <a:gd name="connsiteY9" fmla="*/ 2144949 h 2161162"/>
                  <a:gd name="connsiteX10" fmla="*/ 444699 w 2613966"/>
                  <a:gd name="connsiteY10" fmla="*/ 1747736 h 2161162"/>
                  <a:gd name="connsiteX11" fmla="*/ 0 w 2613966"/>
                  <a:gd name="connsiteY11" fmla="*/ 1079320 h 2161162"/>
                  <a:gd name="connsiteX12" fmla="*/ 454427 w 2613966"/>
                  <a:gd name="connsiteY12" fmla="*/ 444230 h 2161162"/>
                  <a:gd name="connsiteX13" fmla="*/ 459290 w 2613966"/>
                  <a:gd name="connsiteY13" fmla="*/ 0 h 2161162"/>
                  <a:gd name="connsiteX0" fmla="*/ 459290 w 2613966"/>
                  <a:gd name="connsiteY0" fmla="*/ 0 h 2161162"/>
                  <a:gd name="connsiteX1" fmla="*/ 853261 w 2613966"/>
                  <a:gd name="connsiteY1" fmla="*/ 6486 h 2161162"/>
                  <a:gd name="connsiteX2" fmla="*/ 1539061 w 2613966"/>
                  <a:gd name="connsiteY2" fmla="*/ 483141 h 2161162"/>
                  <a:gd name="connsiteX3" fmla="*/ 2245000 w 2613966"/>
                  <a:gd name="connsiteY3" fmla="*/ 5097 h 2161162"/>
                  <a:gd name="connsiteX4" fmla="*/ 2613966 w 2613966"/>
                  <a:gd name="connsiteY4" fmla="*/ 4864 h 2161162"/>
                  <a:gd name="connsiteX5" fmla="*/ 2609102 w 2613966"/>
                  <a:gd name="connsiteY5" fmla="*/ 2154677 h 2161162"/>
                  <a:gd name="connsiteX6" fmla="*/ 2185950 w 2613966"/>
                  <a:gd name="connsiteY6" fmla="*/ 2161162 h 2161162"/>
                  <a:gd name="connsiteX7" fmla="*/ 1543924 w 2613966"/>
                  <a:gd name="connsiteY7" fmla="*/ 1679642 h 2161162"/>
                  <a:gd name="connsiteX8" fmla="*/ 858125 w 2613966"/>
                  <a:gd name="connsiteY8" fmla="*/ 2156298 h 2161162"/>
                  <a:gd name="connsiteX9" fmla="*/ 459289 w 2613966"/>
                  <a:gd name="connsiteY9" fmla="*/ 2144949 h 2161162"/>
                  <a:gd name="connsiteX10" fmla="*/ 444699 w 2613966"/>
                  <a:gd name="connsiteY10" fmla="*/ 1747736 h 2161162"/>
                  <a:gd name="connsiteX11" fmla="*/ 0 w 2613966"/>
                  <a:gd name="connsiteY11" fmla="*/ 1079320 h 2161162"/>
                  <a:gd name="connsiteX12" fmla="*/ 454427 w 2613966"/>
                  <a:gd name="connsiteY12" fmla="*/ 444230 h 2161162"/>
                  <a:gd name="connsiteX13" fmla="*/ 459290 w 2613966"/>
                  <a:gd name="connsiteY13" fmla="*/ 0 h 2161162"/>
                  <a:gd name="connsiteX0" fmla="*/ 455813 w 2613966"/>
                  <a:gd name="connsiteY0" fmla="*/ 0 h 2161162"/>
                  <a:gd name="connsiteX1" fmla="*/ 853261 w 2613966"/>
                  <a:gd name="connsiteY1" fmla="*/ 6486 h 2161162"/>
                  <a:gd name="connsiteX2" fmla="*/ 1539061 w 2613966"/>
                  <a:gd name="connsiteY2" fmla="*/ 483141 h 2161162"/>
                  <a:gd name="connsiteX3" fmla="*/ 2245000 w 2613966"/>
                  <a:gd name="connsiteY3" fmla="*/ 5097 h 2161162"/>
                  <a:gd name="connsiteX4" fmla="*/ 2613966 w 2613966"/>
                  <a:gd name="connsiteY4" fmla="*/ 4864 h 2161162"/>
                  <a:gd name="connsiteX5" fmla="*/ 2609102 w 2613966"/>
                  <a:gd name="connsiteY5" fmla="*/ 2154677 h 2161162"/>
                  <a:gd name="connsiteX6" fmla="*/ 2185950 w 2613966"/>
                  <a:gd name="connsiteY6" fmla="*/ 2161162 h 2161162"/>
                  <a:gd name="connsiteX7" fmla="*/ 1543924 w 2613966"/>
                  <a:gd name="connsiteY7" fmla="*/ 1679642 h 2161162"/>
                  <a:gd name="connsiteX8" fmla="*/ 858125 w 2613966"/>
                  <a:gd name="connsiteY8" fmla="*/ 2156298 h 2161162"/>
                  <a:gd name="connsiteX9" fmla="*/ 459289 w 2613966"/>
                  <a:gd name="connsiteY9" fmla="*/ 2144949 h 2161162"/>
                  <a:gd name="connsiteX10" fmla="*/ 444699 w 2613966"/>
                  <a:gd name="connsiteY10" fmla="*/ 1747736 h 2161162"/>
                  <a:gd name="connsiteX11" fmla="*/ 0 w 2613966"/>
                  <a:gd name="connsiteY11" fmla="*/ 1079320 h 2161162"/>
                  <a:gd name="connsiteX12" fmla="*/ 454427 w 2613966"/>
                  <a:gd name="connsiteY12" fmla="*/ 444230 h 2161162"/>
                  <a:gd name="connsiteX13" fmla="*/ 455813 w 2613966"/>
                  <a:gd name="connsiteY13" fmla="*/ 0 h 2161162"/>
                  <a:gd name="connsiteX0" fmla="*/ 455813 w 2613966"/>
                  <a:gd name="connsiteY0" fmla="*/ 468 h 2161630"/>
                  <a:gd name="connsiteX1" fmla="*/ 842831 w 2613966"/>
                  <a:gd name="connsiteY1" fmla="*/ 0 h 2161630"/>
                  <a:gd name="connsiteX2" fmla="*/ 1539061 w 2613966"/>
                  <a:gd name="connsiteY2" fmla="*/ 483609 h 2161630"/>
                  <a:gd name="connsiteX3" fmla="*/ 2245000 w 2613966"/>
                  <a:gd name="connsiteY3" fmla="*/ 5565 h 2161630"/>
                  <a:gd name="connsiteX4" fmla="*/ 2613966 w 2613966"/>
                  <a:gd name="connsiteY4" fmla="*/ 5332 h 2161630"/>
                  <a:gd name="connsiteX5" fmla="*/ 2609102 w 2613966"/>
                  <a:gd name="connsiteY5" fmla="*/ 2155145 h 2161630"/>
                  <a:gd name="connsiteX6" fmla="*/ 2185950 w 2613966"/>
                  <a:gd name="connsiteY6" fmla="*/ 2161630 h 2161630"/>
                  <a:gd name="connsiteX7" fmla="*/ 1543924 w 2613966"/>
                  <a:gd name="connsiteY7" fmla="*/ 1680110 h 2161630"/>
                  <a:gd name="connsiteX8" fmla="*/ 858125 w 2613966"/>
                  <a:gd name="connsiteY8" fmla="*/ 2156766 h 2161630"/>
                  <a:gd name="connsiteX9" fmla="*/ 459289 w 2613966"/>
                  <a:gd name="connsiteY9" fmla="*/ 2145417 h 2161630"/>
                  <a:gd name="connsiteX10" fmla="*/ 444699 w 2613966"/>
                  <a:gd name="connsiteY10" fmla="*/ 1748204 h 2161630"/>
                  <a:gd name="connsiteX11" fmla="*/ 0 w 2613966"/>
                  <a:gd name="connsiteY11" fmla="*/ 1079788 h 2161630"/>
                  <a:gd name="connsiteX12" fmla="*/ 454427 w 2613966"/>
                  <a:gd name="connsiteY12" fmla="*/ 444698 h 2161630"/>
                  <a:gd name="connsiteX13" fmla="*/ 455813 w 2613966"/>
                  <a:gd name="connsiteY13" fmla="*/ 468 h 2161630"/>
                  <a:gd name="connsiteX0" fmla="*/ 455813 w 2613966"/>
                  <a:gd name="connsiteY0" fmla="*/ 468 h 2161630"/>
                  <a:gd name="connsiteX1" fmla="*/ 842831 w 2613966"/>
                  <a:gd name="connsiteY1" fmla="*/ 0 h 2161630"/>
                  <a:gd name="connsiteX2" fmla="*/ 1539061 w 2613966"/>
                  <a:gd name="connsiteY2" fmla="*/ 483609 h 2161630"/>
                  <a:gd name="connsiteX3" fmla="*/ 2245000 w 2613966"/>
                  <a:gd name="connsiteY3" fmla="*/ 5565 h 2161630"/>
                  <a:gd name="connsiteX4" fmla="*/ 2613966 w 2613966"/>
                  <a:gd name="connsiteY4" fmla="*/ 5332 h 2161630"/>
                  <a:gd name="connsiteX5" fmla="*/ 2612579 w 2613966"/>
                  <a:gd name="connsiteY5" fmla="*/ 2155145 h 2161630"/>
                  <a:gd name="connsiteX6" fmla="*/ 2185950 w 2613966"/>
                  <a:gd name="connsiteY6" fmla="*/ 2161630 h 2161630"/>
                  <a:gd name="connsiteX7" fmla="*/ 1543924 w 2613966"/>
                  <a:gd name="connsiteY7" fmla="*/ 1680110 h 2161630"/>
                  <a:gd name="connsiteX8" fmla="*/ 858125 w 2613966"/>
                  <a:gd name="connsiteY8" fmla="*/ 2156766 h 2161630"/>
                  <a:gd name="connsiteX9" fmla="*/ 459289 w 2613966"/>
                  <a:gd name="connsiteY9" fmla="*/ 2145417 h 2161630"/>
                  <a:gd name="connsiteX10" fmla="*/ 444699 w 2613966"/>
                  <a:gd name="connsiteY10" fmla="*/ 1748204 h 2161630"/>
                  <a:gd name="connsiteX11" fmla="*/ 0 w 2613966"/>
                  <a:gd name="connsiteY11" fmla="*/ 1079788 h 2161630"/>
                  <a:gd name="connsiteX12" fmla="*/ 454427 w 2613966"/>
                  <a:gd name="connsiteY12" fmla="*/ 444698 h 2161630"/>
                  <a:gd name="connsiteX13" fmla="*/ 455813 w 2613966"/>
                  <a:gd name="connsiteY13" fmla="*/ 468 h 2161630"/>
                  <a:gd name="connsiteX0" fmla="*/ 455813 w 2613966"/>
                  <a:gd name="connsiteY0" fmla="*/ 468 h 2161630"/>
                  <a:gd name="connsiteX1" fmla="*/ 842831 w 2613966"/>
                  <a:gd name="connsiteY1" fmla="*/ 0 h 2161630"/>
                  <a:gd name="connsiteX2" fmla="*/ 1539061 w 2613966"/>
                  <a:gd name="connsiteY2" fmla="*/ 483609 h 2161630"/>
                  <a:gd name="connsiteX3" fmla="*/ 2245000 w 2613966"/>
                  <a:gd name="connsiteY3" fmla="*/ 5565 h 2161630"/>
                  <a:gd name="connsiteX4" fmla="*/ 2613966 w 2613966"/>
                  <a:gd name="connsiteY4" fmla="*/ 5332 h 2161630"/>
                  <a:gd name="connsiteX5" fmla="*/ 2612579 w 2613966"/>
                  <a:gd name="connsiteY5" fmla="*/ 2155145 h 2161630"/>
                  <a:gd name="connsiteX6" fmla="*/ 2185950 w 2613966"/>
                  <a:gd name="connsiteY6" fmla="*/ 2161630 h 2161630"/>
                  <a:gd name="connsiteX7" fmla="*/ 1533493 w 2613966"/>
                  <a:gd name="connsiteY7" fmla="*/ 1680110 h 2161630"/>
                  <a:gd name="connsiteX8" fmla="*/ 858125 w 2613966"/>
                  <a:gd name="connsiteY8" fmla="*/ 2156766 h 2161630"/>
                  <a:gd name="connsiteX9" fmla="*/ 459289 w 2613966"/>
                  <a:gd name="connsiteY9" fmla="*/ 2145417 h 2161630"/>
                  <a:gd name="connsiteX10" fmla="*/ 444699 w 2613966"/>
                  <a:gd name="connsiteY10" fmla="*/ 1748204 h 2161630"/>
                  <a:gd name="connsiteX11" fmla="*/ 0 w 2613966"/>
                  <a:gd name="connsiteY11" fmla="*/ 1079788 h 2161630"/>
                  <a:gd name="connsiteX12" fmla="*/ 454427 w 2613966"/>
                  <a:gd name="connsiteY12" fmla="*/ 444698 h 2161630"/>
                  <a:gd name="connsiteX13" fmla="*/ 455813 w 2613966"/>
                  <a:gd name="connsiteY13" fmla="*/ 468 h 2161630"/>
                  <a:gd name="connsiteX0" fmla="*/ 455813 w 2617321"/>
                  <a:gd name="connsiteY0" fmla="*/ 468 h 2175109"/>
                  <a:gd name="connsiteX1" fmla="*/ 842831 w 2617321"/>
                  <a:gd name="connsiteY1" fmla="*/ 0 h 2175109"/>
                  <a:gd name="connsiteX2" fmla="*/ 1539061 w 2617321"/>
                  <a:gd name="connsiteY2" fmla="*/ 483609 h 2175109"/>
                  <a:gd name="connsiteX3" fmla="*/ 2245000 w 2617321"/>
                  <a:gd name="connsiteY3" fmla="*/ 5565 h 2175109"/>
                  <a:gd name="connsiteX4" fmla="*/ 2613966 w 2617321"/>
                  <a:gd name="connsiteY4" fmla="*/ 5332 h 2175109"/>
                  <a:gd name="connsiteX5" fmla="*/ 2617053 w 2617321"/>
                  <a:gd name="connsiteY5" fmla="*/ 2175109 h 2175109"/>
                  <a:gd name="connsiteX6" fmla="*/ 2185950 w 2617321"/>
                  <a:gd name="connsiteY6" fmla="*/ 2161630 h 2175109"/>
                  <a:gd name="connsiteX7" fmla="*/ 1533493 w 2617321"/>
                  <a:gd name="connsiteY7" fmla="*/ 1680110 h 2175109"/>
                  <a:gd name="connsiteX8" fmla="*/ 858125 w 2617321"/>
                  <a:gd name="connsiteY8" fmla="*/ 2156766 h 2175109"/>
                  <a:gd name="connsiteX9" fmla="*/ 459289 w 2617321"/>
                  <a:gd name="connsiteY9" fmla="*/ 2145417 h 2175109"/>
                  <a:gd name="connsiteX10" fmla="*/ 444699 w 2617321"/>
                  <a:gd name="connsiteY10" fmla="*/ 1748204 h 2175109"/>
                  <a:gd name="connsiteX11" fmla="*/ 0 w 2617321"/>
                  <a:gd name="connsiteY11" fmla="*/ 1079788 h 2175109"/>
                  <a:gd name="connsiteX12" fmla="*/ 454427 w 2617321"/>
                  <a:gd name="connsiteY12" fmla="*/ 444698 h 2175109"/>
                  <a:gd name="connsiteX13" fmla="*/ 455813 w 2617321"/>
                  <a:gd name="connsiteY13" fmla="*/ 468 h 2175109"/>
                  <a:gd name="connsiteX0" fmla="*/ 455813 w 2617321"/>
                  <a:gd name="connsiteY0" fmla="*/ 468 h 2175109"/>
                  <a:gd name="connsiteX1" fmla="*/ 842831 w 2617321"/>
                  <a:gd name="connsiteY1" fmla="*/ 0 h 2175109"/>
                  <a:gd name="connsiteX2" fmla="*/ 1539061 w 2617321"/>
                  <a:gd name="connsiteY2" fmla="*/ 483609 h 2175109"/>
                  <a:gd name="connsiteX3" fmla="*/ 2245000 w 2617321"/>
                  <a:gd name="connsiteY3" fmla="*/ 5565 h 2175109"/>
                  <a:gd name="connsiteX4" fmla="*/ 2613966 w 2617321"/>
                  <a:gd name="connsiteY4" fmla="*/ 5332 h 2175109"/>
                  <a:gd name="connsiteX5" fmla="*/ 2617053 w 2617321"/>
                  <a:gd name="connsiteY5" fmla="*/ 2175109 h 2175109"/>
                  <a:gd name="connsiteX6" fmla="*/ 2185951 w 2617321"/>
                  <a:gd name="connsiteY6" fmla="*/ 2171612 h 2175109"/>
                  <a:gd name="connsiteX7" fmla="*/ 1533493 w 2617321"/>
                  <a:gd name="connsiteY7" fmla="*/ 1680110 h 2175109"/>
                  <a:gd name="connsiteX8" fmla="*/ 858125 w 2617321"/>
                  <a:gd name="connsiteY8" fmla="*/ 2156766 h 2175109"/>
                  <a:gd name="connsiteX9" fmla="*/ 459289 w 2617321"/>
                  <a:gd name="connsiteY9" fmla="*/ 2145417 h 2175109"/>
                  <a:gd name="connsiteX10" fmla="*/ 444699 w 2617321"/>
                  <a:gd name="connsiteY10" fmla="*/ 1748204 h 2175109"/>
                  <a:gd name="connsiteX11" fmla="*/ 0 w 2617321"/>
                  <a:gd name="connsiteY11" fmla="*/ 1079788 h 2175109"/>
                  <a:gd name="connsiteX12" fmla="*/ 454427 w 2617321"/>
                  <a:gd name="connsiteY12" fmla="*/ 444698 h 2175109"/>
                  <a:gd name="connsiteX13" fmla="*/ 455813 w 2617321"/>
                  <a:gd name="connsiteY13" fmla="*/ 468 h 2175109"/>
                  <a:gd name="connsiteX0" fmla="*/ 455813 w 2617321"/>
                  <a:gd name="connsiteY0" fmla="*/ 468 h 2175109"/>
                  <a:gd name="connsiteX1" fmla="*/ 842831 w 2617321"/>
                  <a:gd name="connsiteY1" fmla="*/ 0 h 2175109"/>
                  <a:gd name="connsiteX2" fmla="*/ 1539061 w 2617321"/>
                  <a:gd name="connsiteY2" fmla="*/ 483609 h 2175109"/>
                  <a:gd name="connsiteX3" fmla="*/ 2245000 w 2617321"/>
                  <a:gd name="connsiteY3" fmla="*/ 5565 h 2175109"/>
                  <a:gd name="connsiteX4" fmla="*/ 2613966 w 2617321"/>
                  <a:gd name="connsiteY4" fmla="*/ 5332 h 2175109"/>
                  <a:gd name="connsiteX5" fmla="*/ 2617053 w 2617321"/>
                  <a:gd name="connsiteY5" fmla="*/ 2175109 h 2175109"/>
                  <a:gd name="connsiteX6" fmla="*/ 2185951 w 2617321"/>
                  <a:gd name="connsiteY6" fmla="*/ 2171612 h 2175109"/>
                  <a:gd name="connsiteX7" fmla="*/ 1533493 w 2617321"/>
                  <a:gd name="connsiteY7" fmla="*/ 1680110 h 2175109"/>
                  <a:gd name="connsiteX8" fmla="*/ 858125 w 2617321"/>
                  <a:gd name="connsiteY8" fmla="*/ 2156766 h 2175109"/>
                  <a:gd name="connsiteX9" fmla="*/ 454816 w 2617321"/>
                  <a:gd name="connsiteY9" fmla="*/ 2170371 h 2175109"/>
                  <a:gd name="connsiteX10" fmla="*/ 444699 w 2617321"/>
                  <a:gd name="connsiteY10" fmla="*/ 1748204 h 2175109"/>
                  <a:gd name="connsiteX11" fmla="*/ 0 w 2617321"/>
                  <a:gd name="connsiteY11" fmla="*/ 1079788 h 2175109"/>
                  <a:gd name="connsiteX12" fmla="*/ 454427 w 2617321"/>
                  <a:gd name="connsiteY12" fmla="*/ 444698 h 2175109"/>
                  <a:gd name="connsiteX13" fmla="*/ 455813 w 2617321"/>
                  <a:gd name="connsiteY13" fmla="*/ 468 h 2175109"/>
                  <a:gd name="connsiteX0" fmla="*/ 455813 w 2617321"/>
                  <a:gd name="connsiteY0" fmla="*/ 468 h 2175109"/>
                  <a:gd name="connsiteX1" fmla="*/ 842831 w 2617321"/>
                  <a:gd name="connsiteY1" fmla="*/ 0 h 2175109"/>
                  <a:gd name="connsiteX2" fmla="*/ 1539061 w 2617321"/>
                  <a:gd name="connsiteY2" fmla="*/ 483609 h 2175109"/>
                  <a:gd name="connsiteX3" fmla="*/ 2245000 w 2617321"/>
                  <a:gd name="connsiteY3" fmla="*/ 5565 h 2175109"/>
                  <a:gd name="connsiteX4" fmla="*/ 2613966 w 2617321"/>
                  <a:gd name="connsiteY4" fmla="*/ 5332 h 2175109"/>
                  <a:gd name="connsiteX5" fmla="*/ 2617053 w 2617321"/>
                  <a:gd name="connsiteY5" fmla="*/ 2175109 h 2175109"/>
                  <a:gd name="connsiteX6" fmla="*/ 2185951 w 2617321"/>
                  <a:gd name="connsiteY6" fmla="*/ 2171612 h 2175109"/>
                  <a:gd name="connsiteX7" fmla="*/ 1533493 w 2617321"/>
                  <a:gd name="connsiteY7" fmla="*/ 1680110 h 2175109"/>
                  <a:gd name="connsiteX8" fmla="*/ 858126 w 2617321"/>
                  <a:gd name="connsiteY8" fmla="*/ 2171738 h 2175109"/>
                  <a:gd name="connsiteX9" fmla="*/ 454816 w 2617321"/>
                  <a:gd name="connsiteY9" fmla="*/ 2170371 h 2175109"/>
                  <a:gd name="connsiteX10" fmla="*/ 444699 w 2617321"/>
                  <a:gd name="connsiteY10" fmla="*/ 1748204 h 2175109"/>
                  <a:gd name="connsiteX11" fmla="*/ 0 w 2617321"/>
                  <a:gd name="connsiteY11" fmla="*/ 1079788 h 2175109"/>
                  <a:gd name="connsiteX12" fmla="*/ 454427 w 2617321"/>
                  <a:gd name="connsiteY12" fmla="*/ 444698 h 2175109"/>
                  <a:gd name="connsiteX13" fmla="*/ 455813 w 2617321"/>
                  <a:gd name="connsiteY13" fmla="*/ 468 h 2175109"/>
                  <a:gd name="connsiteX0" fmla="*/ 455813 w 2617321"/>
                  <a:gd name="connsiteY0" fmla="*/ 468 h 2175109"/>
                  <a:gd name="connsiteX1" fmla="*/ 842831 w 2617321"/>
                  <a:gd name="connsiteY1" fmla="*/ 0 h 2175109"/>
                  <a:gd name="connsiteX2" fmla="*/ 1539061 w 2617321"/>
                  <a:gd name="connsiteY2" fmla="*/ 483609 h 2175109"/>
                  <a:gd name="connsiteX3" fmla="*/ 2245000 w 2617321"/>
                  <a:gd name="connsiteY3" fmla="*/ 5565 h 2175109"/>
                  <a:gd name="connsiteX4" fmla="*/ 2613966 w 2617321"/>
                  <a:gd name="connsiteY4" fmla="*/ 5332 h 2175109"/>
                  <a:gd name="connsiteX5" fmla="*/ 2617053 w 2617321"/>
                  <a:gd name="connsiteY5" fmla="*/ 2175109 h 2175109"/>
                  <a:gd name="connsiteX6" fmla="*/ 2185951 w 2617321"/>
                  <a:gd name="connsiteY6" fmla="*/ 2171612 h 2175109"/>
                  <a:gd name="connsiteX7" fmla="*/ 858126 w 2617321"/>
                  <a:gd name="connsiteY7" fmla="*/ 2171738 h 2175109"/>
                  <a:gd name="connsiteX8" fmla="*/ 454816 w 2617321"/>
                  <a:gd name="connsiteY8" fmla="*/ 2170371 h 2175109"/>
                  <a:gd name="connsiteX9" fmla="*/ 444699 w 2617321"/>
                  <a:gd name="connsiteY9" fmla="*/ 1748204 h 2175109"/>
                  <a:gd name="connsiteX10" fmla="*/ 0 w 2617321"/>
                  <a:gd name="connsiteY10" fmla="*/ 1079788 h 2175109"/>
                  <a:gd name="connsiteX11" fmla="*/ 454427 w 2617321"/>
                  <a:gd name="connsiteY11" fmla="*/ 444698 h 2175109"/>
                  <a:gd name="connsiteX12" fmla="*/ 455813 w 2617321"/>
                  <a:gd name="connsiteY12" fmla="*/ 468 h 2175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17321" h="2175109">
                    <a:moveTo>
                      <a:pt x="455813" y="468"/>
                    </a:moveTo>
                    <a:lnTo>
                      <a:pt x="842831" y="0"/>
                    </a:lnTo>
                    <a:lnTo>
                      <a:pt x="1539061" y="483609"/>
                    </a:lnTo>
                    <a:lnTo>
                      <a:pt x="2245000" y="5565"/>
                    </a:lnTo>
                    <a:lnTo>
                      <a:pt x="2613966" y="5332"/>
                    </a:lnTo>
                    <a:cubicBezTo>
                      <a:pt x="2612345" y="721936"/>
                      <a:pt x="2618674" y="1458505"/>
                      <a:pt x="2617053" y="2175109"/>
                    </a:cubicBezTo>
                    <a:lnTo>
                      <a:pt x="2185951" y="2171612"/>
                    </a:lnTo>
                    <a:lnTo>
                      <a:pt x="858126" y="2171738"/>
                    </a:lnTo>
                    <a:lnTo>
                      <a:pt x="454816" y="2170371"/>
                    </a:lnTo>
                    <a:lnTo>
                      <a:pt x="444699" y="1748204"/>
                    </a:lnTo>
                    <a:lnTo>
                      <a:pt x="0" y="1079788"/>
                    </a:lnTo>
                    <a:lnTo>
                      <a:pt x="454427" y="444698"/>
                    </a:lnTo>
                    <a:lnTo>
                      <a:pt x="455813" y="468"/>
                    </a:lnTo>
                    <a:close/>
                  </a:path>
                </a:pathLst>
              </a:custGeom>
              <a:solidFill>
                <a:schemeClr val="accent4"/>
              </a:solidFill>
              <a:ln>
                <a:noFill/>
              </a:ln>
              <a:effectLst/>
              <a:scene3d>
                <a:camera prst="orthographicFront"/>
                <a:lightRig rig="threePt" dir="t"/>
              </a:scene3d>
              <a:sp3d prstMaterial="plastic"/>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Univers for KPMG" panose="020B0603020202020204" pitchFamily="34" charset="0"/>
                </a:endParaRPr>
              </a:p>
            </p:txBody>
          </p:sp>
          <p:sp>
            <p:nvSpPr>
              <p:cNvPr id="12" name="Freeform 141"/>
              <p:cNvSpPr/>
              <p:nvPr/>
            </p:nvSpPr>
            <p:spPr>
              <a:xfrm>
                <a:off x="5463607" y="4800599"/>
                <a:ext cx="3068834" cy="1139048"/>
              </a:xfrm>
              <a:custGeom>
                <a:avLst/>
                <a:gdLst>
                  <a:gd name="connsiteX0" fmla="*/ 0 w 3068834"/>
                  <a:gd name="connsiteY0" fmla="*/ 0 h 1139048"/>
                  <a:gd name="connsiteX1" fmla="*/ 3066719 w 3068834"/>
                  <a:gd name="connsiteY1" fmla="*/ 0 h 1139048"/>
                  <a:gd name="connsiteX2" fmla="*/ 3068488 w 3068834"/>
                  <a:gd name="connsiteY2" fmla="*/ 568634 h 1139048"/>
                  <a:gd name="connsiteX3" fmla="*/ 3068519 w 3068834"/>
                  <a:gd name="connsiteY3" fmla="*/ 1139048 h 1139048"/>
                  <a:gd name="connsiteX4" fmla="*/ 2561001 w 3068834"/>
                  <a:gd name="connsiteY4" fmla="*/ 1135358 h 1139048"/>
                  <a:gd name="connsiteX5" fmla="*/ 997811 w 3068834"/>
                  <a:gd name="connsiteY5" fmla="*/ 1135491 h 1139048"/>
                  <a:gd name="connsiteX6" fmla="*/ 523011 w 3068834"/>
                  <a:gd name="connsiteY6" fmla="*/ 1134049 h 1139048"/>
                  <a:gd name="connsiteX7" fmla="*/ 511101 w 3068834"/>
                  <a:gd name="connsiteY7" fmla="*/ 688577 h 1139048"/>
                  <a:gd name="connsiteX8" fmla="*/ 0 w 3068834"/>
                  <a:gd name="connsiteY8" fmla="*/ 0 h 113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8834" h="1139048">
                    <a:moveTo>
                      <a:pt x="0" y="0"/>
                    </a:moveTo>
                    <a:lnTo>
                      <a:pt x="3066719" y="0"/>
                    </a:lnTo>
                    <a:lnTo>
                      <a:pt x="3068488" y="568634"/>
                    </a:lnTo>
                    <a:cubicBezTo>
                      <a:pt x="3068888" y="759650"/>
                      <a:pt x="3068996" y="950007"/>
                      <a:pt x="3068519" y="1139048"/>
                    </a:cubicBezTo>
                    <a:lnTo>
                      <a:pt x="2561001" y="1135358"/>
                    </a:lnTo>
                    <a:lnTo>
                      <a:pt x="997811" y="1135491"/>
                    </a:lnTo>
                    <a:lnTo>
                      <a:pt x="523011" y="1134049"/>
                    </a:lnTo>
                    <a:lnTo>
                      <a:pt x="511101" y="688577"/>
                    </a:lnTo>
                    <a:lnTo>
                      <a:pt x="0" y="0"/>
                    </a:lnTo>
                    <a:close/>
                  </a:path>
                </a:pathLst>
              </a:cu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Univers for KPMG" panose="020B0603020202020204" pitchFamily="34" charset="0"/>
                </a:endParaRPr>
              </a:p>
            </p:txBody>
          </p:sp>
        </p:grpSp>
        <p:grpSp>
          <p:nvGrpSpPr>
            <p:cNvPr id="13" name="Group 19"/>
            <p:cNvGrpSpPr/>
            <p:nvPr/>
          </p:nvGrpSpPr>
          <p:grpSpPr>
            <a:xfrm>
              <a:off x="2128228" y="1251991"/>
              <a:ext cx="3089250" cy="2743479"/>
              <a:chOff x="604228" y="1251990"/>
              <a:chExt cx="3089250" cy="2743479"/>
            </a:xfrm>
          </p:grpSpPr>
          <p:sp>
            <p:nvSpPr>
              <p:cNvPr id="14" name="Rectangle 3"/>
              <p:cNvSpPr/>
              <p:nvPr/>
            </p:nvSpPr>
            <p:spPr>
              <a:xfrm>
                <a:off x="604228" y="1251990"/>
                <a:ext cx="3087053" cy="2743479"/>
              </a:xfrm>
              <a:custGeom>
                <a:avLst/>
                <a:gdLst>
                  <a:gd name="connsiteX0" fmla="*/ 0 w 3657600"/>
                  <a:gd name="connsiteY0" fmla="*/ 0 h 2895600"/>
                  <a:gd name="connsiteX1" fmla="*/ 3657600 w 3657600"/>
                  <a:gd name="connsiteY1" fmla="*/ 0 h 2895600"/>
                  <a:gd name="connsiteX2" fmla="*/ 3657600 w 3657600"/>
                  <a:gd name="connsiteY2" fmla="*/ 2895600 h 2895600"/>
                  <a:gd name="connsiteX3" fmla="*/ 0 w 3657600"/>
                  <a:gd name="connsiteY3" fmla="*/ 2895600 h 2895600"/>
                  <a:gd name="connsiteX4" fmla="*/ 0 w 3657600"/>
                  <a:gd name="connsiteY4" fmla="*/ 0 h 2895600"/>
                  <a:gd name="connsiteX0" fmla="*/ 838200 w 3657600"/>
                  <a:gd name="connsiteY0" fmla="*/ 107950 h 2895600"/>
                  <a:gd name="connsiteX1" fmla="*/ 3657600 w 3657600"/>
                  <a:gd name="connsiteY1" fmla="*/ 0 h 2895600"/>
                  <a:gd name="connsiteX2" fmla="*/ 3657600 w 3657600"/>
                  <a:gd name="connsiteY2" fmla="*/ 2895600 h 2895600"/>
                  <a:gd name="connsiteX3" fmla="*/ 0 w 3657600"/>
                  <a:gd name="connsiteY3" fmla="*/ 2895600 h 2895600"/>
                  <a:gd name="connsiteX4" fmla="*/ 838200 w 3657600"/>
                  <a:gd name="connsiteY4" fmla="*/ 107950 h 2895600"/>
                  <a:gd name="connsiteX0" fmla="*/ 838200 w 3657600"/>
                  <a:gd name="connsiteY0" fmla="*/ 0 h 2787650"/>
                  <a:gd name="connsiteX1" fmla="*/ 3016250 w 3657600"/>
                  <a:gd name="connsiteY1" fmla="*/ 0 h 2787650"/>
                  <a:gd name="connsiteX2" fmla="*/ 3657600 w 3657600"/>
                  <a:gd name="connsiteY2" fmla="*/ 2787650 h 2787650"/>
                  <a:gd name="connsiteX3" fmla="*/ 0 w 3657600"/>
                  <a:gd name="connsiteY3" fmla="*/ 2787650 h 2787650"/>
                  <a:gd name="connsiteX4" fmla="*/ 838200 w 3657600"/>
                  <a:gd name="connsiteY4" fmla="*/ 0 h 2787650"/>
                  <a:gd name="connsiteX0" fmla="*/ 0 w 2819400"/>
                  <a:gd name="connsiteY0" fmla="*/ 0 h 2787650"/>
                  <a:gd name="connsiteX1" fmla="*/ 2178050 w 2819400"/>
                  <a:gd name="connsiteY1" fmla="*/ 0 h 2787650"/>
                  <a:gd name="connsiteX2" fmla="*/ 2819400 w 2819400"/>
                  <a:gd name="connsiteY2" fmla="*/ 2787650 h 2787650"/>
                  <a:gd name="connsiteX3" fmla="*/ 6350 w 2819400"/>
                  <a:gd name="connsiteY3" fmla="*/ 2159000 h 2787650"/>
                  <a:gd name="connsiteX4" fmla="*/ 0 w 2819400"/>
                  <a:gd name="connsiteY4" fmla="*/ 0 h 2787650"/>
                  <a:gd name="connsiteX0" fmla="*/ 0 w 2819400"/>
                  <a:gd name="connsiteY0" fmla="*/ 0 h 2787650"/>
                  <a:gd name="connsiteX1" fmla="*/ 2178050 w 2819400"/>
                  <a:gd name="connsiteY1" fmla="*/ 0 h 2787650"/>
                  <a:gd name="connsiteX2" fmla="*/ 2819400 w 2819400"/>
                  <a:gd name="connsiteY2" fmla="*/ 2787650 h 2787650"/>
                  <a:gd name="connsiteX3" fmla="*/ 458525 w 2819400"/>
                  <a:gd name="connsiteY3" fmla="*/ 2261539 h 2787650"/>
                  <a:gd name="connsiteX4" fmla="*/ 6350 w 2819400"/>
                  <a:gd name="connsiteY4" fmla="*/ 2159000 h 2787650"/>
                  <a:gd name="connsiteX5" fmla="*/ 0 w 2819400"/>
                  <a:gd name="connsiteY5" fmla="*/ 0 h 2787650"/>
                  <a:gd name="connsiteX0" fmla="*/ 0 w 2819400"/>
                  <a:gd name="connsiteY0" fmla="*/ 0 h 2787650"/>
                  <a:gd name="connsiteX1" fmla="*/ 2178050 w 2819400"/>
                  <a:gd name="connsiteY1" fmla="*/ 0 h 2787650"/>
                  <a:gd name="connsiteX2" fmla="*/ 2819400 w 2819400"/>
                  <a:gd name="connsiteY2" fmla="*/ 2787650 h 2787650"/>
                  <a:gd name="connsiteX3" fmla="*/ 430695 w 2819400"/>
                  <a:gd name="connsiteY3" fmla="*/ 2138294 h 2787650"/>
                  <a:gd name="connsiteX4" fmla="*/ 6350 w 2819400"/>
                  <a:gd name="connsiteY4" fmla="*/ 2159000 h 2787650"/>
                  <a:gd name="connsiteX5" fmla="*/ 0 w 2819400"/>
                  <a:gd name="connsiteY5" fmla="*/ 0 h 2787650"/>
                  <a:gd name="connsiteX0" fmla="*/ 0 w 2819400"/>
                  <a:gd name="connsiteY0" fmla="*/ 0 h 2787650"/>
                  <a:gd name="connsiteX1" fmla="*/ 2178050 w 2819400"/>
                  <a:gd name="connsiteY1" fmla="*/ 0 h 2787650"/>
                  <a:gd name="connsiteX2" fmla="*/ 2819400 w 2819400"/>
                  <a:gd name="connsiteY2" fmla="*/ 2787650 h 2787650"/>
                  <a:gd name="connsiteX3" fmla="*/ 430695 w 2819400"/>
                  <a:gd name="connsiteY3" fmla="*/ 2138294 h 2787650"/>
                  <a:gd name="connsiteX4" fmla="*/ 2375 w 2819400"/>
                  <a:gd name="connsiteY4" fmla="*/ 2123219 h 2787650"/>
                  <a:gd name="connsiteX5" fmla="*/ 0 w 2819400"/>
                  <a:gd name="connsiteY5" fmla="*/ 0 h 2787650"/>
                  <a:gd name="connsiteX0" fmla="*/ 0 w 2819400"/>
                  <a:gd name="connsiteY0" fmla="*/ 0 h 2787650"/>
                  <a:gd name="connsiteX1" fmla="*/ 2178050 w 2819400"/>
                  <a:gd name="connsiteY1" fmla="*/ 0 h 2787650"/>
                  <a:gd name="connsiteX2" fmla="*/ 2819400 w 2819400"/>
                  <a:gd name="connsiteY2" fmla="*/ 2787650 h 2787650"/>
                  <a:gd name="connsiteX3" fmla="*/ 430695 w 2819400"/>
                  <a:gd name="connsiteY3" fmla="*/ 2138294 h 2787650"/>
                  <a:gd name="connsiteX4" fmla="*/ 2375 w 2819400"/>
                  <a:gd name="connsiteY4" fmla="*/ 2135146 h 2787650"/>
                  <a:gd name="connsiteX5" fmla="*/ 0 w 2819400"/>
                  <a:gd name="connsiteY5" fmla="*/ 0 h 2787650"/>
                  <a:gd name="connsiteX0" fmla="*/ 0 w 2819400"/>
                  <a:gd name="connsiteY0" fmla="*/ 0 h 2787650"/>
                  <a:gd name="connsiteX1" fmla="*/ 2178050 w 2819400"/>
                  <a:gd name="connsiteY1" fmla="*/ 0 h 2787650"/>
                  <a:gd name="connsiteX2" fmla="*/ 2819400 w 2819400"/>
                  <a:gd name="connsiteY2" fmla="*/ 2787650 h 2787650"/>
                  <a:gd name="connsiteX3" fmla="*/ 1205948 w 2819400"/>
                  <a:gd name="connsiteY3" fmla="*/ 2356954 h 2787650"/>
                  <a:gd name="connsiteX4" fmla="*/ 430695 w 2819400"/>
                  <a:gd name="connsiteY4" fmla="*/ 2138294 h 2787650"/>
                  <a:gd name="connsiteX5" fmla="*/ 2375 w 2819400"/>
                  <a:gd name="connsiteY5" fmla="*/ 2135146 h 2787650"/>
                  <a:gd name="connsiteX6" fmla="*/ 0 w 2819400"/>
                  <a:gd name="connsiteY6" fmla="*/ 0 h 2787650"/>
                  <a:gd name="connsiteX0" fmla="*/ 0 w 2819400"/>
                  <a:gd name="connsiteY0" fmla="*/ 0 h 2787650"/>
                  <a:gd name="connsiteX1" fmla="*/ 2178050 w 2819400"/>
                  <a:gd name="connsiteY1" fmla="*/ 0 h 2787650"/>
                  <a:gd name="connsiteX2" fmla="*/ 2819400 w 2819400"/>
                  <a:gd name="connsiteY2" fmla="*/ 2787650 h 2787650"/>
                  <a:gd name="connsiteX3" fmla="*/ 1074752 w 2819400"/>
                  <a:gd name="connsiteY3" fmla="*/ 2587542 h 2787650"/>
                  <a:gd name="connsiteX4" fmla="*/ 430695 w 2819400"/>
                  <a:gd name="connsiteY4" fmla="*/ 2138294 h 2787650"/>
                  <a:gd name="connsiteX5" fmla="*/ 2375 w 2819400"/>
                  <a:gd name="connsiteY5" fmla="*/ 2135146 h 2787650"/>
                  <a:gd name="connsiteX6" fmla="*/ 0 w 2819400"/>
                  <a:gd name="connsiteY6" fmla="*/ 0 h 2787650"/>
                  <a:gd name="connsiteX0" fmla="*/ 0 w 2819400"/>
                  <a:gd name="connsiteY0" fmla="*/ 0 h 2787650"/>
                  <a:gd name="connsiteX1" fmla="*/ 2178050 w 2819400"/>
                  <a:gd name="connsiteY1" fmla="*/ 0 h 2787650"/>
                  <a:gd name="connsiteX2" fmla="*/ 2819400 w 2819400"/>
                  <a:gd name="connsiteY2" fmla="*/ 2787650 h 2787650"/>
                  <a:gd name="connsiteX3" fmla="*/ 1981200 w 2819400"/>
                  <a:gd name="connsiteY3" fmla="*/ 2686933 h 2787650"/>
                  <a:gd name="connsiteX4" fmla="*/ 1074752 w 2819400"/>
                  <a:gd name="connsiteY4" fmla="*/ 2587542 h 2787650"/>
                  <a:gd name="connsiteX5" fmla="*/ 430695 w 2819400"/>
                  <a:gd name="connsiteY5" fmla="*/ 2138294 h 2787650"/>
                  <a:gd name="connsiteX6" fmla="*/ 2375 w 2819400"/>
                  <a:gd name="connsiteY6" fmla="*/ 2135146 h 2787650"/>
                  <a:gd name="connsiteX7" fmla="*/ 0 w 2819400"/>
                  <a:gd name="connsiteY7" fmla="*/ 0 h 2787650"/>
                  <a:gd name="connsiteX0" fmla="*/ 0 w 2819400"/>
                  <a:gd name="connsiteY0" fmla="*/ 0 h 2787650"/>
                  <a:gd name="connsiteX1" fmla="*/ 2178050 w 2819400"/>
                  <a:gd name="connsiteY1" fmla="*/ 0 h 2787650"/>
                  <a:gd name="connsiteX2" fmla="*/ 2819400 w 2819400"/>
                  <a:gd name="connsiteY2" fmla="*/ 2787650 h 2787650"/>
                  <a:gd name="connsiteX3" fmla="*/ 1742661 w 2819400"/>
                  <a:gd name="connsiteY3" fmla="*/ 2138293 h 2787650"/>
                  <a:gd name="connsiteX4" fmla="*/ 1074752 w 2819400"/>
                  <a:gd name="connsiteY4" fmla="*/ 2587542 h 2787650"/>
                  <a:gd name="connsiteX5" fmla="*/ 430695 w 2819400"/>
                  <a:gd name="connsiteY5" fmla="*/ 2138294 h 2787650"/>
                  <a:gd name="connsiteX6" fmla="*/ 2375 w 2819400"/>
                  <a:gd name="connsiteY6" fmla="*/ 2135146 h 2787650"/>
                  <a:gd name="connsiteX7" fmla="*/ 0 w 2819400"/>
                  <a:gd name="connsiteY7" fmla="*/ 0 h 2787650"/>
                  <a:gd name="connsiteX0" fmla="*/ 0 w 2819400"/>
                  <a:gd name="connsiteY0" fmla="*/ 0 h 2787650"/>
                  <a:gd name="connsiteX1" fmla="*/ 2178050 w 2819400"/>
                  <a:gd name="connsiteY1" fmla="*/ 0 h 2787650"/>
                  <a:gd name="connsiteX2" fmla="*/ 2819400 w 2819400"/>
                  <a:gd name="connsiteY2" fmla="*/ 2787650 h 2787650"/>
                  <a:gd name="connsiteX3" fmla="*/ 1730734 w 2819400"/>
                  <a:gd name="connsiteY3" fmla="*/ 2142268 h 2787650"/>
                  <a:gd name="connsiteX4" fmla="*/ 1074752 w 2819400"/>
                  <a:gd name="connsiteY4" fmla="*/ 2587542 h 2787650"/>
                  <a:gd name="connsiteX5" fmla="*/ 430695 w 2819400"/>
                  <a:gd name="connsiteY5" fmla="*/ 2138294 h 2787650"/>
                  <a:gd name="connsiteX6" fmla="*/ 2375 w 2819400"/>
                  <a:gd name="connsiteY6" fmla="*/ 2135146 h 2787650"/>
                  <a:gd name="connsiteX7" fmla="*/ 0 w 2819400"/>
                  <a:gd name="connsiteY7" fmla="*/ 0 h 2787650"/>
                  <a:gd name="connsiteX0" fmla="*/ 0 w 2178050"/>
                  <a:gd name="connsiteY0" fmla="*/ 0 h 2587542"/>
                  <a:gd name="connsiteX1" fmla="*/ 2178050 w 2178050"/>
                  <a:gd name="connsiteY1" fmla="*/ 0 h 2587542"/>
                  <a:gd name="connsiteX2" fmla="*/ 2163418 w 2178050"/>
                  <a:gd name="connsiteY2" fmla="*/ 2143594 h 2587542"/>
                  <a:gd name="connsiteX3" fmla="*/ 1730734 w 2178050"/>
                  <a:gd name="connsiteY3" fmla="*/ 2142268 h 2587542"/>
                  <a:gd name="connsiteX4" fmla="*/ 1074752 w 2178050"/>
                  <a:gd name="connsiteY4" fmla="*/ 2587542 h 2587542"/>
                  <a:gd name="connsiteX5" fmla="*/ 430695 w 2178050"/>
                  <a:gd name="connsiteY5" fmla="*/ 2138294 h 2587542"/>
                  <a:gd name="connsiteX6" fmla="*/ 2375 w 2178050"/>
                  <a:gd name="connsiteY6" fmla="*/ 2135146 h 2587542"/>
                  <a:gd name="connsiteX7" fmla="*/ 0 w 2178050"/>
                  <a:gd name="connsiteY7" fmla="*/ 0 h 2587542"/>
                  <a:gd name="connsiteX0" fmla="*/ 0 w 2178050"/>
                  <a:gd name="connsiteY0" fmla="*/ 0 h 2587542"/>
                  <a:gd name="connsiteX1" fmla="*/ 2178050 w 2178050"/>
                  <a:gd name="connsiteY1" fmla="*/ 0 h 2587542"/>
                  <a:gd name="connsiteX2" fmla="*/ 2164080 w 2178050"/>
                  <a:gd name="connsiteY2" fmla="*/ 1713230 h 2587542"/>
                  <a:gd name="connsiteX3" fmla="*/ 2163418 w 2178050"/>
                  <a:gd name="connsiteY3" fmla="*/ 2143594 h 2587542"/>
                  <a:gd name="connsiteX4" fmla="*/ 1730734 w 2178050"/>
                  <a:gd name="connsiteY4" fmla="*/ 2142268 h 2587542"/>
                  <a:gd name="connsiteX5" fmla="*/ 1074752 w 2178050"/>
                  <a:gd name="connsiteY5" fmla="*/ 2587542 h 2587542"/>
                  <a:gd name="connsiteX6" fmla="*/ 430695 w 2178050"/>
                  <a:gd name="connsiteY6" fmla="*/ 2138294 h 2587542"/>
                  <a:gd name="connsiteX7" fmla="*/ 2375 w 2178050"/>
                  <a:gd name="connsiteY7" fmla="*/ 2135146 h 2587542"/>
                  <a:gd name="connsiteX8" fmla="*/ 0 w 2178050"/>
                  <a:gd name="connsiteY8" fmla="*/ 0 h 2587542"/>
                  <a:gd name="connsiteX0" fmla="*/ 0 w 2178050"/>
                  <a:gd name="connsiteY0" fmla="*/ 0 h 2587542"/>
                  <a:gd name="connsiteX1" fmla="*/ 2178050 w 2178050"/>
                  <a:gd name="connsiteY1" fmla="*/ 0 h 2587542"/>
                  <a:gd name="connsiteX2" fmla="*/ 2164080 w 2178050"/>
                  <a:gd name="connsiteY2" fmla="*/ 1050290 h 2587542"/>
                  <a:gd name="connsiteX3" fmla="*/ 2164080 w 2178050"/>
                  <a:gd name="connsiteY3" fmla="*/ 1713230 h 2587542"/>
                  <a:gd name="connsiteX4" fmla="*/ 2163418 w 2178050"/>
                  <a:gd name="connsiteY4" fmla="*/ 2143594 h 2587542"/>
                  <a:gd name="connsiteX5" fmla="*/ 1730734 w 2178050"/>
                  <a:gd name="connsiteY5" fmla="*/ 2142268 h 2587542"/>
                  <a:gd name="connsiteX6" fmla="*/ 1074752 w 2178050"/>
                  <a:gd name="connsiteY6" fmla="*/ 2587542 h 2587542"/>
                  <a:gd name="connsiteX7" fmla="*/ 430695 w 2178050"/>
                  <a:gd name="connsiteY7" fmla="*/ 2138294 h 2587542"/>
                  <a:gd name="connsiteX8" fmla="*/ 2375 w 2178050"/>
                  <a:gd name="connsiteY8" fmla="*/ 2135146 h 2587542"/>
                  <a:gd name="connsiteX9" fmla="*/ 0 w 2178050"/>
                  <a:gd name="connsiteY9" fmla="*/ 0 h 2587542"/>
                  <a:gd name="connsiteX0" fmla="*/ 0 w 2621280"/>
                  <a:gd name="connsiteY0" fmla="*/ 0 h 2587542"/>
                  <a:gd name="connsiteX1" fmla="*/ 2178050 w 2621280"/>
                  <a:gd name="connsiteY1" fmla="*/ 0 h 2587542"/>
                  <a:gd name="connsiteX2" fmla="*/ 2621280 w 2621280"/>
                  <a:gd name="connsiteY2" fmla="*/ 1065530 h 2587542"/>
                  <a:gd name="connsiteX3" fmla="*/ 2164080 w 2621280"/>
                  <a:gd name="connsiteY3" fmla="*/ 1713230 h 2587542"/>
                  <a:gd name="connsiteX4" fmla="*/ 2163418 w 2621280"/>
                  <a:gd name="connsiteY4" fmla="*/ 2143594 h 2587542"/>
                  <a:gd name="connsiteX5" fmla="*/ 1730734 w 2621280"/>
                  <a:gd name="connsiteY5" fmla="*/ 2142268 h 2587542"/>
                  <a:gd name="connsiteX6" fmla="*/ 1074752 w 2621280"/>
                  <a:gd name="connsiteY6" fmla="*/ 2587542 h 2587542"/>
                  <a:gd name="connsiteX7" fmla="*/ 430695 w 2621280"/>
                  <a:gd name="connsiteY7" fmla="*/ 2138294 h 2587542"/>
                  <a:gd name="connsiteX8" fmla="*/ 2375 w 2621280"/>
                  <a:gd name="connsiteY8" fmla="*/ 2135146 h 2587542"/>
                  <a:gd name="connsiteX9" fmla="*/ 0 w 2621280"/>
                  <a:gd name="connsiteY9" fmla="*/ 0 h 2587542"/>
                  <a:gd name="connsiteX0" fmla="*/ 0 w 2621280"/>
                  <a:gd name="connsiteY0" fmla="*/ 0 h 2587542"/>
                  <a:gd name="connsiteX1" fmla="*/ 2178050 w 2621280"/>
                  <a:gd name="connsiteY1" fmla="*/ 0 h 2587542"/>
                  <a:gd name="connsiteX2" fmla="*/ 2293620 w 2621280"/>
                  <a:gd name="connsiteY2" fmla="*/ 303530 h 2587542"/>
                  <a:gd name="connsiteX3" fmla="*/ 2621280 w 2621280"/>
                  <a:gd name="connsiteY3" fmla="*/ 1065530 h 2587542"/>
                  <a:gd name="connsiteX4" fmla="*/ 2164080 w 2621280"/>
                  <a:gd name="connsiteY4" fmla="*/ 1713230 h 2587542"/>
                  <a:gd name="connsiteX5" fmla="*/ 2163418 w 2621280"/>
                  <a:gd name="connsiteY5" fmla="*/ 2143594 h 2587542"/>
                  <a:gd name="connsiteX6" fmla="*/ 1730734 w 2621280"/>
                  <a:gd name="connsiteY6" fmla="*/ 2142268 h 2587542"/>
                  <a:gd name="connsiteX7" fmla="*/ 1074752 w 2621280"/>
                  <a:gd name="connsiteY7" fmla="*/ 2587542 h 2587542"/>
                  <a:gd name="connsiteX8" fmla="*/ 430695 w 2621280"/>
                  <a:gd name="connsiteY8" fmla="*/ 2138294 h 2587542"/>
                  <a:gd name="connsiteX9" fmla="*/ 2375 w 2621280"/>
                  <a:gd name="connsiteY9" fmla="*/ 2135146 h 2587542"/>
                  <a:gd name="connsiteX10" fmla="*/ 0 w 2621280"/>
                  <a:gd name="connsiteY10" fmla="*/ 0 h 2587542"/>
                  <a:gd name="connsiteX0" fmla="*/ 0 w 2621280"/>
                  <a:gd name="connsiteY0" fmla="*/ 0 h 2587542"/>
                  <a:gd name="connsiteX1" fmla="*/ 2178050 w 2621280"/>
                  <a:gd name="connsiteY1" fmla="*/ 0 h 2587542"/>
                  <a:gd name="connsiteX2" fmla="*/ 2156460 w 2621280"/>
                  <a:gd name="connsiteY2" fmla="*/ 425450 h 2587542"/>
                  <a:gd name="connsiteX3" fmla="*/ 2621280 w 2621280"/>
                  <a:gd name="connsiteY3" fmla="*/ 1065530 h 2587542"/>
                  <a:gd name="connsiteX4" fmla="*/ 2164080 w 2621280"/>
                  <a:gd name="connsiteY4" fmla="*/ 1713230 h 2587542"/>
                  <a:gd name="connsiteX5" fmla="*/ 2163418 w 2621280"/>
                  <a:gd name="connsiteY5" fmla="*/ 2143594 h 2587542"/>
                  <a:gd name="connsiteX6" fmla="*/ 1730734 w 2621280"/>
                  <a:gd name="connsiteY6" fmla="*/ 2142268 h 2587542"/>
                  <a:gd name="connsiteX7" fmla="*/ 1074752 w 2621280"/>
                  <a:gd name="connsiteY7" fmla="*/ 2587542 h 2587542"/>
                  <a:gd name="connsiteX8" fmla="*/ 430695 w 2621280"/>
                  <a:gd name="connsiteY8" fmla="*/ 2138294 h 2587542"/>
                  <a:gd name="connsiteX9" fmla="*/ 2375 w 2621280"/>
                  <a:gd name="connsiteY9" fmla="*/ 2135146 h 2587542"/>
                  <a:gd name="connsiteX10" fmla="*/ 0 w 2621280"/>
                  <a:gd name="connsiteY10" fmla="*/ 0 h 2587542"/>
                  <a:gd name="connsiteX0" fmla="*/ 0 w 2621280"/>
                  <a:gd name="connsiteY0" fmla="*/ 8275 h 2595817"/>
                  <a:gd name="connsiteX1" fmla="*/ 2169775 w 2621280"/>
                  <a:gd name="connsiteY1" fmla="*/ 0 h 2595817"/>
                  <a:gd name="connsiteX2" fmla="*/ 2156460 w 2621280"/>
                  <a:gd name="connsiteY2" fmla="*/ 433725 h 2595817"/>
                  <a:gd name="connsiteX3" fmla="*/ 2621280 w 2621280"/>
                  <a:gd name="connsiteY3" fmla="*/ 1073805 h 2595817"/>
                  <a:gd name="connsiteX4" fmla="*/ 2164080 w 2621280"/>
                  <a:gd name="connsiteY4" fmla="*/ 1721505 h 2595817"/>
                  <a:gd name="connsiteX5" fmla="*/ 2163418 w 2621280"/>
                  <a:gd name="connsiteY5" fmla="*/ 2151869 h 2595817"/>
                  <a:gd name="connsiteX6" fmla="*/ 1730734 w 2621280"/>
                  <a:gd name="connsiteY6" fmla="*/ 2150543 h 2595817"/>
                  <a:gd name="connsiteX7" fmla="*/ 1074752 w 2621280"/>
                  <a:gd name="connsiteY7" fmla="*/ 2595817 h 2595817"/>
                  <a:gd name="connsiteX8" fmla="*/ 430695 w 2621280"/>
                  <a:gd name="connsiteY8" fmla="*/ 2146569 h 2595817"/>
                  <a:gd name="connsiteX9" fmla="*/ 2375 w 2621280"/>
                  <a:gd name="connsiteY9" fmla="*/ 2143421 h 2595817"/>
                  <a:gd name="connsiteX10" fmla="*/ 0 w 2621280"/>
                  <a:gd name="connsiteY10" fmla="*/ 8275 h 2595817"/>
                  <a:gd name="connsiteX0" fmla="*/ 0 w 2621280"/>
                  <a:gd name="connsiteY0" fmla="*/ 12412 h 2599954"/>
                  <a:gd name="connsiteX1" fmla="*/ 2165638 w 2621280"/>
                  <a:gd name="connsiteY1" fmla="*/ 0 h 2599954"/>
                  <a:gd name="connsiteX2" fmla="*/ 2156460 w 2621280"/>
                  <a:gd name="connsiteY2" fmla="*/ 437862 h 2599954"/>
                  <a:gd name="connsiteX3" fmla="*/ 2621280 w 2621280"/>
                  <a:gd name="connsiteY3" fmla="*/ 1077942 h 2599954"/>
                  <a:gd name="connsiteX4" fmla="*/ 2164080 w 2621280"/>
                  <a:gd name="connsiteY4" fmla="*/ 1725642 h 2599954"/>
                  <a:gd name="connsiteX5" fmla="*/ 2163418 w 2621280"/>
                  <a:gd name="connsiteY5" fmla="*/ 2156006 h 2599954"/>
                  <a:gd name="connsiteX6" fmla="*/ 1730734 w 2621280"/>
                  <a:gd name="connsiteY6" fmla="*/ 2154680 h 2599954"/>
                  <a:gd name="connsiteX7" fmla="*/ 1074752 w 2621280"/>
                  <a:gd name="connsiteY7" fmla="*/ 2599954 h 2599954"/>
                  <a:gd name="connsiteX8" fmla="*/ 430695 w 2621280"/>
                  <a:gd name="connsiteY8" fmla="*/ 2150706 h 2599954"/>
                  <a:gd name="connsiteX9" fmla="*/ 2375 w 2621280"/>
                  <a:gd name="connsiteY9" fmla="*/ 2147558 h 2599954"/>
                  <a:gd name="connsiteX10" fmla="*/ 0 w 2621280"/>
                  <a:gd name="connsiteY10" fmla="*/ 12412 h 2599954"/>
                  <a:gd name="connsiteX0" fmla="*/ 964 w 2622244"/>
                  <a:gd name="connsiteY0" fmla="*/ 12412 h 2599954"/>
                  <a:gd name="connsiteX1" fmla="*/ 2166602 w 2622244"/>
                  <a:gd name="connsiteY1" fmla="*/ 0 h 2599954"/>
                  <a:gd name="connsiteX2" fmla="*/ 2157424 w 2622244"/>
                  <a:gd name="connsiteY2" fmla="*/ 437862 h 2599954"/>
                  <a:gd name="connsiteX3" fmla="*/ 2622244 w 2622244"/>
                  <a:gd name="connsiteY3" fmla="*/ 1077942 h 2599954"/>
                  <a:gd name="connsiteX4" fmla="*/ 2165044 w 2622244"/>
                  <a:gd name="connsiteY4" fmla="*/ 1725642 h 2599954"/>
                  <a:gd name="connsiteX5" fmla="*/ 2164382 w 2622244"/>
                  <a:gd name="connsiteY5" fmla="*/ 2156006 h 2599954"/>
                  <a:gd name="connsiteX6" fmla="*/ 1731698 w 2622244"/>
                  <a:gd name="connsiteY6" fmla="*/ 2154680 h 2599954"/>
                  <a:gd name="connsiteX7" fmla="*/ 1075716 w 2622244"/>
                  <a:gd name="connsiteY7" fmla="*/ 2599954 h 2599954"/>
                  <a:gd name="connsiteX8" fmla="*/ 431659 w 2622244"/>
                  <a:gd name="connsiteY8" fmla="*/ 2150706 h 2599954"/>
                  <a:gd name="connsiteX9" fmla="*/ 568 w 2622244"/>
                  <a:gd name="connsiteY9" fmla="*/ 2147558 h 2599954"/>
                  <a:gd name="connsiteX10" fmla="*/ 964 w 2622244"/>
                  <a:gd name="connsiteY10" fmla="*/ 12412 h 2599954"/>
                  <a:gd name="connsiteX0" fmla="*/ 964 w 2622244"/>
                  <a:gd name="connsiteY0" fmla="*/ 4099 h 2599954"/>
                  <a:gd name="connsiteX1" fmla="*/ 2166602 w 2622244"/>
                  <a:gd name="connsiteY1" fmla="*/ 0 h 2599954"/>
                  <a:gd name="connsiteX2" fmla="*/ 2157424 w 2622244"/>
                  <a:gd name="connsiteY2" fmla="*/ 437862 h 2599954"/>
                  <a:gd name="connsiteX3" fmla="*/ 2622244 w 2622244"/>
                  <a:gd name="connsiteY3" fmla="*/ 1077942 h 2599954"/>
                  <a:gd name="connsiteX4" fmla="*/ 2165044 w 2622244"/>
                  <a:gd name="connsiteY4" fmla="*/ 1725642 h 2599954"/>
                  <a:gd name="connsiteX5" fmla="*/ 2164382 w 2622244"/>
                  <a:gd name="connsiteY5" fmla="*/ 2156006 h 2599954"/>
                  <a:gd name="connsiteX6" fmla="*/ 1731698 w 2622244"/>
                  <a:gd name="connsiteY6" fmla="*/ 2154680 h 2599954"/>
                  <a:gd name="connsiteX7" fmla="*/ 1075716 w 2622244"/>
                  <a:gd name="connsiteY7" fmla="*/ 2599954 h 2599954"/>
                  <a:gd name="connsiteX8" fmla="*/ 431659 w 2622244"/>
                  <a:gd name="connsiteY8" fmla="*/ 2150706 h 2599954"/>
                  <a:gd name="connsiteX9" fmla="*/ 568 w 2622244"/>
                  <a:gd name="connsiteY9" fmla="*/ 2147558 h 2599954"/>
                  <a:gd name="connsiteX10" fmla="*/ 964 w 2622244"/>
                  <a:gd name="connsiteY10" fmla="*/ 4099 h 2599954"/>
                  <a:gd name="connsiteX0" fmla="*/ 964 w 2622244"/>
                  <a:gd name="connsiteY0" fmla="*/ 4099 h 2599954"/>
                  <a:gd name="connsiteX1" fmla="*/ 2166602 w 2622244"/>
                  <a:gd name="connsiteY1" fmla="*/ 0 h 2599954"/>
                  <a:gd name="connsiteX2" fmla="*/ 2157424 w 2622244"/>
                  <a:gd name="connsiteY2" fmla="*/ 427167 h 2599954"/>
                  <a:gd name="connsiteX3" fmla="*/ 2622244 w 2622244"/>
                  <a:gd name="connsiteY3" fmla="*/ 1077942 h 2599954"/>
                  <a:gd name="connsiteX4" fmla="*/ 2165044 w 2622244"/>
                  <a:gd name="connsiteY4" fmla="*/ 1725642 h 2599954"/>
                  <a:gd name="connsiteX5" fmla="*/ 2164382 w 2622244"/>
                  <a:gd name="connsiteY5" fmla="*/ 2156006 h 2599954"/>
                  <a:gd name="connsiteX6" fmla="*/ 1731698 w 2622244"/>
                  <a:gd name="connsiteY6" fmla="*/ 2154680 h 2599954"/>
                  <a:gd name="connsiteX7" fmla="*/ 1075716 w 2622244"/>
                  <a:gd name="connsiteY7" fmla="*/ 2599954 h 2599954"/>
                  <a:gd name="connsiteX8" fmla="*/ 431659 w 2622244"/>
                  <a:gd name="connsiteY8" fmla="*/ 2150706 h 2599954"/>
                  <a:gd name="connsiteX9" fmla="*/ 568 w 2622244"/>
                  <a:gd name="connsiteY9" fmla="*/ 2147558 h 2599954"/>
                  <a:gd name="connsiteX10" fmla="*/ 964 w 2622244"/>
                  <a:gd name="connsiteY10" fmla="*/ 4099 h 2599954"/>
                  <a:gd name="connsiteX0" fmla="*/ 964 w 2622244"/>
                  <a:gd name="connsiteY0" fmla="*/ 4099 h 2599954"/>
                  <a:gd name="connsiteX1" fmla="*/ 2166602 w 2622244"/>
                  <a:gd name="connsiteY1" fmla="*/ 0 h 2599954"/>
                  <a:gd name="connsiteX2" fmla="*/ 2173466 w 2622244"/>
                  <a:gd name="connsiteY2" fmla="*/ 437861 h 2599954"/>
                  <a:gd name="connsiteX3" fmla="*/ 2622244 w 2622244"/>
                  <a:gd name="connsiteY3" fmla="*/ 1077942 h 2599954"/>
                  <a:gd name="connsiteX4" fmla="*/ 2165044 w 2622244"/>
                  <a:gd name="connsiteY4" fmla="*/ 1725642 h 2599954"/>
                  <a:gd name="connsiteX5" fmla="*/ 2164382 w 2622244"/>
                  <a:gd name="connsiteY5" fmla="*/ 2156006 h 2599954"/>
                  <a:gd name="connsiteX6" fmla="*/ 1731698 w 2622244"/>
                  <a:gd name="connsiteY6" fmla="*/ 2154680 h 2599954"/>
                  <a:gd name="connsiteX7" fmla="*/ 1075716 w 2622244"/>
                  <a:gd name="connsiteY7" fmla="*/ 2599954 h 2599954"/>
                  <a:gd name="connsiteX8" fmla="*/ 431659 w 2622244"/>
                  <a:gd name="connsiteY8" fmla="*/ 2150706 h 2599954"/>
                  <a:gd name="connsiteX9" fmla="*/ 568 w 2622244"/>
                  <a:gd name="connsiteY9" fmla="*/ 2147558 h 2599954"/>
                  <a:gd name="connsiteX10" fmla="*/ 964 w 2622244"/>
                  <a:gd name="connsiteY10" fmla="*/ 4099 h 2599954"/>
                  <a:gd name="connsiteX0" fmla="*/ 964 w 2622244"/>
                  <a:gd name="connsiteY0" fmla="*/ 4099 h 2599954"/>
                  <a:gd name="connsiteX1" fmla="*/ 2166602 w 2622244"/>
                  <a:gd name="connsiteY1" fmla="*/ 0 h 2599954"/>
                  <a:gd name="connsiteX2" fmla="*/ 2157423 w 2622244"/>
                  <a:gd name="connsiteY2" fmla="*/ 421819 h 2599954"/>
                  <a:gd name="connsiteX3" fmla="*/ 2622244 w 2622244"/>
                  <a:gd name="connsiteY3" fmla="*/ 1077942 h 2599954"/>
                  <a:gd name="connsiteX4" fmla="*/ 2165044 w 2622244"/>
                  <a:gd name="connsiteY4" fmla="*/ 1725642 h 2599954"/>
                  <a:gd name="connsiteX5" fmla="*/ 2164382 w 2622244"/>
                  <a:gd name="connsiteY5" fmla="*/ 2156006 h 2599954"/>
                  <a:gd name="connsiteX6" fmla="*/ 1731698 w 2622244"/>
                  <a:gd name="connsiteY6" fmla="*/ 2154680 h 2599954"/>
                  <a:gd name="connsiteX7" fmla="*/ 1075716 w 2622244"/>
                  <a:gd name="connsiteY7" fmla="*/ 2599954 h 2599954"/>
                  <a:gd name="connsiteX8" fmla="*/ 431659 w 2622244"/>
                  <a:gd name="connsiteY8" fmla="*/ 2150706 h 2599954"/>
                  <a:gd name="connsiteX9" fmla="*/ 568 w 2622244"/>
                  <a:gd name="connsiteY9" fmla="*/ 2147558 h 2599954"/>
                  <a:gd name="connsiteX10" fmla="*/ 964 w 2622244"/>
                  <a:gd name="connsiteY10" fmla="*/ 4099 h 2599954"/>
                  <a:gd name="connsiteX0" fmla="*/ 964 w 2622244"/>
                  <a:gd name="connsiteY0" fmla="*/ 4099 h 2599954"/>
                  <a:gd name="connsiteX1" fmla="*/ 2166602 w 2622244"/>
                  <a:gd name="connsiteY1" fmla="*/ 0 h 2599954"/>
                  <a:gd name="connsiteX2" fmla="*/ 2157423 w 2622244"/>
                  <a:gd name="connsiteY2" fmla="*/ 421819 h 2599954"/>
                  <a:gd name="connsiteX3" fmla="*/ 2622244 w 2622244"/>
                  <a:gd name="connsiteY3" fmla="*/ 1077942 h 2599954"/>
                  <a:gd name="connsiteX4" fmla="*/ 2165044 w 2622244"/>
                  <a:gd name="connsiteY4" fmla="*/ 1709510 h 2599954"/>
                  <a:gd name="connsiteX5" fmla="*/ 2164382 w 2622244"/>
                  <a:gd name="connsiteY5" fmla="*/ 2156006 h 2599954"/>
                  <a:gd name="connsiteX6" fmla="*/ 1731698 w 2622244"/>
                  <a:gd name="connsiteY6" fmla="*/ 2154680 h 2599954"/>
                  <a:gd name="connsiteX7" fmla="*/ 1075716 w 2622244"/>
                  <a:gd name="connsiteY7" fmla="*/ 2599954 h 2599954"/>
                  <a:gd name="connsiteX8" fmla="*/ 431659 w 2622244"/>
                  <a:gd name="connsiteY8" fmla="*/ 2150706 h 2599954"/>
                  <a:gd name="connsiteX9" fmla="*/ 568 w 2622244"/>
                  <a:gd name="connsiteY9" fmla="*/ 2147558 h 2599954"/>
                  <a:gd name="connsiteX10" fmla="*/ 964 w 2622244"/>
                  <a:gd name="connsiteY10" fmla="*/ 4099 h 2599954"/>
                  <a:gd name="connsiteX0" fmla="*/ 964 w 2622244"/>
                  <a:gd name="connsiteY0" fmla="*/ 4099 h 2599954"/>
                  <a:gd name="connsiteX1" fmla="*/ 2166602 w 2622244"/>
                  <a:gd name="connsiteY1" fmla="*/ 0 h 2599954"/>
                  <a:gd name="connsiteX2" fmla="*/ 2157423 w 2622244"/>
                  <a:gd name="connsiteY2" fmla="*/ 421819 h 2599954"/>
                  <a:gd name="connsiteX3" fmla="*/ 2622244 w 2622244"/>
                  <a:gd name="connsiteY3" fmla="*/ 1077942 h 2599954"/>
                  <a:gd name="connsiteX4" fmla="*/ 2165044 w 2622244"/>
                  <a:gd name="connsiteY4" fmla="*/ 1709510 h 2599954"/>
                  <a:gd name="connsiteX5" fmla="*/ 2186071 w 2622244"/>
                  <a:gd name="connsiteY5" fmla="*/ 2156006 h 2599954"/>
                  <a:gd name="connsiteX6" fmla="*/ 1731698 w 2622244"/>
                  <a:gd name="connsiteY6" fmla="*/ 2154680 h 2599954"/>
                  <a:gd name="connsiteX7" fmla="*/ 1075716 w 2622244"/>
                  <a:gd name="connsiteY7" fmla="*/ 2599954 h 2599954"/>
                  <a:gd name="connsiteX8" fmla="*/ 431659 w 2622244"/>
                  <a:gd name="connsiteY8" fmla="*/ 2150706 h 2599954"/>
                  <a:gd name="connsiteX9" fmla="*/ 568 w 2622244"/>
                  <a:gd name="connsiteY9" fmla="*/ 2147558 h 2599954"/>
                  <a:gd name="connsiteX10" fmla="*/ 964 w 2622244"/>
                  <a:gd name="connsiteY10" fmla="*/ 4099 h 2599954"/>
                  <a:gd name="connsiteX0" fmla="*/ 964 w 2622244"/>
                  <a:gd name="connsiteY0" fmla="*/ 4099 h 2599954"/>
                  <a:gd name="connsiteX1" fmla="*/ 2166602 w 2622244"/>
                  <a:gd name="connsiteY1" fmla="*/ 0 h 2599954"/>
                  <a:gd name="connsiteX2" fmla="*/ 2157423 w 2622244"/>
                  <a:gd name="connsiteY2" fmla="*/ 421819 h 2599954"/>
                  <a:gd name="connsiteX3" fmla="*/ 2622244 w 2622244"/>
                  <a:gd name="connsiteY3" fmla="*/ 1077942 h 2599954"/>
                  <a:gd name="connsiteX4" fmla="*/ 2201190 w 2622244"/>
                  <a:gd name="connsiteY4" fmla="*/ 1701445 h 2599954"/>
                  <a:gd name="connsiteX5" fmla="*/ 2186071 w 2622244"/>
                  <a:gd name="connsiteY5" fmla="*/ 2156006 h 2599954"/>
                  <a:gd name="connsiteX6" fmla="*/ 1731698 w 2622244"/>
                  <a:gd name="connsiteY6" fmla="*/ 2154680 h 2599954"/>
                  <a:gd name="connsiteX7" fmla="*/ 1075716 w 2622244"/>
                  <a:gd name="connsiteY7" fmla="*/ 2599954 h 2599954"/>
                  <a:gd name="connsiteX8" fmla="*/ 431659 w 2622244"/>
                  <a:gd name="connsiteY8" fmla="*/ 2150706 h 2599954"/>
                  <a:gd name="connsiteX9" fmla="*/ 568 w 2622244"/>
                  <a:gd name="connsiteY9" fmla="*/ 2147558 h 2599954"/>
                  <a:gd name="connsiteX10" fmla="*/ 964 w 2622244"/>
                  <a:gd name="connsiteY10" fmla="*/ 4099 h 2599954"/>
                  <a:gd name="connsiteX0" fmla="*/ 964 w 2622244"/>
                  <a:gd name="connsiteY0" fmla="*/ 4099 h 2599954"/>
                  <a:gd name="connsiteX1" fmla="*/ 2166602 w 2622244"/>
                  <a:gd name="connsiteY1" fmla="*/ 0 h 2599954"/>
                  <a:gd name="connsiteX2" fmla="*/ 2193570 w 2622244"/>
                  <a:gd name="connsiteY2" fmla="*/ 421820 h 2599954"/>
                  <a:gd name="connsiteX3" fmla="*/ 2622244 w 2622244"/>
                  <a:gd name="connsiteY3" fmla="*/ 1077942 h 2599954"/>
                  <a:gd name="connsiteX4" fmla="*/ 2201190 w 2622244"/>
                  <a:gd name="connsiteY4" fmla="*/ 1701445 h 2599954"/>
                  <a:gd name="connsiteX5" fmla="*/ 2186071 w 2622244"/>
                  <a:gd name="connsiteY5" fmla="*/ 2156006 h 2599954"/>
                  <a:gd name="connsiteX6" fmla="*/ 1731698 w 2622244"/>
                  <a:gd name="connsiteY6" fmla="*/ 2154680 h 2599954"/>
                  <a:gd name="connsiteX7" fmla="*/ 1075716 w 2622244"/>
                  <a:gd name="connsiteY7" fmla="*/ 2599954 h 2599954"/>
                  <a:gd name="connsiteX8" fmla="*/ 431659 w 2622244"/>
                  <a:gd name="connsiteY8" fmla="*/ 2150706 h 2599954"/>
                  <a:gd name="connsiteX9" fmla="*/ 568 w 2622244"/>
                  <a:gd name="connsiteY9" fmla="*/ 2147558 h 2599954"/>
                  <a:gd name="connsiteX10" fmla="*/ 964 w 2622244"/>
                  <a:gd name="connsiteY10" fmla="*/ 4099 h 2599954"/>
                  <a:gd name="connsiteX0" fmla="*/ 964 w 2622244"/>
                  <a:gd name="connsiteY0" fmla="*/ 4099 h 2599954"/>
                  <a:gd name="connsiteX1" fmla="*/ 2181060 w 2622244"/>
                  <a:gd name="connsiteY1" fmla="*/ 0 h 2599954"/>
                  <a:gd name="connsiteX2" fmla="*/ 2193570 w 2622244"/>
                  <a:gd name="connsiteY2" fmla="*/ 421820 h 2599954"/>
                  <a:gd name="connsiteX3" fmla="*/ 2622244 w 2622244"/>
                  <a:gd name="connsiteY3" fmla="*/ 1077942 h 2599954"/>
                  <a:gd name="connsiteX4" fmla="*/ 2201190 w 2622244"/>
                  <a:gd name="connsiteY4" fmla="*/ 1701445 h 2599954"/>
                  <a:gd name="connsiteX5" fmla="*/ 2186071 w 2622244"/>
                  <a:gd name="connsiteY5" fmla="*/ 2156006 h 2599954"/>
                  <a:gd name="connsiteX6" fmla="*/ 1731698 w 2622244"/>
                  <a:gd name="connsiteY6" fmla="*/ 2154680 h 2599954"/>
                  <a:gd name="connsiteX7" fmla="*/ 1075716 w 2622244"/>
                  <a:gd name="connsiteY7" fmla="*/ 2599954 h 2599954"/>
                  <a:gd name="connsiteX8" fmla="*/ 431659 w 2622244"/>
                  <a:gd name="connsiteY8" fmla="*/ 2150706 h 2599954"/>
                  <a:gd name="connsiteX9" fmla="*/ 568 w 2622244"/>
                  <a:gd name="connsiteY9" fmla="*/ 2147558 h 2599954"/>
                  <a:gd name="connsiteX10" fmla="*/ 964 w 2622244"/>
                  <a:gd name="connsiteY10" fmla="*/ 4099 h 259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22244" h="2599954">
                    <a:moveTo>
                      <a:pt x="964" y="4099"/>
                    </a:moveTo>
                    <a:lnTo>
                      <a:pt x="2181060" y="0"/>
                    </a:lnTo>
                    <a:lnTo>
                      <a:pt x="2193570" y="421820"/>
                    </a:lnTo>
                    <a:lnTo>
                      <a:pt x="2622244" y="1077942"/>
                    </a:lnTo>
                    <a:cubicBezTo>
                      <a:pt x="2469844" y="1293842"/>
                      <a:pt x="2353590" y="1485545"/>
                      <a:pt x="2201190" y="1701445"/>
                    </a:cubicBezTo>
                    <a:cubicBezTo>
                      <a:pt x="2200969" y="1844900"/>
                      <a:pt x="2186292" y="2012551"/>
                      <a:pt x="2186071" y="2156006"/>
                    </a:cubicBezTo>
                    <a:lnTo>
                      <a:pt x="1731698" y="2154680"/>
                    </a:lnTo>
                    <a:lnTo>
                      <a:pt x="1075716" y="2599954"/>
                    </a:lnTo>
                    <a:lnTo>
                      <a:pt x="431659" y="2150706"/>
                    </a:lnTo>
                    <a:lnTo>
                      <a:pt x="568" y="2147558"/>
                    </a:lnTo>
                    <a:cubicBezTo>
                      <a:pt x="-1549" y="1427891"/>
                      <a:pt x="3081" y="723766"/>
                      <a:pt x="964" y="4099"/>
                    </a:cubicBezTo>
                    <a:close/>
                  </a:path>
                </a:pathLst>
              </a:custGeom>
              <a:solidFill>
                <a:schemeClr val="accent1"/>
              </a:solidFill>
              <a:ln>
                <a:noFill/>
              </a:ln>
              <a:effectLst/>
              <a:scene3d>
                <a:camera prst="orthographicFront"/>
                <a:lightRig rig="threePt" dir="t"/>
              </a:scene3d>
              <a:sp3d prstMaterial="plastic"/>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Univers for KPMG" panose="020B0603020202020204" pitchFamily="34" charset="0"/>
                </a:endParaRPr>
              </a:p>
            </p:txBody>
          </p:sp>
          <p:sp>
            <p:nvSpPr>
              <p:cNvPr id="15" name="Freeform 130"/>
              <p:cNvSpPr/>
              <p:nvPr/>
            </p:nvSpPr>
            <p:spPr>
              <a:xfrm>
                <a:off x="606424" y="2362204"/>
                <a:ext cx="3087054" cy="1629312"/>
              </a:xfrm>
              <a:custGeom>
                <a:avLst/>
                <a:gdLst>
                  <a:gd name="connsiteX0" fmla="*/ 907 w 3087054"/>
                  <a:gd name="connsiteY0" fmla="*/ 0 h 1629312"/>
                  <a:gd name="connsiteX1" fmla="*/ 3070084 w 3087054"/>
                  <a:gd name="connsiteY1" fmla="*/ 0 h 1629312"/>
                  <a:gd name="connsiteX2" fmla="*/ 3087054 w 3087054"/>
                  <a:gd name="connsiteY2" fmla="*/ 23281 h 1629312"/>
                  <a:gd name="connsiteX3" fmla="*/ 2591366 w 3087054"/>
                  <a:gd name="connsiteY3" fmla="*/ 681203 h 1629312"/>
                  <a:gd name="connsiteX4" fmla="*/ 2573567 w 3087054"/>
                  <a:gd name="connsiteY4" fmla="*/ 1160857 h 1629312"/>
                  <a:gd name="connsiteX5" fmla="*/ 2038653 w 3087054"/>
                  <a:gd name="connsiteY5" fmla="*/ 1159458 h 1629312"/>
                  <a:gd name="connsiteX6" fmla="*/ 1266394 w 3087054"/>
                  <a:gd name="connsiteY6" fmla="*/ 1629312 h 1629312"/>
                  <a:gd name="connsiteX7" fmla="*/ 508174 w 3087054"/>
                  <a:gd name="connsiteY7" fmla="*/ 1155264 h 1629312"/>
                  <a:gd name="connsiteX8" fmla="*/ 670 w 3087054"/>
                  <a:gd name="connsiteY8" fmla="*/ 1151943 h 1629312"/>
                  <a:gd name="connsiteX9" fmla="*/ 903 w 3087054"/>
                  <a:gd name="connsiteY9" fmla="*/ 21051 h 1629312"/>
                  <a:gd name="connsiteX10" fmla="*/ 907 w 3087054"/>
                  <a:gd name="connsiteY10" fmla="*/ 0 h 162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87054" h="1629312">
                    <a:moveTo>
                      <a:pt x="907" y="0"/>
                    </a:moveTo>
                    <a:lnTo>
                      <a:pt x="3070084" y="0"/>
                    </a:lnTo>
                    <a:lnTo>
                      <a:pt x="3087054" y="23281"/>
                    </a:lnTo>
                    <a:cubicBezTo>
                      <a:pt x="2907640" y="251099"/>
                      <a:pt x="2770780" y="453385"/>
                      <a:pt x="2591366" y="681203"/>
                    </a:cubicBezTo>
                    <a:cubicBezTo>
                      <a:pt x="2591106" y="832577"/>
                      <a:pt x="2573827" y="1009483"/>
                      <a:pt x="2573567" y="1160857"/>
                    </a:cubicBezTo>
                    <a:lnTo>
                      <a:pt x="2038653" y="1159458"/>
                    </a:lnTo>
                    <a:lnTo>
                      <a:pt x="1266394" y="1629312"/>
                    </a:lnTo>
                    <a:lnTo>
                      <a:pt x="508174" y="1155264"/>
                    </a:lnTo>
                    <a:lnTo>
                      <a:pt x="670" y="1151943"/>
                    </a:lnTo>
                    <a:cubicBezTo>
                      <a:pt x="-576" y="772246"/>
                      <a:pt x="163" y="396648"/>
                      <a:pt x="903" y="21051"/>
                    </a:cubicBezTo>
                    <a:lnTo>
                      <a:pt x="907" y="0"/>
                    </a:lnTo>
                    <a:close/>
                  </a:path>
                </a:pathLst>
              </a:cu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Univers for KPMG" panose="020B0603020202020204" pitchFamily="34" charset="0"/>
                </a:endParaRPr>
              </a:p>
            </p:txBody>
          </p:sp>
        </p:grpSp>
        <p:grpSp>
          <p:nvGrpSpPr>
            <p:cNvPr id="16" name="Group 16"/>
            <p:cNvGrpSpPr/>
            <p:nvPr/>
          </p:nvGrpSpPr>
          <p:grpSpPr>
            <a:xfrm>
              <a:off x="4823468" y="1240407"/>
              <a:ext cx="3144196" cy="2765201"/>
              <a:chOff x="3299467" y="1240406"/>
              <a:chExt cx="3144196" cy="2765201"/>
            </a:xfrm>
          </p:grpSpPr>
          <p:sp>
            <p:nvSpPr>
              <p:cNvPr id="17" name="Rectangle 5"/>
              <p:cNvSpPr/>
              <p:nvPr/>
            </p:nvSpPr>
            <p:spPr>
              <a:xfrm>
                <a:off x="3299467" y="1240406"/>
                <a:ext cx="3142000" cy="2765201"/>
              </a:xfrm>
              <a:custGeom>
                <a:avLst/>
                <a:gdLst>
                  <a:gd name="connsiteX0" fmla="*/ 0 w 2286000"/>
                  <a:gd name="connsiteY0" fmla="*/ 0 h 838200"/>
                  <a:gd name="connsiteX1" fmla="*/ 2286000 w 2286000"/>
                  <a:gd name="connsiteY1" fmla="*/ 0 h 838200"/>
                  <a:gd name="connsiteX2" fmla="*/ 2286000 w 2286000"/>
                  <a:gd name="connsiteY2" fmla="*/ 838200 h 838200"/>
                  <a:gd name="connsiteX3" fmla="*/ 0 w 2286000"/>
                  <a:gd name="connsiteY3" fmla="*/ 838200 h 838200"/>
                  <a:gd name="connsiteX4" fmla="*/ 0 w 2286000"/>
                  <a:gd name="connsiteY4" fmla="*/ 0 h 838200"/>
                  <a:gd name="connsiteX0" fmla="*/ 78922 w 2286000"/>
                  <a:gd name="connsiteY0" fmla="*/ 24493 h 838200"/>
                  <a:gd name="connsiteX1" fmla="*/ 2286000 w 2286000"/>
                  <a:gd name="connsiteY1" fmla="*/ 0 h 838200"/>
                  <a:gd name="connsiteX2" fmla="*/ 2286000 w 2286000"/>
                  <a:gd name="connsiteY2" fmla="*/ 838200 h 838200"/>
                  <a:gd name="connsiteX3" fmla="*/ 0 w 2286000"/>
                  <a:gd name="connsiteY3" fmla="*/ 838200 h 838200"/>
                  <a:gd name="connsiteX4" fmla="*/ 78922 w 2286000"/>
                  <a:gd name="connsiteY4" fmla="*/ 24493 h 838200"/>
                  <a:gd name="connsiteX0" fmla="*/ 2722 w 2209800"/>
                  <a:gd name="connsiteY0" fmla="*/ 24493 h 838200"/>
                  <a:gd name="connsiteX1" fmla="*/ 2209800 w 2209800"/>
                  <a:gd name="connsiteY1" fmla="*/ 0 h 838200"/>
                  <a:gd name="connsiteX2" fmla="*/ 2209800 w 2209800"/>
                  <a:gd name="connsiteY2" fmla="*/ 838200 h 838200"/>
                  <a:gd name="connsiteX3" fmla="*/ 0 w 2209800"/>
                  <a:gd name="connsiteY3" fmla="*/ 419100 h 838200"/>
                  <a:gd name="connsiteX4" fmla="*/ 2722 w 2209800"/>
                  <a:gd name="connsiteY4" fmla="*/ 24493 h 838200"/>
                  <a:gd name="connsiteX0" fmla="*/ 2722 w 2209800"/>
                  <a:gd name="connsiteY0" fmla="*/ 24493 h 838200"/>
                  <a:gd name="connsiteX1" fmla="*/ 2209800 w 2209800"/>
                  <a:gd name="connsiteY1" fmla="*/ 0 h 838200"/>
                  <a:gd name="connsiteX2" fmla="*/ 2209800 w 2209800"/>
                  <a:gd name="connsiteY2" fmla="*/ 838200 h 838200"/>
                  <a:gd name="connsiteX3" fmla="*/ 557893 w 2209800"/>
                  <a:gd name="connsiteY3" fmla="*/ 517071 h 838200"/>
                  <a:gd name="connsiteX4" fmla="*/ 0 w 2209800"/>
                  <a:gd name="connsiteY4" fmla="*/ 419100 h 838200"/>
                  <a:gd name="connsiteX5" fmla="*/ 2722 w 2209800"/>
                  <a:gd name="connsiteY5" fmla="*/ 24493 h 838200"/>
                  <a:gd name="connsiteX0" fmla="*/ 2722 w 2209800"/>
                  <a:gd name="connsiteY0" fmla="*/ 24493 h 1088571"/>
                  <a:gd name="connsiteX1" fmla="*/ 2209800 w 2209800"/>
                  <a:gd name="connsiteY1" fmla="*/ 0 h 1088571"/>
                  <a:gd name="connsiteX2" fmla="*/ 2209800 w 2209800"/>
                  <a:gd name="connsiteY2" fmla="*/ 838200 h 1088571"/>
                  <a:gd name="connsiteX3" fmla="*/ 478972 w 2209800"/>
                  <a:gd name="connsiteY3" fmla="*/ 1088571 h 1088571"/>
                  <a:gd name="connsiteX4" fmla="*/ 0 w 2209800"/>
                  <a:gd name="connsiteY4" fmla="*/ 419100 h 1088571"/>
                  <a:gd name="connsiteX5" fmla="*/ 2722 w 2209800"/>
                  <a:gd name="connsiteY5" fmla="*/ 24493 h 1088571"/>
                  <a:gd name="connsiteX0" fmla="*/ 2722 w 2209800"/>
                  <a:gd name="connsiteY0" fmla="*/ 24493 h 1088571"/>
                  <a:gd name="connsiteX1" fmla="*/ 2209800 w 2209800"/>
                  <a:gd name="connsiteY1" fmla="*/ 0 h 1088571"/>
                  <a:gd name="connsiteX2" fmla="*/ 2209800 w 2209800"/>
                  <a:gd name="connsiteY2" fmla="*/ 838200 h 1088571"/>
                  <a:gd name="connsiteX3" fmla="*/ 998764 w 2209800"/>
                  <a:gd name="connsiteY3" fmla="*/ 1009650 h 1088571"/>
                  <a:gd name="connsiteX4" fmla="*/ 478972 w 2209800"/>
                  <a:gd name="connsiteY4" fmla="*/ 1088571 h 1088571"/>
                  <a:gd name="connsiteX5" fmla="*/ 0 w 2209800"/>
                  <a:gd name="connsiteY5" fmla="*/ 419100 h 1088571"/>
                  <a:gd name="connsiteX6" fmla="*/ 2722 w 2209800"/>
                  <a:gd name="connsiteY6" fmla="*/ 24493 h 1088571"/>
                  <a:gd name="connsiteX0" fmla="*/ 2722 w 2209800"/>
                  <a:gd name="connsiteY0" fmla="*/ 24493 h 1779814"/>
                  <a:gd name="connsiteX1" fmla="*/ 2209800 w 2209800"/>
                  <a:gd name="connsiteY1" fmla="*/ 0 h 1779814"/>
                  <a:gd name="connsiteX2" fmla="*/ 2209800 w 2209800"/>
                  <a:gd name="connsiteY2" fmla="*/ 838200 h 1779814"/>
                  <a:gd name="connsiteX3" fmla="*/ 2721 w 2209800"/>
                  <a:gd name="connsiteY3" fmla="*/ 1779814 h 1779814"/>
                  <a:gd name="connsiteX4" fmla="*/ 478972 w 2209800"/>
                  <a:gd name="connsiteY4" fmla="*/ 1088571 h 1779814"/>
                  <a:gd name="connsiteX5" fmla="*/ 0 w 2209800"/>
                  <a:gd name="connsiteY5" fmla="*/ 419100 h 1779814"/>
                  <a:gd name="connsiteX6" fmla="*/ 2722 w 2209800"/>
                  <a:gd name="connsiteY6" fmla="*/ 24493 h 1779814"/>
                  <a:gd name="connsiteX0" fmla="*/ 2722 w 2209800"/>
                  <a:gd name="connsiteY0" fmla="*/ 24493 h 1779814"/>
                  <a:gd name="connsiteX1" fmla="*/ 2209800 w 2209800"/>
                  <a:gd name="connsiteY1" fmla="*/ 0 h 1779814"/>
                  <a:gd name="connsiteX2" fmla="*/ 2209800 w 2209800"/>
                  <a:gd name="connsiteY2" fmla="*/ 838200 h 1779814"/>
                  <a:gd name="connsiteX3" fmla="*/ 413657 w 2209800"/>
                  <a:gd name="connsiteY3" fmla="*/ 1605642 h 1779814"/>
                  <a:gd name="connsiteX4" fmla="*/ 2721 w 2209800"/>
                  <a:gd name="connsiteY4" fmla="*/ 1779814 h 1779814"/>
                  <a:gd name="connsiteX5" fmla="*/ 478972 w 2209800"/>
                  <a:gd name="connsiteY5" fmla="*/ 1088571 h 1779814"/>
                  <a:gd name="connsiteX6" fmla="*/ 0 w 2209800"/>
                  <a:gd name="connsiteY6" fmla="*/ 419100 h 1779814"/>
                  <a:gd name="connsiteX7" fmla="*/ 2722 w 2209800"/>
                  <a:gd name="connsiteY7" fmla="*/ 24493 h 1779814"/>
                  <a:gd name="connsiteX0" fmla="*/ 2722 w 2209800"/>
                  <a:gd name="connsiteY0" fmla="*/ 24493 h 2177142"/>
                  <a:gd name="connsiteX1" fmla="*/ 2209800 w 2209800"/>
                  <a:gd name="connsiteY1" fmla="*/ 0 h 2177142"/>
                  <a:gd name="connsiteX2" fmla="*/ 2209800 w 2209800"/>
                  <a:gd name="connsiteY2" fmla="*/ 838200 h 2177142"/>
                  <a:gd name="connsiteX3" fmla="*/ 2721 w 2209800"/>
                  <a:gd name="connsiteY3" fmla="*/ 2177142 h 2177142"/>
                  <a:gd name="connsiteX4" fmla="*/ 2721 w 2209800"/>
                  <a:gd name="connsiteY4" fmla="*/ 1779814 h 2177142"/>
                  <a:gd name="connsiteX5" fmla="*/ 478972 w 2209800"/>
                  <a:gd name="connsiteY5" fmla="*/ 1088571 h 2177142"/>
                  <a:gd name="connsiteX6" fmla="*/ 0 w 2209800"/>
                  <a:gd name="connsiteY6" fmla="*/ 419100 h 2177142"/>
                  <a:gd name="connsiteX7" fmla="*/ 2722 w 2209800"/>
                  <a:gd name="connsiteY7" fmla="*/ 24493 h 2177142"/>
                  <a:gd name="connsiteX0" fmla="*/ 2722 w 2209800"/>
                  <a:gd name="connsiteY0" fmla="*/ 1 h 2152650"/>
                  <a:gd name="connsiteX1" fmla="*/ 2155371 w 2209800"/>
                  <a:gd name="connsiteY1" fmla="*/ 0 h 2152650"/>
                  <a:gd name="connsiteX2" fmla="*/ 2209800 w 2209800"/>
                  <a:gd name="connsiteY2" fmla="*/ 813708 h 2152650"/>
                  <a:gd name="connsiteX3" fmla="*/ 2721 w 2209800"/>
                  <a:gd name="connsiteY3" fmla="*/ 2152650 h 2152650"/>
                  <a:gd name="connsiteX4" fmla="*/ 2721 w 2209800"/>
                  <a:gd name="connsiteY4" fmla="*/ 1755322 h 2152650"/>
                  <a:gd name="connsiteX5" fmla="*/ 478972 w 2209800"/>
                  <a:gd name="connsiteY5" fmla="*/ 1064079 h 2152650"/>
                  <a:gd name="connsiteX6" fmla="*/ 0 w 2209800"/>
                  <a:gd name="connsiteY6" fmla="*/ 394608 h 2152650"/>
                  <a:gd name="connsiteX7" fmla="*/ 2722 w 2209800"/>
                  <a:gd name="connsiteY7" fmla="*/ 1 h 2152650"/>
                  <a:gd name="connsiteX0" fmla="*/ 2722 w 2160814"/>
                  <a:gd name="connsiteY0" fmla="*/ 1 h 2152650"/>
                  <a:gd name="connsiteX1" fmla="*/ 2155371 w 2160814"/>
                  <a:gd name="connsiteY1" fmla="*/ 0 h 2152650"/>
                  <a:gd name="connsiteX2" fmla="*/ 2160814 w 2160814"/>
                  <a:gd name="connsiteY2" fmla="*/ 410936 h 2152650"/>
                  <a:gd name="connsiteX3" fmla="*/ 2721 w 2160814"/>
                  <a:gd name="connsiteY3" fmla="*/ 2152650 h 2152650"/>
                  <a:gd name="connsiteX4" fmla="*/ 2721 w 2160814"/>
                  <a:gd name="connsiteY4" fmla="*/ 1755322 h 2152650"/>
                  <a:gd name="connsiteX5" fmla="*/ 478972 w 2160814"/>
                  <a:gd name="connsiteY5" fmla="*/ 1064079 h 2152650"/>
                  <a:gd name="connsiteX6" fmla="*/ 0 w 2160814"/>
                  <a:gd name="connsiteY6" fmla="*/ 394608 h 2152650"/>
                  <a:gd name="connsiteX7" fmla="*/ 2722 w 2160814"/>
                  <a:gd name="connsiteY7" fmla="*/ 1 h 2152650"/>
                  <a:gd name="connsiteX0" fmla="*/ 2722 w 2160814"/>
                  <a:gd name="connsiteY0" fmla="*/ 1 h 2152650"/>
                  <a:gd name="connsiteX1" fmla="*/ 2155371 w 2160814"/>
                  <a:gd name="connsiteY1" fmla="*/ 0 h 2152650"/>
                  <a:gd name="connsiteX2" fmla="*/ 2160814 w 2160814"/>
                  <a:gd name="connsiteY2" fmla="*/ 410936 h 2152650"/>
                  <a:gd name="connsiteX3" fmla="*/ 1845129 w 2160814"/>
                  <a:gd name="connsiteY3" fmla="*/ 664028 h 2152650"/>
                  <a:gd name="connsiteX4" fmla="*/ 2721 w 2160814"/>
                  <a:gd name="connsiteY4" fmla="*/ 2152650 h 2152650"/>
                  <a:gd name="connsiteX5" fmla="*/ 2721 w 2160814"/>
                  <a:gd name="connsiteY5" fmla="*/ 1755322 h 2152650"/>
                  <a:gd name="connsiteX6" fmla="*/ 478972 w 2160814"/>
                  <a:gd name="connsiteY6" fmla="*/ 1064079 h 2152650"/>
                  <a:gd name="connsiteX7" fmla="*/ 0 w 2160814"/>
                  <a:gd name="connsiteY7" fmla="*/ 394608 h 2152650"/>
                  <a:gd name="connsiteX8" fmla="*/ 2722 w 2160814"/>
                  <a:gd name="connsiteY8" fmla="*/ 1 h 2152650"/>
                  <a:gd name="connsiteX0" fmla="*/ 2722 w 2160814"/>
                  <a:gd name="connsiteY0" fmla="*/ 1 h 2152650"/>
                  <a:gd name="connsiteX1" fmla="*/ 2155371 w 2160814"/>
                  <a:gd name="connsiteY1" fmla="*/ 0 h 2152650"/>
                  <a:gd name="connsiteX2" fmla="*/ 2160814 w 2160814"/>
                  <a:gd name="connsiteY2" fmla="*/ 410936 h 2152650"/>
                  <a:gd name="connsiteX3" fmla="*/ 1684565 w 2160814"/>
                  <a:gd name="connsiteY3" fmla="*/ 1061357 h 2152650"/>
                  <a:gd name="connsiteX4" fmla="*/ 2721 w 2160814"/>
                  <a:gd name="connsiteY4" fmla="*/ 2152650 h 2152650"/>
                  <a:gd name="connsiteX5" fmla="*/ 2721 w 2160814"/>
                  <a:gd name="connsiteY5" fmla="*/ 1755322 h 2152650"/>
                  <a:gd name="connsiteX6" fmla="*/ 478972 w 2160814"/>
                  <a:gd name="connsiteY6" fmla="*/ 1064079 h 2152650"/>
                  <a:gd name="connsiteX7" fmla="*/ 0 w 2160814"/>
                  <a:gd name="connsiteY7" fmla="*/ 394608 h 2152650"/>
                  <a:gd name="connsiteX8" fmla="*/ 2722 w 2160814"/>
                  <a:gd name="connsiteY8" fmla="*/ 1 h 2152650"/>
                  <a:gd name="connsiteX0" fmla="*/ 2722 w 2160814"/>
                  <a:gd name="connsiteY0" fmla="*/ 1 h 2152650"/>
                  <a:gd name="connsiteX1" fmla="*/ 2155371 w 2160814"/>
                  <a:gd name="connsiteY1" fmla="*/ 0 h 2152650"/>
                  <a:gd name="connsiteX2" fmla="*/ 2160814 w 2160814"/>
                  <a:gd name="connsiteY2" fmla="*/ 410936 h 2152650"/>
                  <a:gd name="connsiteX3" fmla="*/ 1684565 w 2160814"/>
                  <a:gd name="connsiteY3" fmla="*/ 1061357 h 2152650"/>
                  <a:gd name="connsiteX4" fmla="*/ 383721 w 2160814"/>
                  <a:gd name="connsiteY4" fmla="*/ 1899557 h 2152650"/>
                  <a:gd name="connsiteX5" fmla="*/ 2721 w 2160814"/>
                  <a:gd name="connsiteY5" fmla="*/ 2152650 h 2152650"/>
                  <a:gd name="connsiteX6" fmla="*/ 2721 w 2160814"/>
                  <a:gd name="connsiteY6" fmla="*/ 1755322 h 2152650"/>
                  <a:gd name="connsiteX7" fmla="*/ 478972 w 2160814"/>
                  <a:gd name="connsiteY7" fmla="*/ 1064079 h 2152650"/>
                  <a:gd name="connsiteX8" fmla="*/ 0 w 2160814"/>
                  <a:gd name="connsiteY8" fmla="*/ 394608 h 2152650"/>
                  <a:gd name="connsiteX9" fmla="*/ 2722 w 2160814"/>
                  <a:gd name="connsiteY9" fmla="*/ 1 h 2152650"/>
                  <a:gd name="connsiteX0" fmla="*/ 2722 w 2160814"/>
                  <a:gd name="connsiteY0" fmla="*/ 1 h 2152650"/>
                  <a:gd name="connsiteX1" fmla="*/ 2155371 w 2160814"/>
                  <a:gd name="connsiteY1" fmla="*/ 0 h 2152650"/>
                  <a:gd name="connsiteX2" fmla="*/ 2160814 w 2160814"/>
                  <a:gd name="connsiteY2" fmla="*/ 410936 h 2152650"/>
                  <a:gd name="connsiteX3" fmla="*/ 1684565 w 2160814"/>
                  <a:gd name="connsiteY3" fmla="*/ 1061357 h 2152650"/>
                  <a:gd name="connsiteX4" fmla="*/ 429986 w 2160814"/>
                  <a:gd name="connsiteY4" fmla="*/ 2152650 h 2152650"/>
                  <a:gd name="connsiteX5" fmla="*/ 2721 w 2160814"/>
                  <a:gd name="connsiteY5" fmla="*/ 2152650 h 2152650"/>
                  <a:gd name="connsiteX6" fmla="*/ 2721 w 2160814"/>
                  <a:gd name="connsiteY6" fmla="*/ 1755322 h 2152650"/>
                  <a:gd name="connsiteX7" fmla="*/ 478972 w 2160814"/>
                  <a:gd name="connsiteY7" fmla="*/ 1064079 h 2152650"/>
                  <a:gd name="connsiteX8" fmla="*/ 0 w 2160814"/>
                  <a:gd name="connsiteY8" fmla="*/ 394608 h 2152650"/>
                  <a:gd name="connsiteX9" fmla="*/ 2722 w 2160814"/>
                  <a:gd name="connsiteY9" fmla="*/ 1 h 2152650"/>
                  <a:gd name="connsiteX0" fmla="*/ 2722 w 2160814"/>
                  <a:gd name="connsiteY0" fmla="*/ 1 h 2152650"/>
                  <a:gd name="connsiteX1" fmla="*/ 2155371 w 2160814"/>
                  <a:gd name="connsiteY1" fmla="*/ 0 h 2152650"/>
                  <a:gd name="connsiteX2" fmla="*/ 2160814 w 2160814"/>
                  <a:gd name="connsiteY2" fmla="*/ 410936 h 2152650"/>
                  <a:gd name="connsiteX3" fmla="*/ 1684565 w 2160814"/>
                  <a:gd name="connsiteY3" fmla="*/ 1061357 h 2152650"/>
                  <a:gd name="connsiteX4" fmla="*/ 745671 w 2160814"/>
                  <a:gd name="connsiteY4" fmla="*/ 1872343 h 2152650"/>
                  <a:gd name="connsiteX5" fmla="*/ 429986 w 2160814"/>
                  <a:gd name="connsiteY5" fmla="*/ 2152650 h 2152650"/>
                  <a:gd name="connsiteX6" fmla="*/ 2721 w 2160814"/>
                  <a:gd name="connsiteY6" fmla="*/ 2152650 h 2152650"/>
                  <a:gd name="connsiteX7" fmla="*/ 2721 w 2160814"/>
                  <a:gd name="connsiteY7" fmla="*/ 1755322 h 2152650"/>
                  <a:gd name="connsiteX8" fmla="*/ 478972 w 2160814"/>
                  <a:gd name="connsiteY8" fmla="*/ 1064079 h 2152650"/>
                  <a:gd name="connsiteX9" fmla="*/ 0 w 2160814"/>
                  <a:gd name="connsiteY9" fmla="*/ 394608 h 2152650"/>
                  <a:gd name="connsiteX10" fmla="*/ 2722 w 2160814"/>
                  <a:gd name="connsiteY10" fmla="*/ 1 h 2152650"/>
                  <a:gd name="connsiteX0" fmla="*/ 2722 w 2160814"/>
                  <a:gd name="connsiteY0" fmla="*/ 1 h 2604407"/>
                  <a:gd name="connsiteX1" fmla="*/ 2155371 w 2160814"/>
                  <a:gd name="connsiteY1" fmla="*/ 0 h 2604407"/>
                  <a:gd name="connsiteX2" fmla="*/ 2160814 w 2160814"/>
                  <a:gd name="connsiteY2" fmla="*/ 410936 h 2604407"/>
                  <a:gd name="connsiteX3" fmla="*/ 1684565 w 2160814"/>
                  <a:gd name="connsiteY3" fmla="*/ 1061357 h 2604407"/>
                  <a:gd name="connsiteX4" fmla="*/ 1074964 w 2160814"/>
                  <a:gd name="connsiteY4" fmla="*/ 2604407 h 2604407"/>
                  <a:gd name="connsiteX5" fmla="*/ 429986 w 2160814"/>
                  <a:gd name="connsiteY5" fmla="*/ 2152650 h 2604407"/>
                  <a:gd name="connsiteX6" fmla="*/ 2721 w 2160814"/>
                  <a:gd name="connsiteY6" fmla="*/ 2152650 h 2604407"/>
                  <a:gd name="connsiteX7" fmla="*/ 2721 w 2160814"/>
                  <a:gd name="connsiteY7" fmla="*/ 1755322 h 2604407"/>
                  <a:gd name="connsiteX8" fmla="*/ 478972 w 2160814"/>
                  <a:gd name="connsiteY8" fmla="*/ 1064079 h 2604407"/>
                  <a:gd name="connsiteX9" fmla="*/ 0 w 2160814"/>
                  <a:gd name="connsiteY9" fmla="*/ 394608 h 2604407"/>
                  <a:gd name="connsiteX10" fmla="*/ 2722 w 2160814"/>
                  <a:gd name="connsiteY10" fmla="*/ 1 h 2604407"/>
                  <a:gd name="connsiteX0" fmla="*/ 2722 w 2160814"/>
                  <a:gd name="connsiteY0" fmla="*/ 1 h 2604407"/>
                  <a:gd name="connsiteX1" fmla="*/ 2155371 w 2160814"/>
                  <a:gd name="connsiteY1" fmla="*/ 0 h 2604407"/>
                  <a:gd name="connsiteX2" fmla="*/ 2160814 w 2160814"/>
                  <a:gd name="connsiteY2" fmla="*/ 410936 h 2604407"/>
                  <a:gd name="connsiteX3" fmla="*/ 1684565 w 2160814"/>
                  <a:gd name="connsiteY3" fmla="*/ 1061357 h 2604407"/>
                  <a:gd name="connsiteX4" fmla="*/ 1303564 w 2160814"/>
                  <a:gd name="connsiteY4" fmla="*/ 2030186 h 2604407"/>
                  <a:gd name="connsiteX5" fmla="*/ 1074964 w 2160814"/>
                  <a:gd name="connsiteY5" fmla="*/ 2604407 h 2604407"/>
                  <a:gd name="connsiteX6" fmla="*/ 429986 w 2160814"/>
                  <a:gd name="connsiteY6" fmla="*/ 2152650 h 2604407"/>
                  <a:gd name="connsiteX7" fmla="*/ 2721 w 2160814"/>
                  <a:gd name="connsiteY7" fmla="*/ 2152650 h 2604407"/>
                  <a:gd name="connsiteX8" fmla="*/ 2721 w 2160814"/>
                  <a:gd name="connsiteY8" fmla="*/ 1755322 h 2604407"/>
                  <a:gd name="connsiteX9" fmla="*/ 478972 w 2160814"/>
                  <a:gd name="connsiteY9" fmla="*/ 1064079 h 2604407"/>
                  <a:gd name="connsiteX10" fmla="*/ 0 w 2160814"/>
                  <a:gd name="connsiteY10" fmla="*/ 394608 h 2604407"/>
                  <a:gd name="connsiteX11" fmla="*/ 2722 w 2160814"/>
                  <a:gd name="connsiteY11" fmla="*/ 1 h 2604407"/>
                  <a:gd name="connsiteX0" fmla="*/ 2722 w 2160814"/>
                  <a:gd name="connsiteY0" fmla="*/ 1 h 2604407"/>
                  <a:gd name="connsiteX1" fmla="*/ 2155371 w 2160814"/>
                  <a:gd name="connsiteY1" fmla="*/ 0 h 2604407"/>
                  <a:gd name="connsiteX2" fmla="*/ 2160814 w 2160814"/>
                  <a:gd name="connsiteY2" fmla="*/ 410936 h 2604407"/>
                  <a:gd name="connsiteX3" fmla="*/ 1684565 w 2160814"/>
                  <a:gd name="connsiteY3" fmla="*/ 1061357 h 2604407"/>
                  <a:gd name="connsiteX4" fmla="*/ 1725385 w 2160814"/>
                  <a:gd name="connsiteY4" fmla="*/ 2149929 h 2604407"/>
                  <a:gd name="connsiteX5" fmla="*/ 1074964 w 2160814"/>
                  <a:gd name="connsiteY5" fmla="*/ 2604407 h 2604407"/>
                  <a:gd name="connsiteX6" fmla="*/ 429986 w 2160814"/>
                  <a:gd name="connsiteY6" fmla="*/ 2152650 h 2604407"/>
                  <a:gd name="connsiteX7" fmla="*/ 2721 w 2160814"/>
                  <a:gd name="connsiteY7" fmla="*/ 2152650 h 2604407"/>
                  <a:gd name="connsiteX8" fmla="*/ 2721 w 2160814"/>
                  <a:gd name="connsiteY8" fmla="*/ 1755322 h 2604407"/>
                  <a:gd name="connsiteX9" fmla="*/ 478972 w 2160814"/>
                  <a:gd name="connsiteY9" fmla="*/ 1064079 h 2604407"/>
                  <a:gd name="connsiteX10" fmla="*/ 0 w 2160814"/>
                  <a:gd name="connsiteY10" fmla="*/ 394608 h 2604407"/>
                  <a:gd name="connsiteX11" fmla="*/ 2722 w 2160814"/>
                  <a:gd name="connsiteY11" fmla="*/ 1 h 2604407"/>
                  <a:gd name="connsiteX0" fmla="*/ 121 w 2158213"/>
                  <a:gd name="connsiteY0" fmla="*/ 1 h 2604407"/>
                  <a:gd name="connsiteX1" fmla="*/ 2152770 w 2158213"/>
                  <a:gd name="connsiteY1" fmla="*/ 0 h 2604407"/>
                  <a:gd name="connsiteX2" fmla="*/ 2158213 w 2158213"/>
                  <a:gd name="connsiteY2" fmla="*/ 410936 h 2604407"/>
                  <a:gd name="connsiteX3" fmla="*/ 1681964 w 2158213"/>
                  <a:gd name="connsiteY3" fmla="*/ 1061357 h 2604407"/>
                  <a:gd name="connsiteX4" fmla="*/ 1722784 w 2158213"/>
                  <a:gd name="connsiteY4" fmla="*/ 2149929 h 2604407"/>
                  <a:gd name="connsiteX5" fmla="*/ 1072363 w 2158213"/>
                  <a:gd name="connsiteY5" fmla="*/ 2604407 h 2604407"/>
                  <a:gd name="connsiteX6" fmla="*/ 427385 w 2158213"/>
                  <a:gd name="connsiteY6" fmla="*/ 2152650 h 2604407"/>
                  <a:gd name="connsiteX7" fmla="*/ 120 w 2158213"/>
                  <a:gd name="connsiteY7" fmla="*/ 2152650 h 2604407"/>
                  <a:gd name="connsiteX8" fmla="*/ 120 w 2158213"/>
                  <a:gd name="connsiteY8" fmla="*/ 1755322 h 2604407"/>
                  <a:gd name="connsiteX9" fmla="*/ 476371 w 2158213"/>
                  <a:gd name="connsiteY9" fmla="*/ 1064079 h 2604407"/>
                  <a:gd name="connsiteX10" fmla="*/ 2842 w 2158213"/>
                  <a:gd name="connsiteY10" fmla="*/ 391887 h 2604407"/>
                  <a:gd name="connsiteX11" fmla="*/ 121 w 2158213"/>
                  <a:gd name="connsiteY11" fmla="*/ 1 h 2604407"/>
                  <a:gd name="connsiteX0" fmla="*/ 261 w 2158353"/>
                  <a:gd name="connsiteY0" fmla="*/ 1 h 2604407"/>
                  <a:gd name="connsiteX1" fmla="*/ 2152910 w 2158353"/>
                  <a:gd name="connsiteY1" fmla="*/ 0 h 2604407"/>
                  <a:gd name="connsiteX2" fmla="*/ 2158353 w 2158353"/>
                  <a:gd name="connsiteY2" fmla="*/ 410936 h 2604407"/>
                  <a:gd name="connsiteX3" fmla="*/ 1682104 w 2158353"/>
                  <a:gd name="connsiteY3" fmla="*/ 1061357 h 2604407"/>
                  <a:gd name="connsiteX4" fmla="*/ 1722924 w 2158353"/>
                  <a:gd name="connsiteY4" fmla="*/ 2149929 h 2604407"/>
                  <a:gd name="connsiteX5" fmla="*/ 1072503 w 2158353"/>
                  <a:gd name="connsiteY5" fmla="*/ 2604407 h 2604407"/>
                  <a:gd name="connsiteX6" fmla="*/ 427525 w 2158353"/>
                  <a:gd name="connsiteY6" fmla="*/ 2152650 h 2604407"/>
                  <a:gd name="connsiteX7" fmla="*/ 260 w 2158353"/>
                  <a:gd name="connsiteY7" fmla="*/ 2152650 h 2604407"/>
                  <a:gd name="connsiteX8" fmla="*/ 260 w 2158353"/>
                  <a:gd name="connsiteY8" fmla="*/ 1755322 h 2604407"/>
                  <a:gd name="connsiteX9" fmla="*/ 476511 w 2158353"/>
                  <a:gd name="connsiteY9" fmla="*/ 1064079 h 2604407"/>
                  <a:gd name="connsiteX10" fmla="*/ 260 w 2158353"/>
                  <a:gd name="connsiteY10" fmla="*/ 389166 h 2604407"/>
                  <a:gd name="connsiteX11" fmla="*/ 261 w 2158353"/>
                  <a:gd name="connsiteY11" fmla="*/ 1 h 2604407"/>
                  <a:gd name="connsiteX0" fmla="*/ 261 w 2153151"/>
                  <a:gd name="connsiteY0" fmla="*/ 1 h 2604407"/>
                  <a:gd name="connsiteX1" fmla="*/ 2152910 w 2153151"/>
                  <a:gd name="connsiteY1" fmla="*/ 0 h 2604407"/>
                  <a:gd name="connsiteX2" fmla="*/ 2147468 w 2153151"/>
                  <a:gd name="connsiteY2" fmla="*/ 405493 h 2604407"/>
                  <a:gd name="connsiteX3" fmla="*/ 1682104 w 2153151"/>
                  <a:gd name="connsiteY3" fmla="*/ 1061357 h 2604407"/>
                  <a:gd name="connsiteX4" fmla="*/ 1722924 w 2153151"/>
                  <a:gd name="connsiteY4" fmla="*/ 2149929 h 2604407"/>
                  <a:gd name="connsiteX5" fmla="*/ 1072503 w 2153151"/>
                  <a:gd name="connsiteY5" fmla="*/ 2604407 h 2604407"/>
                  <a:gd name="connsiteX6" fmla="*/ 427525 w 2153151"/>
                  <a:gd name="connsiteY6" fmla="*/ 2152650 h 2604407"/>
                  <a:gd name="connsiteX7" fmla="*/ 260 w 2153151"/>
                  <a:gd name="connsiteY7" fmla="*/ 2152650 h 2604407"/>
                  <a:gd name="connsiteX8" fmla="*/ 260 w 2153151"/>
                  <a:gd name="connsiteY8" fmla="*/ 1755322 h 2604407"/>
                  <a:gd name="connsiteX9" fmla="*/ 476511 w 2153151"/>
                  <a:gd name="connsiteY9" fmla="*/ 1064079 h 2604407"/>
                  <a:gd name="connsiteX10" fmla="*/ 260 w 2153151"/>
                  <a:gd name="connsiteY10" fmla="*/ 389166 h 2604407"/>
                  <a:gd name="connsiteX11" fmla="*/ 261 w 2153151"/>
                  <a:gd name="connsiteY11"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1722924 w 2158509"/>
                  <a:gd name="connsiteY4" fmla="*/ 2149929 h 2604407"/>
                  <a:gd name="connsiteX5" fmla="*/ 1072503 w 2158509"/>
                  <a:gd name="connsiteY5" fmla="*/ 2604407 h 2604407"/>
                  <a:gd name="connsiteX6" fmla="*/ 427525 w 2158509"/>
                  <a:gd name="connsiteY6" fmla="*/ 2152650 h 2604407"/>
                  <a:gd name="connsiteX7" fmla="*/ 260 w 2158509"/>
                  <a:gd name="connsiteY7" fmla="*/ 2152650 h 2604407"/>
                  <a:gd name="connsiteX8" fmla="*/ 260 w 2158509"/>
                  <a:gd name="connsiteY8" fmla="*/ 1755322 h 2604407"/>
                  <a:gd name="connsiteX9" fmla="*/ 476511 w 2158509"/>
                  <a:gd name="connsiteY9" fmla="*/ 1064079 h 2604407"/>
                  <a:gd name="connsiteX10" fmla="*/ 260 w 2158509"/>
                  <a:gd name="connsiteY10" fmla="*/ 389166 h 2604407"/>
                  <a:gd name="connsiteX11" fmla="*/ 261 w 2158509"/>
                  <a:gd name="connsiteY11"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1717481 w 2158509"/>
                  <a:gd name="connsiteY4" fmla="*/ 2136322 h 2604407"/>
                  <a:gd name="connsiteX5" fmla="*/ 1072503 w 2158509"/>
                  <a:gd name="connsiteY5" fmla="*/ 2604407 h 2604407"/>
                  <a:gd name="connsiteX6" fmla="*/ 427525 w 2158509"/>
                  <a:gd name="connsiteY6" fmla="*/ 2152650 h 2604407"/>
                  <a:gd name="connsiteX7" fmla="*/ 260 w 2158509"/>
                  <a:gd name="connsiteY7" fmla="*/ 2152650 h 2604407"/>
                  <a:gd name="connsiteX8" fmla="*/ 260 w 2158509"/>
                  <a:gd name="connsiteY8" fmla="*/ 1755322 h 2604407"/>
                  <a:gd name="connsiteX9" fmla="*/ 476511 w 2158509"/>
                  <a:gd name="connsiteY9" fmla="*/ 1064079 h 2604407"/>
                  <a:gd name="connsiteX10" fmla="*/ 260 w 2158509"/>
                  <a:gd name="connsiteY10" fmla="*/ 389166 h 2604407"/>
                  <a:gd name="connsiteX11" fmla="*/ 261 w 2158509"/>
                  <a:gd name="connsiteY11"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1709318 w 2158509"/>
                  <a:gd name="connsiteY4" fmla="*/ 1760764 h 2604407"/>
                  <a:gd name="connsiteX5" fmla="*/ 1717481 w 2158509"/>
                  <a:gd name="connsiteY5" fmla="*/ 2136322 h 2604407"/>
                  <a:gd name="connsiteX6" fmla="*/ 1072503 w 2158509"/>
                  <a:gd name="connsiteY6" fmla="*/ 2604407 h 2604407"/>
                  <a:gd name="connsiteX7" fmla="*/ 427525 w 2158509"/>
                  <a:gd name="connsiteY7" fmla="*/ 2152650 h 2604407"/>
                  <a:gd name="connsiteX8" fmla="*/ 260 w 2158509"/>
                  <a:gd name="connsiteY8" fmla="*/ 2152650 h 2604407"/>
                  <a:gd name="connsiteX9" fmla="*/ 260 w 2158509"/>
                  <a:gd name="connsiteY9" fmla="*/ 1755322 h 2604407"/>
                  <a:gd name="connsiteX10" fmla="*/ 476511 w 2158509"/>
                  <a:gd name="connsiteY10" fmla="*/ 1064079 h 2604407"/>
                  <a:gd name="connsiteX11" fmla="*/ 260 w 2158509"/>
                  <a:gd name="connsiteY11" fmla="*/ 389166 h 2604407"/>
                  <a:gd name="connsiteX12" fmla="*/ 261 w 2158509"/>
                  <a:gd name="connsiteY12"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1717481 w 2158509"/>
                  <a:gd name="connsiteY5" fmla="*/ 2136322 h 2604407"/>
                  <a:gd name="connsiteX6" fmla="*/ 1072503 w 2158509"/>
                  <a:gd name="connsiteY6" fmla="*/ 2604407 h 2604407"/>
                  <a:gd name="connsiteX7" fmla="*/ 427525 w 2158509"/>
                  <a:gd name="connsiteY7" fmla="*/ 2152650 h 2604407"/>
                  <a:gd name="connsiteX8" fmla="*/ 260 w 2158509"/>
                  <a:gd name="connsiteY8" fmla="*/ 2152650 h 2604407"/>
                  <a:gd name="connsiteX9" fmla="*/ 260 w 2158509"/>
                  <a:gd name="connsiteY9" fmla="*/ 1755322 h 2604407"/>
                  <a:gd name="connsiteX10" fmla="*/ 476511 w 2158509"/>
                  <a:gd name="connsiteY10" fmla="*/ 1064079 h 2604407"/>
                  <a:gd name="connsiteX11" fmla="*/ 260 w 2158509"/>
                  <a:gd name="connsiteY11" fmla="*/ 389166 h 2604407"/>
                  <a:gd name="connsiteX12" fmla="*/ 261 w 2158509"/>
                  <a:gd name="connsiteY12"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1943360 w 2158509"/>
                  <a:gd name="connsiteY5" fmla="*/ 1926771 h 2604407"/>
                  <a:gd name="connsiteX6" fmla="*/ 1717481 w 2158509"/>
                  <a:gd name="connsiteY6" fmla="*/ 2136322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61074"/>
                  <a:gd name="connsiteY0" fmla="*/ 1 h 2604407"/>
                  <a:gd name="connsiteX1" fmla="*/ 2158352 w 2161074"/>
                  <a:gd name="connsiteY1" fmla="*/ 0 h 2604407"/>
                  <a:gd name="connsiteX2" fmla="*/ 2147468 w 2161074"/>
                  <a:gd name="connsiteY2" fmla="*/ 405493 h 2604407"/>
                  <a:gd name="connsiteX3" fmla="*/ 1682104 w 2161074"/>
                  <a:gd name="connsiteY3" fmla="*/ 1061357 h 2604407"/>
                  <a:gd name="connsiteX4" fmla="*/ 2136582 w 2161074"/>
                  <a:gd name="connsiteY4" fmla="*/ 1738993 h 2604407"/>
                  <a:gd name="connsiteX5" fmla="*/ 2161074 w 2161074"/>
                  <a:gd name="connsiteY5" fmla="*/ 2141764 h 2604407"/>
                  <a:gd name="connsiteX6" fmla="*/ 1717481 w 2161074"/>
                  <a:gd name="connsiteY6" fmla="*/ 2136322 h 2604407"/>
                  <a:gd name="connsiteX7" fmla="*/ 1072503 w 2161074"/>
                  <a:gd name="connsiteY7" fmla="*/ 2604407 h 2604407"/>
                  <a:gd name="connsiteX8" fmla="*/ 427525 w 2161074"/>
                  <a:gd name="connsiteY8" fmla="*/ 2152650 h 2604407"/>
                  <a:gd name="connsiteX9" fmla="*/ 260 w 2161074"/>
                  <a:gd name="connsiteY9" fmla="*/ 2152650 h 2604407"/>
                  <a:gd name="connsiteX10" fmla="*/ 260 w 2161074"/>
                  <a:gd name="connsiteY10" fmla="*/ 1755322 h 2604407"/>
                  <a:gd name="connsiteX11" fmla="*/ 476511 w 2161074"/>
                  <a:gd name="connsiteY11" fmla="*/ 1064079 h 2604407"/>
                  <a:gd name="connsiteX12" fmla="*/ 260 w 2161074"/>
                  <a:gd name="connsiteY12" fmla="*/ 389166 h 2604407"/>
                  <a:gd name="connsiteX13" fmla="*/ 261 w 2161074"/>
                  <a:gd name="connsiteY13" fmla="*/ 1 h 2604407"/>
                  <a:gd name="connsiteX0" fmla="*/ 261 w 2161074"/>
                  <a:gd name="connsiteY0" fmla="*/ 1 h 2604407"/>
                  <a:gd name="connsiteX1" fmla="*/ 2158352 w 2161074"/>
                  <a:gd name="connsiteY1" fmla="*/ 0 h 2604407"/>
                  <a:gd name="connsiteX2" fmla="*/ 2147468 w 2161074"/>
                  <a:gd name="connsiteY2" fmla="*/ 405493 h 2604407"/>
                  <a:gd name="connsiteX3" fmla="*/ 1682104 w 2161074"/>
                  <a:gd name="connsiteY3" fmla="*/ 1061357 h 2604407"/>
                  <a:gd name="connsiteX4" fmla="*/ 2136582 w 2161074"/>
                  <a:gd name="connsiteY4" fmla="*/ 1738993 h 2604407"/>
                  <a:gd name="connsiteX5" fmla="*/ 2161074 w 2161074"/>
                  <a:gd name="connsiteY5" fmla="*/ 2141764 h 2604407"/>
                  <a:gd name="connsiteX6" fmla="*/ 1717481 w 2161074"/>
                  <a:gd name="connsiteY6" fmla="*/ 2147207 h 2604407"/>
                  <a:gd name="connsiteX7" fmla="*/ 1072503 w 2161074"/>
                  <a:gd name="connsiteY7" fmla="*/ 2604407 h 2604407"/>
                  <a:gd name="connsiteX8" fmla="*/ 427525 w 2161074"/>
                  <a:gd name="connsiteY8" fmla="*/ 2152650 h 2604407"/>
                  <a:gd name="connsiteX9" fmla="*/ 260 w 2161074"/>
                  <a:gd name="connsiteY9" fmla="*/ 2152650 h 2604407"/>
                  <a:gd name="connsiteX10" fmla="*/ 260 w 2161074"/>
                  <a:gd name="connsiteY10" fmla="*/ 1755322 h 2604407"/>
                  <a:gd name="connsiteX11" fmla="*/ 476511 w 2161074"/>
                  <a:gd name="connsiteY11" fmla="*/ 1064079 h 2604407"/>
                  <a:gd name="connsiteX12" fmla="*/ 260 w 2161074"/>
                  <a:gd name="connsiteY12" fmla="*/ 389166 h 2604407"/>
                  <a:gd name="connsiteX13" fmla="*/ 261 w 2161074"/>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2150188 w 2158509"/>
                  <a:gd name="connsiteY5" fmla="*/ 2133600 h 2604407"/>
                  <a:gd name="connsiteX6" fmla="*/ 1717481 w 2158509"/>
                  <a:gd name="connsiteY6" fmla="*/ 2147207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2150188 w 2158509"/>
                  <a:gd name="connsiteY5" fmla="*/ 2133600 h 2604407"/>
                  <a:gd name="connsiteX6" fmla="*/ 1714760 w 2158509"/>
                  <a:gd name="connsiteY6" fmla="*/ 2141764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2150188 w 2158509"/>
                  <a:gd name="connsiteY5" fmla="*/ 2130879 h 2604407"/>
                  <a:gd name="connsiteX6" fmla="*/ 1714760 w 2158509"/>
                  <a:gd name="connsiteY6" fmla="*/ 2141764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2150188 w 2158509"/>
                  <a:gd name="connsiteY5" fmla="*/ 2130879 h 2604407"/>
                  <a:gd name="connsiteX6" fmla="*/ 1717481 w 2158509"/>
                  <a:gd name="connsiteY6" fmla="*/ 2144485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36582 w 2158509"/>
                  <a:gd name="connsiteY4" fmla="*/ 1738993 h 2604407"/>
                  <a:gd name="connsiteX5" fmla="*/ 2136581 w 2158509"/>
                  <a:gd name="connsiteY5" fmla="*/ 2144487 h 2604407"/>
                  <a:gd name="connsiteX6" fmla="*/ 1717481 w 2158509"/>
                  <a:gd name="connsiteY6" fmla="*/ 2144485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42025 w 2158509"/>
                  <a:gd name="connsiteY4" fmla="*/ 1749879 h 2604407"/>
                  <a:gd name="connsiteX5" fmla="*/ 2136581 w 2158509"/>
                  <a:gd name="connsiteY5" fmla="*/ 2144487 h 2604407"/>
                  <a:gd name="connsiteX6" fmla="*/ 1717481 w 2158509"/>
                  <a:gd name="connsiteY6" fmla="*/ 2144485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509"/>
                  <a:gd name="connsiteY0" fmla="*/ 1 h 2604407"/>
                  <a:gd name="connsiteX1" fmla="*/ 2158352 w 2158509"/>
                  <a:gd name="connsiteY1" fmla="*/ 0 h 2604407"/>
                  <a:gd name="connsiteX2" fmla="*/ 2147468 w 2158509"/>
                  <a:gd name="connsiteY2" fmla="*/ 405493 h 2604407"/>
                  <a:gd name="connsiteX3" fmla="*/ 1682104 w 2158509"/>
                  <a:gd name="connsiteY3" fmla="*/ 1061357 h 2604407"/>
                  <a:gd name="connsiteX4" fmla="*/ 2142025 w 2158509"/>
                  <a:gd name="connsiteY4" fmla="*/ 1749879 h 2604407"/>
                  <a:gd name="connsiteX5" fmla="*/ 2136581 w 2158509"/>
                  <a:gd name="connsiteY5" fmla="*/ 2144487 h 2604407"/>
                  <a:gd name="connsiteX6" fmla="*/ 1722924 w 2158509"/>
                  <a:gd name="connsiteY6" fmla="*/ 2144485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455"/>
                  <a:gd name="connsiteY0" fmla="*/ 1 h 2604407"/>
                  <a:gd name="connsiteX1" fmla="*/ 2158352 w 2158455"/>
                  <a:gd name="connsiteY1" fmla="*/ 0 h 2604407"/>
                  <a:gd name="connsiteX2" fmla="*/ 2139304 w 2158455"/>
                  <a:gd name="connsiteY2" fmla="*/ 394608 h 2604407"/>
                  <a:gd name="connsiteX3" fmla="*/ 1682104 w 2158455"/>
                  <a:gd name="connsiteY3" fmla="*/ 1061357 h 2604407"/>
                  <a:gd name="connsiteX4" fmla="*/ 2142025 w 2158455"/>
                  <a:gd name="connsiteY4" fmla="*/ 1749879 h 2604407"/>
                  <a:gd name="connsiteX5" fmla="*/ 2136581 w 2158455"/>
                  <a:gd name="connsiteY5" fmla="*/ 2144487 h 2604407"/>
                  <a:gd name="connsiteX6" fmla="*/ 1722924 w 2158455"/>
                  <a:gd name="connsiteY6" fmla="*/ 2144485 h 2604407"/>
                  <a:gd name="connsiteX7" fmla="*/ 1072503 w 2158455"/>
                  <a:gd name="connsiteY7" fmla="*/ 2604407 h 2604407"/>
                  <a:gd name="connsiteX8" fmla="*/ 427525 w 2158455"/>
                  <a:gd name="connsiteY8" fmla="*/ 2152650 h 2604407"/>
                  <a:gd name="connsiteX9" fmla="*/ 260 w 2158455"/>
                  <a:gd name="connsiteY9" fmla="*/ 2152650 h 2604407"/>
                  <a:gd name="connsiteX10" fmla="*/ 260 w 2158455"/>
                  <a:gd name="connsiteY10" fmla="*/ 1755322 h 2604407"/>
                  <a:gd name="connsiteX11" fmla="*/ 476511 w 2158455"/>
                  <a:gd name="connsiteY11" fmla="*/ 1064079 h 2604407"/>
                  <a:gd name="connsiteX12" fmla="*/ 260 w 2158455"/>
                  <a:gd name="connsiteY12" fmla="*/ 389166 h 2604407"/>
                  <a:gd name="connsiteX13" fmla="*/ 261 w 2158455"/>
                  <a:gd name="connsiteY13" fmla="*/ 1 h 2604407"/>
                  <a:gd name="connsiteX0" fmla="*/ 261 w 2158509"/>
                  <a:gd name="connsiteY0" fmla="*/ 1 h 2604407"/>
                  <a:gd name="connsiteX1" fmla="*/ 2158352 w 2158509"/>
                  <a:gd name="connsiteY1" fmla="*/ 0 h 2604407"/>
                  <a:gd name="connsiteX2" fmla="*/ 2147469 w 2158509"/>
                  <a:gd name="connsiteY2" fmla="*/ 394608 h 2604407"/>
                  <a:gd name="connsiteX3" fmla="*/ 1682104 w 2158509"/>
                  <a:gd name="connsiteY3" fmla="*/ 1061357 h 2604407"/>
                  <a:gd name="connsiteX4" fmla="*/ 2142025 w 2158509"/>
                  <a:gd name="connsiteY4" fmla="*/ 1749879 h 2604407"/>
                  <a:gd name="connsiteX5" fmla="*/ 2136581 w 2158509"/>
                  <a:gd name="connsiteY5" fmla="*/ 2144487 h 2604407"/>
                  <a:gd name="connsiteX6" fmla="*/ 1722924 w 2158509"/>
                  <a:gd name="connsiteY6" fmla="*/ 2144485 h 2604407"/>
                  <a:gd name="connsiteX7" fmla="*/ 1072503 w 2158509"/>
                  <a:gd name="connsiteY7" fmla="*/ 2604407 h 2604407"/>
                  <a:gd name="connsiteX8" fmla="*/ 427525 w 2158509"/>
                  <a:gd name="connsiteY8" fmla="*/ 2152650 h 2604407"/>
                  <a:gd name="connsiteX9" fmla="*/ 260 w 2158509"/>
                  <a:gd name="connsiteY9" fmla="*/ 2152650 h 2604407"/>
                  <a:gd name="connsiteX10" fmla="*/ 260 w 2158509"/>
                  <a:gd name="connsiteY10" fmla="*/ 1755322 h 2604407"/>
                  <a:gd name="connsiteX11" fmla="*/ 476511 w 2158509"/>
                  <a:gd name="connsiteY11" fmla="*/ 1064079 h 2604407"/>
                  <a:gd name="connsiteX12" fmla="*/ 260 w 2158509"/>
                  <a:gd name="connsiteY12" fmla="*/ 389166 h 2604407"/>
                  <a:gd name="connsiteX13" fmla="*/ 261 w 2158509"/>
                  <a:gd name="connsiteY13" fmla="*/ 1 h 2604407"/>
                  <a:gd name="connsiteX0" fmla="*/ 261 w 2158681"/>
                  <a:gd name="connsiteY0" fmla="*/ 1 h 2604407"/>
                  <a:gd name="connsiteX1" fmla="*/ 2158352 w 2158681"/>
                  <a:gd name="connsiteY1" fmla="*/ 0 h 2604407"/>
                  <a:gd name="connsiteX2" fmla="*/ 2155633 w 2158681"/>
                  <a:gd name="connsiteY2" fmla="*/ 381000 h 2604407"/>
                  <a:gd name="connsiteX3" fmla="*/ 1682104 w 2158681"/>
                  <a:gd name="connsiteY3" fmla="*/ 1061357 h 2604407"/>
                  <a:gd name="connsiteX4" fmla="*/ 2142025 w 2158681"/>
                  <a:gd name="connsiteY4" fmla="*/ 1749879 h 2604407"/>
                  <a:gd name="connsiteX5" fmla="*/ 2136581 w 2158681"/>
                  <a:gd name="connsiteY5" fmla="*/ 2144487 h 2604407"/>
                  <a:gd name="connsiteX6" fmla="*/ 1722924 w 2158681"/>
                  <a:gd name="connsiteY6" fmla="*/ 2144485 h 2604407"/>
                  <a:gd name="connsiteX7" fmla="*/ 1072503 w 2158681"/>
                  <a:gd name="connsiteY7" fmla="*/ 2604407 h 2604407"/>
                  <a:gd name="connsiteX8" fmla="*/ 427525 w 2158681"/>
                  <a:gd name="connsiteY8" fmla="*/ 2152650 h 2604407"/>
                  <a:gd name="connsiteX9" fmla="*/ 260 w 2158681"/>
                  <a:gd name="connsiteY9" fmla="*/ 2152650 h 2604407"/>
                  <a:gd name="connsiteX10" fmla="*/ 260 w 2158681"/>
                  <a:gd name="connsiteY10" fmla="*/ 1755322 h 2604407"/>
                  <a:gd name="connsiteX11" fmla="*/ 476511 w 2158681"/>
                  <a:gd name="connsiteY11" fmla="*/ 1064079 h 2604407"/>
                  <a:gd name="connsiteX12" fmla="*/ 260 w 2158681"/>
                  <a:gd name="connsiteY12" fmla="*/ 389166 h 2604407"/>
                  <a:gd name="connsiteX13" fmla="*/ 261 w 2158681"/>
                  <a:gd name="connsiteY13" fmla="*/ 1 h 2604407"/>
                  <a:gd name="connsiteX0" fmla="*/ 261 w 2158352"/>
                  <a:gd name="connsiteY0" fmla="*/ 1 h 2604407"/>
                  <a:gd name="connsiteX1" fmla="*/ 2158352 w 2158352"/>
                  <a:gd name="connsiteY1" fmla="*/ 0 h 2604407"/>
                  <a:gd name="connsiteX2" fmla="*/ 2155633 w 2158352"/>
                  <a:gd name="connsiteY2" fmla="*/ 381000 h 2604407"/>
                  <a:gd name="connsiteX3" fmla="*/ 1682104 w 2158352"/>
                  <a:gd name="connsiteY3" fmla="*/ 1061357 h 2604407"/>
                  <a:gd name="connsiteX4" fmla="*/ 2142025 w 2158352"/>
                  <a:gd name="connsiteY4" fmla="*/ 1749879 h 2604407"/>
                  <a:gd name="connsiteX5" fmla="*/ 2136581 w 2158352"/>
                  <a:gd name="connsiteY5" fmla="*/ 2144487 h 2604407"/>
                  <a:gd name="connsiteX6" fmla="*/ 1722924 w 2158352"/>
                  <a:gd name="connsiteY6" fmla="*/ 2144485 h 2604407"/>
                  <a:gd name="connsiteX7" fmla="*/ 1072503 w 2158352"/>
                  <a:gd name="connsiteY7" fmla="*/ 2604407 h 2604407"/>
                  <a:gd name="connsiteX8" fmla="*/ 427525 w 2158352"/>
                  <a:gd name="connsiteY8" fmla="*/ 2152650 h 2604407"/>
                  <a:gd name="connsiteX9" fmla="*/ 260 w 2158352"/>
                  <a:gd name="connsiteY9" fmla="*/ 2152650 h 2604407"/>
                  <a:gd name="connsiteX10" fmla="*/ 260 w 2158352"/>
                  <a:gd name="connsiteY10" fmla="*/ 1755322 h 2604407"/>
                  <a:gd name="connsiteX11" fmla="*/ 476511 w 2158352"/>
                  <a:gd name="connsiteY11" fmla="*/ 1064079 h 2604407"/>
                  <a:gd name="connsiteX12" fmla="*/ 260 w 2158352"/>
                  <a:gd name="connsiteY12" fmla="*/ 389166 h 2604407"/>
                  <a:gd name="connsiteX13" fmla="*/ 261 w 2158352"/>
                  <a:gd name="connsiteY13" fmla="*/ 1 h 2604407"/>
                  <a:gd name="connsiteX0" fmla="*/ 261 w 2158352"/>
                  <a:gd name="connsiteY0" fmla="*/ 1 h 2604407"/>
                  <a:gd name="connsiteX1" fmla="*/ 2158352 w 2158352"/>
                  <a:gd name="connsiteY1" fmla="*/ 0 h 2604407"/>
                  <a:gd name="connsiteX2" fmla="*/ 2155633 w 2158352"/>
                  <a:gd name="connsiteY2" fmla="*/ 381000 h 2604407"/>
                  <a:gd name="connsiteX3" fmla="*/ 1682104 w 2158352"/>
                  <a:gd name="connsiteY3" fmla="*/ 1061357 h 2604407"/>
                  <a:gd name="connsiteX4" fmla="*/ 2142025 w 2158352"/>
                  <a:gd name="connsiteY4" fmla="*/ 1749879 h 2604407"/>
                  <a:gd name="connsiteX5" fmla="*/ 2136581 w 2158352"/>
                  <a:gd name="connsiteY5" fmla="*/ 2134760 h 2604407"/>
                  <a:gd name="connsiteX6" fmla="*/ 1722924 w 2158352"/>
                  <a:gd name="connsiteY6" fmla="*/ 2144485 h 2604407"/>
                  <a:gd name="connsiteX7" fmla="*/ 1072503 w 2158352"/>
                  <a:gd name="connsiteY7" fmla="*/ 2604407 h 2604407"/>
                  <a:gd name="connsiteX8" fmla="*/ 427525 w 2158352"/>
                  <a:gd name="connsiteY8" fmla="*/ 2152650 h 2604407"/>
                  <a:gd name="connsiteX9" fmla="*/ 260 w 2158352"/>
                  <a:gd name="connsiteY9" fmla="*/ 2152650 h 2604407"/>
                  <a:gd name="connsiteX10" fmla="*/ 260 w 2158352"/>
                  <a:gd name="connsiteY10" fmla="*/ 1755322 h 2604407"/>
                  <a:gd name="connsiteX11" fmla="*/ 476511 w 2158352"/>
                  <a:gd name="connsiteY11" fmla="*/ 1064079 h 2604407"/>
                  <a:gd name="connsiteX12" fmla="*/ 260 w 2158352"/>
                  <a:gd name="connsiteY12" fmla="*/ 389166 h 2604407"/>
                  <a:gd name="connsiteX13" fmla="*/ 261 w 2158352"/>
                  <a:gd name="connsiteY13" fmla="*/ 1 h 2604407"/>
                  <a:gd name="connsiteX0" fmla="*/ 261 w 2158352"/>
                  <a:gd name="connsiteY0" fmla="*/ 1 h 2604407"/>
                  <a:gd name="connsiteX1" fmla="*/ 2158352 w 2158352"/>
                  <a:gd name="connsiteY1" fmla="*/ 0 h 2604407"/>
                  <a:gd name="connsiteX2" fmla="*/ 2155633 w 2158352"/>
                  <a:gd name="connsiteY2" fmla="*/ 381000 h 2604407"/>
                  <a:gd name="connsiteX3" fmla="*/ 1682104 w 2158352"/>
                  <a:gd name="connsiteY3" fmla="*/ 1061357 h 2604407"/>
                  <a:gd name="connsiteX4" fmla="*/ 2151753 w 2158352"/>
                  <a:gd name="connsiteY4" fmla="*/ 1759607 h 2604407"/>
                  <a:gd name="connsiteX5" fmla="*/ 2136581 w 2158352"/>
                  <a:gd name="connsiteY5" fmla="*/ 2134760 h 2604407"/>
                  <a:gd name="connsiteX6" fmla="*/ 1722924 w 2158352"/>
                  <a:gd name="connsiteY6" fmla="*/ 2144485 h 2604407"/>
                  <a:gd name="connsiteX7" fmla="*/ 1072503 w 2158352"/>
                  <a:gd name="connsiteY7" fmla="*/ 2604407 h 2604407"/>
                  <a:gd name="connsiteX8" fmla="*/ 427525 w 2158352"/>
                  <a:gd name="connsiteY8" fmla="*/ 2152650 h 2604407"/>
                  <a:gd name="connsiteX9" fmla="*/ 260 w 2158352"/>
                  <a:gd name="connsiteY9" fmla="*/ 2152650 h 2604407"/>
                  <a:gd name="connsiteX10" fmla="*/ 260 w 2158352"/>
                  <a:gd name="connsiteY10" fmla="*/ 1755322 h 2604407"/>
                  <a:gd name="connsiteX11" fmla="*/ 476511 w 2158352"/>
                  <a:gd name="connsiteY11" fmla="*/ 1064079 h 2604407"/>
                  <a:gd name="connsiteX12" fmla="*/ 260 w 2158352"/>
                  <a:gd name="connsiteY12" fmla="*/ 389166 h 2604407"/>
                  <a:gd name="connsiteX13" fmla="*/ 261 w 2158352"/>
                  <a:gd name="connsiteY13" fmla="*/ 1 h 2604407"/>
                  <a:gd name="connsiteX0" fmla="*/ 261 w 2158352"/>
                  <a:gd name="connsiteY0" fmla="*/ 1 h 2604407"/>
                  <a:gd name="connsiteX1" fmla="*/ 2158352 w 2158352"/>
                  <a:gd name="connsiteY1" fmla="*/ 0 h 2604407"/>
                  <a:gd name="connsiteX2" fmla="*/ 2155633 w 2158352"/>
                  <a:gd name="connsiteY2" fmla="*/ 381000 h 2604407"/>
                  <a:gd name="connsiteX3" fmla="*/ 1682104 w 2158352"/>
                  <a:gd name="connsiteY3" fmla="*/ 1061357 h 2604407"/>
                  <a:gd name="connsiteX4" fmla="*/ 2151753 w 2158352"/>
                  <a:gd name="connsiteY4" fmla="*/ 1759607 h 2604407"/>
                  <a:gd name="connsiteX5" fmla="*/ 2151173 w 2158352"/>
                  <a:gd name="connsiteY5" fmla="*/ 2129896 h 2604407"/>
                  <a:gd name="connsiteX6" fmla="*/ 1722924 w 2158352"/>
                  <a:gd name="connsiteY6" fmla="*/ 2144485 h 2604407"/>
                  <a:gd name="connsiteX7" fmla="*/ 1072503 w 2158352"/>
                  <a:gd name="connsiteY7" fmla="*/ 2604407 h 2604407"/>
                  <a:gd name="connsiteX8" fmla="*/ 427525 w 2158352"/>
                  <a:gd name="connsiteY8" fmla="*/ 2152650 h 2604407"/>
                  <a:gd name="connsiteX9" fmla="*/ 260 w 2158352"/>
                  <a:gd name="connsiteY9" fmla="*/ 2152650 h 2604407"/>
                  <a:gd name="connsiteX10" fmla="*/ 260 w 2158352"/>
                  <a:gd name="connsiteY10" fmla="*/ 1755322 h 2604407"/>
                  <a:gd name="connsiteX11" fmla="*/ 476511 w 2158352"/>
                  <a:gd name="connsiteY11" fmla="*/ 1064079 h 2604407"/>
                  <a:gd name="connsiteX12" fmla="*/ 260 w 2158352"/>
                  <a:gd name="connsiteY12" fmla="*/ 389166 h 2604407"/>
                  <a:gd name="connsiteX13" fmla="*/ 261 w 2158352"/>
                  <a:gd name="connsiteY13" fmla="*/ 1 h 2604407"/>
                  <a:gd name="connsiteX0" fmla="*/ 261 w 2158352"/>
                  <a:gd name="connsiteY0" fmla="*/ 1 h 2604407"/>
                  <a:gd name="connsiteX1" fmla="*/ 2158352 w 2158352"/>
                  <a:gd name="connsiteY1" fmla="*/ 0 h 2604407"/>
                  <a:gd name="connsiteX2" fmla="*/ 2155633 w 2158352"/>
                  <a:gd name="connsiteY2" fmla="*/ 381000 h 2604407"/>
                  <a:gd name="connsiteX3" fmla="*/ 1682104 w 2158352"/>
                  <a:gd name="connsiteY3" fmla="*/ 1061357 h 2604407"/>
                  <a:gd name="connsiteX4" fmla="*/ 2151753 w 2158352"/>
                  <a:gd name="connsiteY4" fmla="*/ 1759607 h 2604407"/>
                  <a:gd name="connsiteX5" fmla="*/ 2151173 w 2158352"/>
                  <a:gd name="connsiteY5" fmla="*/ 2129896 h 2604407"/>
                  <a:gd name="connsiteX6" fmla="*/ 1722924 w 2158352"/>
                  <a:gd name="connsiteY6" fmla="*/ 2144485 h 2604407"/>
                  <a:gd name="connsiteX7" fmla="*/ 1072503 w 2158352"/>
                  <a:gd name="connsiteY7" fmla="*/ 2604407 h 2604407"/>
                  <a:gd name="connsiteX8" fmla="*/ 427525 w 2158352"/>
                  <a:gd name="connsiteY8" fmla="*/ 2152650 h 2604407"/>
                  <a:gd name="connsiteX9" fmla="*/ 260 w 2158352"/>
                  <a:gd name="connsiteY9" fmla="*/ 2152650 h 2604407"/>
                  <a:gd name="connsiteX10" fmla="*/ 260 w 2158352"/>
                  <a:gd name="connsiteY10" fmla="*/ 1755322 h 2604407"/>
                  <a:gd name="connsiteX11" fmla="*/ 476511 w 2158352"/>
                  <a:gd name="connsiteY11" fmla="*/ 1064079 h 2604407"/>
                  <a:gd name="connsiteX12" fmla="*/ 260 w 2158352"/>
                  <a:gd name="connsiteY12" fmla="*/ 389166 h 2604407"/>
                  <a:gd name="connsiteX13" fmla="*/ 261 w 2158352"/>
                  <a:gd name="connsiteY13" fmla="*/ 1 h 2604407"/>
                  <a:gd name="connsiteX0" fmla="*/ 261 w 2691093"/>
                  <a:gd name="connsiteY0" fmla="*/ 1 h 2604407"/>
                  <a:gd name="connsiteX1" fmla="*/ 2158352 w 2691093"/>
                  <a:gd name="connsiteY1" fmla="*/ 0 h 2604407"/>
                  <a:gd name="connsiteX2" fmla="*/ 2155633 w 2691093"/>
                  <a:gd name="connsiteY2" fmla="*/ 381000 h 2604407"/>
                  <a:gd name="connsiteX3" fmla="*/ 2691093 w 2691093"/>
                  <a:gd name="connsiteY3" fmla="*/ 1154133 h 2604407"/>
                  <a:gd name="connsiteX4" fmla="*/ 2151753 w 2691093"/>
                  <a:gd name="connsiteY4" fmla="*/ 1759607 h 2604407"/>
                  <a:gd name="connsiteX5" fmla="*/ 2151173 w 2691093"/>
                  <a:gd name="connsiteY5" fmla="*/ 2129896 h 2604407"/>
                  <a:gd name="connsiteX6" fmla="*/ 1722924 w 2691093"/>
                  <a:gd name="connsiteY6" fmla="*/ 2144485 h 2604407"/>
                  <a:gd name="connsiteX7" fmla="*/ 1072503 w 2691093"/>
                  <a:gd name="connsiteY7" fmla="*/ 2604407 h 2604407"/>
                  <a:gd name="connsiteX8" fmla="*/ 427525 w 2691093"/>
                  <a:gd name="connsiteY8" fmla="*/ 2152650 h 2604407"/>
                  <a:gd name="connsiteX9" fmla="*/ 260 w 2691093"/>
                  <a:gd name="connsiteY9" fmla="*/ 2152650 h 2604407"/>
                  <a:gd name="connsiteX10" fmla="*/ 260 w 2691093"/>
                  <a:gd name="connsiteY10" fmla="*/ 1755322 h 2604407"/>
                  <a:gd name="connsiteX11" fmla="*/ 476511 w 2691093"/>
                  <a:gd name="connsiteY11" fmla="*/ 1064079 h 2604407"/>
                  <a:gd name="connsiteX12" fmla="*/ 260 w 2691093"/>
                  <a:gd name="connsiteY12" fmla="*/ 389166 h 2604407"/>
                  <a:gd name="connsiteX13" fmla="*/ 261 w 2691093"/>
                  <a:gd name="connsiteY13" fmla="*/ 1 h 2604407"/>
                  <a:gd name="connsiteX0" fmla="*/ 261 w 2668918"/>
                  <a:gd name="connsiteY0" fmla="*/ 1 h 2604407"/>
                  <a:gd name="connsiteX1" fmla="*/ 2158352 w 2668918"/>
                  <a:gd name="connsiteY1" fmla="*/ 0 h 2604407"/>
                  <a:gd name="connsiteX2" fmla="*/ 2155633 w 2668918"/>
                  <a:gd name="connsiteY2" fmla="*/ 381000 h 2604407"/>
                  <a:gd name="connsiteX3" fmla="*/ 2668918 w 2668918"/>
                  <a:gd name="connsiteY3" fmla="*/ 1172688 h 2604407"/>
                  <a:gd name="connsiteX4" fmla="*/ 2151753 w 2668918"/>
                  <a:gd name="connsiteY4" fmla="*/ 1759607 h 2604407"/>
                  <a:gd name="connsiteX5" fmla="*/ 2151173 w 2668918"/>
                  <a:gd name="connsiteY5" fmla="*/ 2129896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76511 w 2668918"/>
                  <a:gd name="connsiteY11" fmla="*/ 1064079 h 2604407"/>
                  <a:gd name="connsiteX12" fmla="*/ 260 w 2668918"/>
                  <a:gd name="connsiteY12" fmla="*/ 389166 h 2604407"/>
                  <a:gd name="connsiteX13" fmla="*/ 261 w 2668918"/>
                  <a:gd name="connsiteY13" fmla="*/ 1 h 2604407"/>
                  <a:gd name="connsiteX0" fmla="*/ 261 w 2668918"/>
                  <a:gd name="connsiteY0" fmla="*/ 1 h 2604407"/>
                  <a:gd name="connsiteX1" fmla="*/ 2158352 w 2668918"/>
                  <a:gd name="connsiteY1" fmla="*/ 0 h 2604407"/>
                  <a:gd name="connsiteX2" fmla="*/ 2155633 w 2668918"/>
                  <a:gd name="connsiteY2" fmla="*/ 381000 h 2604407"/>
                  <a:gd name="connsiteX3" fmla="*/ 2668918 w 2668918"/>
                  <a:gd name="connsiteY3" fmla="*/ 1172688 h 2604407"/>
                  <a:gd name="connsiteX4" fmla="*/ 2151753 w 2668918"/>
                  <a:gd name="connsiteY4" fmla="*/ 1759607 h 2604407"/>
                  <a:gd name="connsiteX5" fmla="*/ 2151173 w 2668918"/>
                  <a:gd name="connsiteY5" fmla="*/ 2129896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1 h 2604407"/>
                  <a:gd name="connsiteX1" fmla="*/ 2158352 w 2668918"/>
                  <a:gd name="connsiteY1" fmla="*/ 0 h 2604407"/>
                  <a:gd name="connsiteX2" fmla="*/ 2155633 w 2668918"/>
                  <a:gd name="connsiteY2" fmla="*/ 381000 h 2604407"/>
                  <a:gd name="connsiteX3" fmla="*/ 2668918 w 2668918"/>
                  <a:gd name="connsiteY3" fmla="*/ 1172688 h 2604407"/>
                  <a:gd name="connsiteX4" fmla="*/ 2151753 w 2668918"/>
                  <a:gd name="connsiteY4" fmla="*/ 1759607 h 2604407"/>
                  <a:gd name="connsiteX5" fmla="*/ 2151173 w 2668918"/>
                  <a:gd name="connsiteY5" fmla="*/ 2129896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1 h 2604407"/>
                  <a:gd name="connsiteX1" fmla="*/ 2158352 w 2668918"/>
                  <a:gd name="connsiteY1" fmla="*/ 0 h 2604407"/>
                  <a:gd name="connsiteX2" fmla="*/ 2155633 w 2668918"/>
                  <a:gd name="connsiteY2" fmla="*/ 381000 h 2604407"/>
                  <a:gd name="connsiteX3" fmla="*/ 2668918 w 2668918"/>
                  <a:gd name="connsiteY3" fmla="*/ 1172688 h 2604407"/>
                  <a:gd name="connsiteX4" fmla="*/ 2151753 w 2668918"/>
                  <a:gd name="connsiteY4" fmla="*/ 1759607 h 2604407"/>
                  <a:gd name="connsiteX5" fmla="*/ 2151173 w 2668918"/>
                  <a:gd name="connsiteY5" fmla="*/ 2129896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1 h 2604407"/>
                  <a:gd name="connsiteX1" fmla="*/ 2158352 w 2668918"/>
                  <a:gd name="connsiteY1" fmla="*/ 0 h 2604407"/>
                  <a:gd name="connsiteX2" fmla="*/ 2155633 w 2668918"/>
                  <a:gd name="connsiteY2" fmla="*/ 381000 h 2604407"/>
                  <a:gd name="connsiteX3" fmla="*/ 2668918 w 2668918"/>
                  <a:gd name="connsiteY3" fmla="*/ 1172688 h 2604407"/>
                  <a:gd name="connsiteX4" fmla="*/ 2151753 w 2668918"/>
                  <a:gd name="connsiteY4" fmla="*/ 1759607 h 2604407"/>
                  <a:gd name="connsiteX5" fmla="*/ 2151173 w 2668918"/>
                  <a:gd name="connsiteY5" fmla="*/ 2129896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1 h 2604407"/>
                  <a:gd name="connsiteX1" fmla="*/ 2158352 w 2668918"/>
                  <a:gd name="connsiteY1" fmla="*/ 0 h 2604407"/>
                  <a:gd name="connsiteX2" fmla="*/ 2155633 w 2668918"/>
                  <a:gd name="connsiteY2" fmla="*/ 381000 h 2604407"/>
                  <a:gd name="connsiteX3" fmla="*/ 2668918 w 2668918"/>
                  <a:gd name="connsiteY3" fmla="*/ 1172688 h 2604407"/>
                  <a:gd name="connsiteX4" fmla="*/ 2151753 w 2668918"/>
                  <a:gd name="connsiteY4" fmla="*/ 1759607 h 2604407"/>
                  <a:gd name="connsiteX5" fmla="*/ 2194549 w 2668918"/>
                  <a:gd name="connsiteY5" fmla="*/ 2154093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1 h 2604407"/>
                  <a:gd name="connsiteX1" fmla="*/ 2158352 w 2668918"/>
                  <a:gd name="connsiteY1" fmla="*/ 0 h 2604407"/>
                  <a:gd name="connsiteX2" fmla="*/ 2155633 w 2668918"/>
                  <a:gd name="connsiteY2" fmla="*/ 381000 h 2604407"/>
                  <a:gd name="connsiteX3" fmla="*/ 2668918 w 2668918"/>
                  <a:gd name="connsiteY3" fmla="*/ 1172688 h 2604407"/>
                  <a:gd name="connsiteX4" fmla="*/ 2187899 w 2668918"/>
                  <a:gd name="connsiteY4" fmla="*/ 1759607 h 2604407"/>
                  <a:gd name="connsiteX5" fmla="*/ 2194549 w 2668918"/>
                  <a:gd name="connsiteY5" fmla="*/ 2154093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1 h 2604407"/>
                  <a:gd name="connsiteX1" fmla="*/ 2158352 w 2668918"/>
                  <a:gd name="connsiteY1" fmla="*/ 0 h 2604407"/>
                  <a:gd name="connsiteX2" fmla="*/ 2155633 w 2668918"/>
                  <a:gd name="connsiteY2" fmla="*/ 381000 h 2604407"/>
                  <a:gd name="connsiteX3" fmla="*/ 2668918 w 2668918"/>
                  <a:gd name="connsiteY3" fmla="*/ 1172688 h 2604407"/>
                  <a:gd name="connsiteX4" fmla="*/ 2187899 w 2668918"/>
                  <a:gd name="connsiteY4" fmla="*/ 1759607 h 2604407"/>
                  <a:gd name="connsiteX5" fmla="*/ 2194549 w 2668918"/>
                  <a:gd name="connsiteY5" fmla="*/ 2154093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1 h 2604407"/>
                  <a:gd name="connsiteX1" fmla="*/ 2194498 w 2668918"/>
                  <a:gd name="connsiteY1" fmla="*/ 0 h 2604407"/>
                  <a:gd name="connsiteX2" fmla="*/ 2155633 w 2668918"/>
                  <a:gd name="connsiteY2" fmla="*/ 381000 h 2604407"/>
                  <a:gd name="connsiteX3" fmla="*/ 2668918 w 2668918"/>
                  <a:gd name="connsiteY3" fmla="*/ 1172688 h 2604407"/>
                  <a:gd name="connsiteX4" fmla="*/ 2187899 w 2668918"/>
                  <a:gd name="connsiteY4" fmla="*/ 1759607 h 2604407"/>
                  <a:gd name="connsiteX5" fmla="*/ 2194549 w 2668918"/>
                  <a:gd name="connsiteY5" fmla="*/ 2154093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1 h 2604407"/>
                  <a:gd name="connsiteX1" fmla="*/ 2194498 w 2668918"/>
                  <a:gd name="connsiteY1" fmla="*/ 0 h 2604407"/>
                  <a:gd name="connsiteX2" fmla="*/ 2191780 w 2668918"/>
                  <a:gd name="connsiteY2" fmla="*/ 372934 h 2604407"/>
                  <a:gd name="connsiteX3" fmla="*/ 2668918 w 2668918"/>
                  <a:gd name="connsiteY3" fmla="*/ 1172688 h 2604407"/>
                  <a:gd name="connsiteX4" fmla="*/ 2187899 w 2668918"/>
                  <a:gd name="connsiteY4" fmla="*/ 1759607 h 2604407"/>
                  <a:gd name="connsiteX5" fmla="*/ 2194549 w 2668918"/>
                  <a:gd name="connsiteY5" fmla="*/ 2154093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1 h 2604407"/>
                  <a:gd name="connsiteX1" fmla="*/ 2194498 w 2668918"/>
                  <a:gd name="connsiteY1" fmla="*/ 0 h 2604407"/>
                  <a:gd name="connsiteX2" fmla="*/ 2191780 w 2668918"/>
                  <a:gd name="connsiteY2" fmla="*/ 372934 h 2604407"/>
                  <a:gd name="connsiteX3" fmla="*/ 2668918 w 2668918"/>
                  <a:gd name="connsiteY3" fmla="*/ 1172688 h 2604407"/>
                  <a:gd name="connsiteX4" fmla="*/ 2187899 w 2668918"/>
                  <a:gd name="connsiteY4" fmla="*/ 1759607 h 2604407"/>
                  <a:gd name="connsiteX5" fmla="*/ 2194549 w 2668918"/>
                  <a:gd name="connsiteY5" fmla="*/ 2154093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1 h 2604407"/>
                  <a:gd name="connsiteX1" fmla="*/ 2194498 w 2668918"/>
                  <a:gd name="connsiteY1" fmla="*/ 0 h 2604407"/>
                  <a:gd name="connsiteX2" fmla="*/ 2170093 w 2668918"/>
                  <a:gd name="connsiteY2" fmla="*/ 421327 h 2604407"/>
                  <a:gd name="connsiteX3" fmla="*/ 2668918 w 2668918"/>
                  <a:gd name="connsiteY3" fmla="*/ 1172688 h 2604407"/>
                  <a:gd name="connsiteX4" fmla="*/ 2187899 w 2668918"/>
                  <a:gd name="connsiteY4" fmla="*/ 1759607 h 2604407"/>
                  <a:gd name="connsiteX5" fmla="*/ 2194549 w 2668918"/>
                  <a:gd name="connsiteY5" fmla="*/ 2154093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1 h 2604407"/>
                  <a:gd name="connsiteX1" fmla="*/ 2194498 w 2668918"/>
                  <a:gd name="connsiteY1" fmla="*/ 0 h 2604407"/>
                  <a:gd name="connsiteX2" fmla="*/ 2184552 w 2668918"/>
                  <a:gd name="connsiteY2" fmla="*/ 437457 h 2604407"/>
                  <a:gd name="connsiteX3" fmla="*/ 2668918 w 2668918"/>
                  <a:gd name="connsiteY3" fmla="*/ 1172688 h 2604407"/>
                  <a:gd name="connsiteX4" fmla="*/ 2187899 w 2668918"/>
                  <a:gd name="connsiteY4" fmla="*/ 1759607 h 2604407"/>
                  <a:gd name="connsiteX5" fmla="*/ 2194549 w 2668918"/>
                  <a:gd name="connsiteY5" fmla="*/ 2154093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1 h 2604407"/>
                  <a:gd name="connsiteX1" fmla="*/ 2194498 w 2668918"/>
                  <a:gd name="connsiteY1" fmla="*/ 0 h 2604407"/>
                  <a:gd name="connsiteX2" fmla="*/ 2184552 w 2668918"/>
                  <a:gd name="connsiteY2" fmla="*/ 437457 h 2604407"/>
                  <a:gd name="connsiteX3" fmla="*/ 2668918 w 2668918"/>
                  <a:gd name="connsiteY3" fmla="*/ 1172688 h 2604407"/>
                  <a:gd name="connsiteX4" fmla="*/ 2209587 w 2668918"/>
                  <a:gd name="connsiteY4" fmla="*/ 1743475 h 2604407"/>
                  <a:gd name="connsiteX5" fmla="*/ 2194549 w 2668918"/>
                  <a:gd name="connsiteY5" fmla="*/ 2154093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1 h 2604407"/>
                  <a:gd name="connsiteX1" fmla="*/ 2194498 w 2668918"/>
                  <a:gd name="connsiteY1" fmla="*/ 0 h 2604407"/>
                  <a:gd name="connsiteX2" fmla="*/ 2184552 w 2668918"/>
                  <a:gd name="connsiteY2" fmla="*/ 437457 h 2604407"/>
                  <a:gd name="connsiteX3" fmla="*/ 2668918 w 2668918"/>
                  <a:gd name="connsiteY3" fmla="*/ 1172688 h 2604407"/>
                  <a:gd name="connsiteX4" fmla="*/ 2209587 w 2668918"/>
                  <a:gd name="connsiteY4" fmla="*/ 1743475 h 2604407"/>
                  <a:gd name="connsiteX5" fmla="*/ 2209007 w 2668918"/>
                  <a:gd name="connsiteY5" fmla="*/ 2137961 h 2604407"/>
                  <a:gd name="connsiteX6" fmla="*/ 1722924 w 2668918"/>
                  <a:gd name="connsiteY6" fmla="*/ 2144485 h 2604407"/>
                  <a:gd name="connsiteX7" fmla="*/ 1072503 w 2668918"/>
                  <a:gd name="connsiteY7" fmla="*/ 2604407 h 2604407"/>
                  <a:gd name="connsiteX8" fmla="*/ 427525 w 2668918"/>
                  <a:gd name="connsiteY8" fmla="*/ 2152650 h 2604407"/>
                  <a:gd name="connsiteX9" fmla="*/ 260 w 2668918"/>
                  <a:gd name="connsiteY9" fmla="*/ 2152650 h 2604407"/>
                  <a:gd name="connsiteX10" fmla="*/ 260 w 2668918"/>
                  <a:gd name="connsiteY10" fmla="*/ 1755322 h 2604407"/>
                  <a:gd name="connsiteX11" fmla="*/ 425906 w 2668918"/>
                  <a:gd name="connsiteY11" fmla="*/ 1072144 h 2604407"/>
                  <a:gd name="connsiteX12" fmla="*/ 260 w 2668918"/>
                  <a:gd name="connsiteY12" fmla="*/ 389166 h 2604407"/>
                  <a:gd name="connsiteX13" fmla="*/ 261 w 2668918"/>
                  <a:gd name="connsiteY13" fmla="*/ 1 h 2604407"/>
                  <a:gd name="connsiteX0" fmla="*/ 261 w 2668918"/>
                  <a:gd name="connsiteY0" fmla="*/ 8067 h 2612473"/>
                  <a:gd name="connsiteX1" fmla="*/ 2172811 w 2668918"/>
                  <a:gd name="connsiteY1" fmla="*/ 0 h 2612473"/>
                  <a:gd name="connsiteX2" fmla="*/ 2184552 w 2668918"/>
                  <a:gd name="connsiteY2" fmla="*/ 445523 h 2612473"/>
                  <a:gd name="connsiteX3" fmla="*/ 2668918 w 2668918"/>
                  <a:gd name="connsiteY3" fmla="*/ 1180754 h 2612473"/>
                  <a:gd name="connsiteX4" fmla="*/ 2209587 w 2668918"/>
                  <a:gd name="connsiteY4" fmla="*/ 1751541 h 2612473"/>
                  <a:gd name="connsiteX5" fmla="*/ 2209007 w 2668918"/>
                  <a:gd name="connsiteY5" fmla="*/ 2146027 h 2612473"/>
                  <a:gd name="connsiteX6" fmla="*/ 1722924 w 2668918"/>
                  <a:gd name="connsiteY6" fmla="*/ 2152551 h 2612473"/>
                  <a:gd name="connsiteX7" fmla="*/ 1072503 w 2668918"/>
                  <a:gd name="connsiteY7" fmla="*/ 2612473 h 2612473"/>
                  <a:gd name="connsiteX8" fmla="*/ 427525 w 2668918"/>
                  <a:gd name="connsiteY8" fmla="*/ 2160716 h 2612473"/>
                  <a:gd name="connsiteX9" fmla="*/ 260 w 2668918"/>
                  <a:gd name="connsiteY9" fmla="*/ 2160716 h 2612473"/>
                  <a:gd name="connsiteX10" fmla="*/ 260 w 2668918"/>
                  <a:gd name="connsiteY10" fmla="*/ 1763388 h 2612473"/>
                  <a:gd name="connsiteX11" fmla="*/ 425906 w 2668918"/>
                  <a:gd name="connsiteY11" fmla="*/ 1080210 h 2612473"/>
                  <a:gd name="connsiteX12" fmla="*/ 260 w 2668918"/>
                  <a:gd name="connsiteY12" fmla="*/ 397232 h 2612473"/>
                  <a:gd name="connsiteX13" fmla="*/ 261 w 2668918"/>
                  <a:gd name="connsiteY13" fmla="*/ 8067 h 2612473"/>
                  <a:gd name="connsiteX0" fmla="*/ 261 w 2668918"/>
                  <a:gd name="connsiteY0" fmla="*/ 8067 h 2612473"/>
                  <a:gd name="connsiteX1" fmla="*/ 2172811 w 2668918"/>
                  <a:gd name="connsiteY1" fmla="*/ 0 h 2612473"/>
                  <a:gd name="connsiteX2" fmla="*/ 2155635 w 2668918"/>
                  <a:gd name="connsiteY2" fmla="*/ 445523 h 2612473"/>
                  <a:gd name="connsiteX3" fmla="*/ 2668918 w 2668918"/>
                  <a:gd name="connsiteY3" fmla="*/ 1180754 h 2612473"/>
                  <a:gd name="connsiteX4" fmla="*/ 2209587 w 2668918"/>
                  <a:gd name="connsiteY4" fmla="*/ 1751541 h 2612473"/>
                  <a:gd name="connsiteX5" fmla="*/ 2209007 w 2668918"/>
                  <a:gd name="connsiteY5" fmla="*/ 2146027 h 2612473"/>
                  <a:gd name="connsiteX6" fmla="*/ 1722924 w 2668918"/>
                  <a:gd name="connsiteY6" fmla="*/ 2152551 h 2612473"/>
                  <a:gd name="connsiteX7" fmla="*/ 1072503 w 2668918"/>
                  <a:gd name="connsiteY7" fmla="*/ 2612473 h 2612473"/>
                  <a:gd name="connsiteX8" fmla="*/ 427525 w 2668918"/>
                  <a:gd name="connsiteY8" fmla="*/ 2160716 h 2612473"/>
                  <a:gd name="connsiteX9" fmla="*/ 260 w 2668918"/>
                  <a:gd name="connsiteY9" fmla="*/ 2160716 h 2612473"/>
                  <a:gd name="connsiteX10" fmla="*/ 260 w 2668918"/>
                  <a:gd name="connsiteY10" fmla="*/ 1763388 h 2612473"/>
                  <a:gd name="connsiteX11" fmla="*/ 425906 w 2668918"/>
                  <a:gd name="connsiteY11" fmla="*/ 1080210 h 2612473"/>
                  <a:gd name="connsiteX12" fmla="*/ 260 w 2668918"/>
                  <a:gd name="connsiteY12" fmla="*/ 397232 h 2612473"/>
                  <a:gd name="connsiteX13" fmla="*/ 261 w 2668918"/>
                  <a:gd name="connsiteY13" fmla="*/ 8067 h 2612473"/>
                  <a:gd name="connsiteX0" fmla="*/ 261 w 2668918"/>
                  <a:gd name="connsiteY0" fmla="*/ 8067 h 2612473"/>
                  <a:gd name="connsiteX1" fmla="*/ 2172811 w 2668918"/>
                  <a:gd name="connsiteY1" fmla="*/ 0 h 2612473"/>
                  <a:gd name="connsiteX2" fmla="*/ 2177323 w 2668918"/>
                  <a:gd name="connsiteY2" fmla="*/ 437458 h 2612473"/>
                  <a:gd name="connsiteX3" fmla="*/ 2668918 w 2668918"/>
                  <a:gd name="connsiteY3" fmla="*/ 1180754 h 2612473"/>
                  <a:gd name="connsiteX4" fmla="*/ 2209587 w 2668918"/>
                  <a:gd name="connsiteY4" fmla="*/ 1751541 h 2612473"/>
                  <a:gd name="connsiteX5" fmla="*/ 2209007 w 2668918"/>
                  <a:gd name="connsiteY5" fmla="*/ 2146027 h 2612473"/>
                  <a:gd name="connsiteX6" fmla="*/ 1722924 w 2668918"/>
                  <a:gd name="connsiteY6" fmla="*/ 2152551 h 2612473"/>
                  <a:gd name="connsiteX7" fmla="*/ 1072503 w 2668918"/>
                  <a:gd name="connsiteY7" fmla="*/ 2612473 h 2612473"/>
                  <a:gd name="connsiteX8" fmla="*/ 427525 w 2668918"/>
                  <a:gd name="connsiteY8" fmla="*/ 2160716 h 2612473"/>
                  <a:gd name="connsiteX9" fmla="*/ 260 w 2668918"/>
                  <a:gd name="connsiteY9" fmla="*/ 2160716 h 2612473"/>
                  <a:gd name="connsiteX10" fmla="*/ 260 w 2668918"/>
                  <a:gd name="connsiteY10" fmla="*/ 1763388 h 2612473"/>
                  <a:gd name="connsiteX11" fmla="*/ 425906 w 2668918"/>
                  <a:gd name="connsiteY11" fmla="*/ 1080210 h 2612473"/>
                  <a:gd name="connsiteX12" fmla="*/ 260 w 2668918"/>
                  <a:gd name="connsiteY12" fmla="*/ 397232 h 2612473"/>
                  <a:gd name="connsiteX13" fmla="*/ 261 w 2668918"/>
                  <a:gd name="connsiteY13" fmla="*/ 8067 h 2612473"/>
                  <a:gd name="connsiteX0" fmla="*/ 261 w 2668918"/>
                  <a:gd name="connsiteY0" fmla="*/ 8067 h 2612473"/>
                  <a:gd name="connsiteX1" fmla="*/ 2180041 w 2668918"/>
                  <a:gd name="connsiteY1" fmla="*/ 0 h 2612473"/>
                  <a:gd name="connsiteX2" fmla="*/ 2177323 w 2668918"/>
                  <a:gd name="connsiteY2" fmla="*/ 437458 h 2612473"/>
                  <a:gd name="connsiteX3" fmla="*/ 2668918 w 2668918"/>
                  <a:gd name="connsiteY3" fmla="*/ 1180754 h 2612473"/>
                  <a:gd name="connsiteX4" fmla="*/ 2209587 w 2668918"/>
                  <a:gd name="connsiteY4" fmla="*/ 1751541 h 2612473"/>
                  <a:gd name="connsiteX5" fmla="*/ 2209007 w 2668918"/>
                  <a:gd name="connsiteY5" fmla="*/ 2146027 h 2612473"/>
                  <a:gd name="connsiteX6" fmla="*/ 1722924 w 2668918"/>
                  <a:gd name="connsiteY6" fmla="*/ 2152551 h 2612473"/>
                  <a:gd name="connsiteX7" fmla="*/ 1072503 w 2668918"/>
                  <a:gd name="connsiteY7" fmla="*/ 2612473 h 2612473"/>
                  <a:gd name="connsiteX8" fmla="*/ 427525 w 2668918"/>
                  <a:gd name="connsiteY8" fmla="*/ 2160716 h 2612473"/>
                  <a:gd name="connsiteX9" fmla="*/ 260 w 2668918"/>
                  <a:gd name="connsiteY9" fmla="*/ 2160716 h 2612473"/>
                  <a:gd name="connsiteX10" fmla="*/ 260 w 2668918"/>
                  <a:gd name="connsiteY10" fmla="*/ 1763388 h 2612473"/>
                  <a:gd name="connsiteX11" fmla="*/ 425906 w 2668918"/>
                  <a:gd name="connsiteY11" fmla="*/ 1080210 h 2612473"/>
                  <a:gd name="connsiteX12" fmla="*/ 260 w 2668918"/>
                  <a:gd name="connsiteY12" fmla="*/ 397232 h 2612473"/>
                  <a:gd name="connsiteX13" fmla="*/ 261 w 2668918"/>
                  <a:gd name="connsiteY13" fmla="*/ 8067 h 2612473"/>
                  <a:gd name="connsiteX0" fmla="*/ 261 w 2668918"/>
                  <a:gd name="connsiteY0" fmla="*/ 16132 h 2620538"/>
                  <a:gd name="connsiteX1" fmla="*/ 2158353 w 2668918"/>
                  <a:gd name="connsiteY1" fmla="*/ 0 h 2620538"/>
                  <a:gd name="connsiteX2" fmla="*/ 2177323 w 2668918"/>
                  <a:gd name="connsiteY2" fmla="*/ 445523 h 2620538"/>
                  <a:gd name="connsiteX3" fmla="*/ 2668918 w 2668918"/>
                  <a:gd name="connsiteY3" fmla="*/ 1188819 h 2620538"/>
                  <a:gd name="connsiteX4" fmla="*/ 2209587 w 2668918"/>
                  <a:gd name="connsiteY4" fmla="*/ 1759606 h 2620538"/>
                  <a:gd name="connsiteX5" fmla="*/ 2209007 w 2668918"/>
                  <a:gd name="connsiteY5" fmla="*/ 2154092 h 2620538"/>
                  <a:gd name="connsiteX6" fmla="*/ 1722924 w 2668918"/>
                  <a:gd name="connsiteY6" fmla="*/ 2160616 h 2620538"/>
                  <a:gd name="connsiteX7" fmla="*/ 1072503 w 2668918"/>
                  <a:gd name="connsiteY7" fmla="*/ 2620538 h 2620538"/>
                  <a:gd name="connsiteX8" fmla="*/ 427525 w 2668918"/>
                  <a:gd name="connsiteY8" fmla="*/ 2168781 h 2620538"/>
                  <a:gd name="connsiteX9" fmla="*/ 260 w 2668918"/>
                  <a:gd name="connsiteY9" fmla="*/ 2168781 h 2620538"/>
                  <a:gd name="connsiteX10" fmla="*/ 260 w 2668918"/>
                  <a:gd name="connsiteY10" fmla="*/ 1771453 h 2620538"/>
                  <a:gd name="connsiteX11" fmla="*/ 425906 w 2668918"/>
                  <a:gd name="connsiteY11" fmla="*/ 1088275 h 2620538"/>
                  <a:gd name="connsiteX12" fmla="*/ 260 w 2668918"/>
                  <a:gd name="connsiteY12" fmla="*/ 405297 h 2620538"/>
                  <a:gd name="connsiteX13" fmla="*/ 261 w 2668918"/>
                  <a:gd name="connsiteY13" fmla="*/ 16132 h 2620538"/>
                  <a:gd name="connsiteX0" fmla="*/ 261 w 2668918"/>
                  <a:gd name="connsiteY0" fmla="*/ 16132 h 2620538"/>
                  <a:gd name="connsiteX1" fmla="*/ 2158353 w 2668918"/>
                  <a:gd name="connsiteY1" fmla="*/ 0 h 2620538"/>
                  <a:gd name="connsiteX2" fmla="*/ 2177323 w 2668918"/>
                  <a:gd name="connsiteY2" fmla="*/ 445523 h 2620538"/>
                  <a:gd name="connsiteX3" fmla="*/ 2668918 w 2668918"/>
                  <a:gd name="connsiteY3" fmla="*/ 1188819 h 2620538"/>
                  <a:gd name="connsiteX4" fmla="*/ 2226383 w 2668918"/>
                  <a:gd name="connsiteY4" fmla="*/ 1740868 h 2620538"/>
                  <a:gd name="connsiteX5" fmla="*/ 2209007 w 2668918"/>
                  <a:gd name="connsiteY5" fmla="*/ 2154092 h 2620538"/>
                  <a:gd name="connsiteX6" fmla="*/ 1722924 w 2668918"/>
                  <a:gd name="connsiteY6" fmla="*/ 2160616 h 2620538"/>
                  <a:gd name="connsiteX7" fmla="*/ 1072503 w 2668918"/>
                  <a:gd name="connsiteY7" fmla="*/ 2620538 h 2620538"/>
                  <a:gd name="connsiteX8" fmla="*/ 427525 w 2668918"/>
                  <a:gd name="connsiteY8" fmla="*/ 2168781 h 2620538"/>
                  <a:gd name="connsiteX9" fmla="*/ 260 w 2668918"/>
                  <a:gd name="connsiteY9" fmla="*/ 2168781 h 2620538"/>
                  <a:gd name="connsiteX10" fmla="*/ 260 w 2668918"/>
                  <a:gd name="connsiteY10" fmla="*/ 1771453 h 2620538"/>
                  <a:gd name="connsiteX11" fmla="*/ 425906 w 2668918"/>
                  <a:gd name="connsiteY11" fmla="*/ 1088275 h 2620538"/>
                  <a:gd name="connsiteX12" fmla="*/ 260 w 2668918"/>
                  <a:gd name="connsiteY12" fmla="*/ 405297 h 2620538"/>
                  <a:gd name="connsiteX13" fmla="*/ 261 w 2668918"/>
                  <a:gd name="connsiteY13" fmla="*/ 16132 h 2620538"/>
                  <a:gd name="connsiteX0" fmla="*/ 261 w 2668918"/>
                  <a:gd name="connsiteY0" fmla="*/ 16132 h 2620538"/>
                  <a:gd name="connsiteX1" fmla="*/ 2158353 w 2668918"/>
                  <a:gd name="connsiteY1" fmla="*/ 0 h 2620538"/>
                  <a:gd name="connsiteX2" fmla="*/ 2177323 w 2668918"/>
                  <a:gd name="connsiteY2" fmla="*/ 445523 h 2620538"/>
                  <a:gd name="connsiteX3" fmla="*/ 2668918 w 2668918"/>
                  <a:gd name="connsiteY3" fmla="*/ 1188819 h 2620538"/>
                  <a:gd name="connsiteX4" fmla="*/ 2226383 w 2668918"/>
                  <a:gd name="connsiteY4" fmla="*/ 1740868 h 2620538"/>
                  <a:gd name="connsiteX5" fmla="*/ 2219085 w 2668918"/>
                  <a:gd name="connsiteY5" fmla="*/ 2154093 h 2620538"/>
                  <a:gd name="connsiteX6" fmla="*/ 1722924 w 2668918"/>
                  <a:gd name="connsiteY6" fmla="*/ 2160616 h 2620538"/>
                  <a:gd name="connsiteX7" fmla="*/ 1072503 w 2668918"/>
                  <a:gd name="connsiteY7" fmla="*/ 2620538 h 2620538"/>
                  <a:gd name="connsiteX8" fmla="*/ 427525 w 2668918"/>
                  <a:gd name="connsiteY8" fmla="*/ 2168781 h 2620538"/>
                  <a:gd name="connsiteX9" fmla="*/ 260 w 2668918"/>
                  <a:gd name="connsiteY9" fmla="*/ 2168781 h 2620538"/>
                  <a:gd name="connsiteX10" fmla="*/ 260 w 2668918"/>
                  <a:gd name="connsiteY10" fmla="*/ 1771453 h 2620538"/>
                  <a:gd name="connsiteX11" fmla="*/ 425906 w 2668918"/>
                  <a:gd name="connsiteY11" fmla="*/ 1088275 h 2620538"/>
                  <a:gd name="connsiteX12" fmla="*/ 260 w 2668918"/>
                  <a:gd name="connsiteY12" fmla="*/ 405297 h 2620538"/>
                  <a:gd name="connsiteX13" fmla="*/ 261 w 2668918"/>
                  <a:gd name="connsiteY13" fmla="*/ 16132 h 262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68918" h="2620538">
                    <a:moveTo>
                      <a:pt x="261" y="16132"/>
                    </a:moveTo>
                    <a:lnTo>
                      <a:pt x="2158353" y="0"/>
                    </a:lnTo>
                    <a:cubicBezTo>
                      <a:pt x="2156993" y="190500"/>
                      <a:pt x="2178682" y="259056"/>
                      <a:pt x="2177323" y="445523"/>
                    </a:cubicBezTo>
                    <a:lnTo>
                      <a:pt x="2668918" y="1188819"/>
                    </a:lnTo>
                    <a:lnTo>
                      <a:pt x="2226383" y="1740868"/>
                    </a:lnTo>
                    <a:cubicBezTo>
                      <a:pt x="2226190" y="1872363"/>
                      <a:pt x="2219278" y="2022598"/>
                      <a:pt x="2219085" y="2154093"/>
                    </a:cubicBezTo>
                    <a:lnTo>
                      <a:pt x="1722924" y="2160616"/>
                    </a:lnTo>
                    <a:lnTo>
                      <a:pt x="1072503" y="2620538"/>
                    </a:lnTo>
                    <a:lnTo>
                      <a:pt x="427525" y="2168781"/>
                    </a:lnTo>
                    <a:lnTo>
                      <a:pt x="260" y="2168781"/>
                    </a:lnTo>
                    <a:lnTo>
                      <a:pt x="260" y="1771453"/>
                    </a:lnTo>
                    <a:lnTo>
                      <a:pt x="425906" y="1088275"/>
                    </a:lnTo>
                    <a:lnTo>
                      <a:pt x="260" y="405297"/>
                    </a:lnTo>
                    <a:cubicBezTo>
                      <a:pt x="1167" y="273761"/>
                      <a:pt x="-646" y="147668"/>
                      <a:pt x="261" y="16132"/>
                    </a:cubicBezTo>
                    <a:close/>
                  </a:path>
                </a:pathLst>
              </a:custGeom>
              <a:solidFill>
                <a:schemeClr val="accent2"/>
              </a:solidFill>
              <a:ln>
                <a:noFill/>
              </a:ln>
              <a:effectLst/>
              <a:scene3d>
                <a:camera prst="orthographicFront"/>
                <a:lightRig rig="threePt" dir="t"/>
              </a:scene3d>
              <a:sp3d prstMaterial="plastic"/>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Univers for KPMG" panose="020B0603020202020204" pitchFamily="34" charset="0"/>
                </a:endParaRPr>
              </a:p>
            </p:txBody>
          </p:sp>
          <p:sp>
            <p:nvSpPr>
              <p:cNvPr id="18" name="Freeform 129"/>
              <p:cNvSpPr/>
              <p:nvPr/>
            </p:nvSpPr>
            <p:spPr>
              <a:xfrm>
                <a:off x="3301969" y="2362204"/>
                <a:ext cx="3141694" cy="1639450"/>
              </a:xfrm>
              <a:custGeom>
                <a:avLst/>
                <a:gdLst>
                  <a:gd name="connsiteX0" fmla="*/ 485380 w 3141694"/>
                  <a:gd name="connsiteY0" fmla="*/ 0 h 1639450"/>
                  <a:gd name="connsiteX1" fmla="*/ 3046734 w 3141694"/>
                  <a:gd name="connsiteY1" fmla="*/ 0 h 1639450"/>
                  <a:gd name="connsiteX2" fmla="*/ 3141694 w 3141694"/>
                  <a:gd name="connsiteY2" fmla="*/ 128695 h 1639450"/>
                  <a:gd name="connsiteX3" fmla="*/ 2620717 w 3141694"/>
                  <a:gd name="connsiteY3" fmla="*/ 711219 h 1639450"/>
                  <a:gd name="connsiteX4" fmla="*/ 2612125 w 3141694"/>
                  <a:gd name="connsiteY4" fmla="*/ 1147256 h 1639450"/>
                  <a:gd name="connsiteX5" fmla="*/ 2028017 w 3141694"/>
                  <a:gd name="connsiteY5" fmla="*/ 1154139 h 1639450"/>
                  <a:gd name="connsiteX6" fmla="*/ 1262305 w 3141694"/>
                  <a:gd name="connsiteY6" fmla="*/ 1639450 h 1639450"/>
                  <a:gd name="connsiteX7" fmla="*/ 503001 w 3141694"/>
                  <a:gd name="connsiteY7" fmla="*/ 1162755 h 1639450"/>
                  <a:gd name="connsiteX8" fmla="*/ 0 w 3141694"/>
                  <a:gd name="connsiteY8" fmla="*/ 1162755 h 1639450"/>
                  <a:gd name="connsiteX9" fmla="*/ 0 w 3141694"/>
                  <a:gd name="connsiteY9" fmla="*/ 743493 h 1639450"/>
                  <a:gd name="connsiteX10" fmla="*/ 501095 w 3141694"/>
                  <a:gd name="connsiteY10" fmla="*/ 22601 h 1639450"/>
                  <a:gd name="connsiteX11" fmla="*/ 485380 w 3141694"/>
                  <a:gd name="connsiteY11" fmla="*/ 0 h 1639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41694" h="1639450">
                    <a:moveTo>
                      <a:pt x="485380" y="0"/>
                    </a:moveTo>
                    <a:lnTo>
                      <a:pt x="3046734" y="0"/>
                    </a:lnTo>
                    <a:lnTo>
                      <a:pt x="3141694" y="128695"/>
                    </a:lnTo>
                    <a:lnTo>
                      <a:pt x="2620717" y="711219"/>
                    </a:lnTo>
                    <a:cubicBezTo>
                      <a:pt x="2620490" y="849973"/>
                      <a:pt x="2612353" y="1008502"/>
                      <a:pt x="2612125" y="1147256"/>
                    </a:cubicBezTo>
                    <a:lnTo>
                      <a:pt x="2028017" y="1154139"/>
                    </a:lnTo>
                    <a:lnTo>
                      <a:pt x="1262305" y="1639450"/>
                    </a:lnTo>
                    <a:lnTo>
                      <a:pt x="503001" y="1162755"/>
                    </a:lnTo>
                    <a:lnTo>
                      <a:pt x="0" y="1162755"/>
                    </a:lnTo>
                    <a:lnTo>
                      <a:pt x="0" y="743493"/>
                    </a:lnTo>
                    <a:lnTo>
                      <a:pt x="501095" y="22601"/>
                    </a:lnTo>
                    <a:lnTo>
                      <a:pt x="485380" y="0"/>
                    </a:lnTo>
                    <a:close/>
                  </a:path>
                </a:pathLst>
              </a:cu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Univers for KPMG" panose="020B0603020202020204" pitchFamily="34" charset="0"/>
                </a:endParaRPr>
              </a:p>
            </p:txBody>
          </p:sp>
        </p:grpSp>
        <p:grpSp>
          <p:nvGrpSpPr>
            <p:cNvPr id="19" name="Group 15"/>
            <p:cNvGrpSpPr/>
            <p:nvPr/>
          </p:nvGrpSpPr>
          <p:grpSpPr>
            <a:xfrm>
              <a:off x="7486960" y="1235852"/>
              <a:ext cx="2578377" cy="2781412"/>
              <a:chOff x="5962959" y="1235852"/>
              <a:chExt cx="2578377" cy="2781412"/>
            </a:xfrm>
            <a:solidFill>
              <a:srgbClr val="00338D"/>
            </a:solidFill>
          </p:grpSpPr>
          <p:sp>
            <p:nvSpPr>
              <p:cNvPr id="20" name="Rectangle 6"/>
              <p:cNvSpPr/>
              <p:nvPr/>
            </p:nvSpPr>
            <p:spPr>
              <a:xfrm>
                <a:off x="5962959" y="1235852"/>
                <a:ext cx="2576813" cy="2781412"/>
              </a:xfrm>
              <a:custGeom>
                <a:avLst/>
                <a:gdLst>
                  <a:gd name="connsiteX0" fmla="*/ 0 w 3048000"/>
                  <a:gd name="connsiteY0" fmla="*/ 0 h 2414968"/>
                  <a:gd name="connsiteX1" fmla="*/ 3048000 w 3048000"/>
                  <a:gd name="connsiteY1" fmla="*/ 0 h 2414968"/>
                  <a:gd name="connsiteX2" fmla="*/ 3048000 w 3048000"/>
                  <a:gd name="connsiteY2" fmla="*/ 2414968 h 2414968"/>
                  <a:gd name="connsiteX3" fmla="*/ 0 w 3048000"/>
                  <a:gd name="connsiteY3" fmla="*/ 2414968 h 2414968"/>
                  <a:gd name="connsiteX4" fmla="*/ 0 w 3048000"/>
                  <a:gd name="connsiteY4" fmla="*/ 0 h 2414968"/>
                  <a:gd name="connsiteX0" fmla="*/ 64736 w 3048000"/>
                  <a:gd name="connsiteY0" fmla="*/ 64736 h 2414968"/>
                  <a:gd name="connsiteX1" fmla="*/ 3048000 w 3048000"/>
                  <a:gd name="connsiteY1" fmla="*/ 0 h 2414968"/>
                  <a:gd name="connsiteX2" fmla="*/ 3048000 w 3048000"/>
                  <a:gd name="connsiteY2" fmla="*/ 2414968 h 2414968"/>
                  <a:gd name="connsiteX3" fmla="*/ 0 w 3048000"/>
                  <a:gd name="connsiteY3" fmla="*/ 2414968 h 2414968"/>
                  <a:gd name="connsiteX4" fmla="*/ 64736 w 3048000"/>
                  <a:gd name="connsiteY4" fmla="*/ 64736 h 2414968"/>
                  <a:gd name="connsiteX0" fmla="*/ 64736 w 3048000"/>
                  <a:gd name="connsiteY0" fmla="*/ 64736 h 2414968"/>
                  <a:gd name="connsiteX1" fmla="*/ 3048000 w 3048000"/>
                  <a:gd name="connsiteY1" fmla="*/ 0 h 2414968"/>
                  <a:gd name="connsiteX2" fmla="*/ 3048000 w 3048000"/>
                  <a:gd name="connsiteY2" fmla="*/ 2414968 h 2414968"/>
                  <a:gd name="connsiteX3" fmla="*/ 0 w 3048000"/>
                  <a:gd name="connsiteY3" fmla="*/ 2414968 h 2414968"/>
                  <a:gd name="connsiteX4" fmla="*/ 14161 w 3048000"/>
                  <a:gd name="connsiteY4" fmla="*/ 1117545 h 2414968"/>
                  <a:gd name="connsiteX5" fmla="*/ 64736 w 3048000"/>
                  <a:gd name="connsiteY5" fmla="*/ 64736 h 2414968"/>
                  <a:gd name="connsiteX0" fmla="*/ 463269 w 3446533"/>
                  <a:gd name="connsiteY0" fmla="*/ 64736 h 2414968"/>
                  <a:gd name="connsiteX1" fmla="*/ 3446533 w 3446533"/>
                  <a:gd name="connsiteY1" fmla="*/ 0 h 2414968"/>
                  <a:gd name="connsiteX2" fmla="*/ 3446533 w 3446533"/>
                  <a:gd name="connsiteY2" fmla="*/ 2414968 h 2414968"/>
                  <a:gd name="connsiteX3" fmla="*/ 398533 w 3446533"/>
                  <a:gd name="connsiteY3" fmla="*/ 2414968 h 2414968"/>
                  <a:gd name="connsiteX4" fmla="*/ 0 w 3446533"/>
                  <a:gd name="connsiteY4" fmla="*/ 1190373 h 2414968"/>
                  <a:gd name="connsiteX5" fmla="*/ 463269 w 3446533"/>
                  <a:gd name="connsiteY5" fmla="*/ 64736 h 2414968"/>
                  <a:gd name="connsiteX0" fmla="*/ 463269 w 3446533"/>
                  <a:gd name="connsiteY0" fmla="*/ 64736 h 2414968"/>
                  <a:gd name="connsiteX1" fmla="*/ 3446533 w 3446533"/>
                  <a:gd name="connsiteY1" fmla="*/ 0 h 2414968"/>
                  <a:gd name="connsiteX2" fmla="*/ 3446533 w 3446533"/>
                  <a:gd name="connsiteY2" fmla="*/ 2414968 h 2414968"/>
                  <a:gd name="connsiteX3" fmla="*/ 398533 w 3446533"/>
                  <a:gd name="connsiteY3" fmla="*/ 2414968 h 2414968"/>
                  <a:gd name="connsiteX4" fmla="*/ 0 w 3446533"/>
                  <a:gd name="connsiteY4" fmla="*/ 1190373 h 2414968"/>
                  <a:gd name="connsiteX5" fmla="*/ 343075 w 3446533"/>
                  <a:gd name="connsiteY5" fmla="*/ 358019 h 2414968"/>
                  <a:gd name="connsiteX6" fmla="*/ 463269 w 3446533"/>
                  <a:gd name="connsiteY6" fmla="*/ 64736 h 2414968"/>
                  <a:gd name="connsiteX0" fmla="*/ 463269 w 3446533"/>
                  <a:gd name="connsiteY0" fmla="*/ 64736 h 2414968"/>
                  <a:gd name="connsiteX1" fmla="*/ 3446533 w 3446533"/>
                  <a:gd name="connsiteY1" fmla="*/ 0 h 2414968"/>
                  <a:gd name="connsiteX2" fmla="*/ 3446533 w 3446533"/>
                  <a:gd name="connsiteY2" fmla="*/ 2414968 h 2414968"/>
                  <a:gd name="connsiteX3" fmla="*/ 398533 w 3446533"/>
                  <a:gd name="connsiteY3" fmla="*/ 2414968 h 2414968"/>
                  <a:gd name="connsiteX4" fmla="*/ 0 w 3446533"/>
                  <a:gd name="connsiteY4" fmla="*/ 1190373 h 2414968"/>
                  <a:gd name="connsiteX5" fmla="*/ 467520 w 3446533"/>
                  <a:gd name="connsiteY5" fmla="*/ 495991 h 2414968"/>
                  <a:gd name="connsiteX6" fmla="*/ 463269 w 3446533"/>
                  <a:gd name="connsiteY6" fmla="*/ 64736 h 2414968"/>
                  <a:gd name="connsiteX0" fmla="*/ 465974 w 3446533"/>
                  <a:gd name="connsiteY0" fmla="*/ 64736 h 2414968"/>
                  <a:gd name="connsiteX1" fmla="*/ 3446533 w 3446533"/>
                  <a:gd name="connsiteY1" fmla="*/ 0 h 2414968"/>
                  <a:gd name="connsiteX2" fmla="*/ 3446533 w 3446533"/>
                  <a:gd name="connsiteY2" fmla="*/ 2414968 h 2414968"/>
                  <a:gd name="connsiteX3" fmla="*/ 398533 w 3446533"/>
                  <a:gd name="connsiteY3" fmla="*/ 2414968 h 2414968"/>
                  <a:gd name="connsiteX4" fmla="*/ 0 w 3446533"/>
                  <a:gd name="connsiteY4" fmla="*/ 1190373 h 2414968"/>
                  <a:gd name="connsiteX5" fmla="*/ 467520 w 3446533"/>
                  <a:gd name="connsiteY5" fmla="*/ 495991 h 2414968"/>
                  <a:gd name="connsiteX6" fmla="*/ 465974 w 3446533"/>
                  <a:gd name="connsiteY6" fmla="*/ 64736 h 2414968"/>
                  <a:gd name="connsiteX0" fmla="*/ 455152 w 3435711"/>
                  <a:gd name="connsiteY0" fmla="*/ 64736 h 2414968"/>
                  <a:gd name="connsiteX1" fmla="*/ 3435711 w 3435711"/>
                  <a:gd name="connsiteY1" fmla="*/ 0 h 2414968"/>
                  <a:gd name="connsiteX2" fmla="*/ 3435711 w 3435711"/>
                  <a:gd name="connsiteY2" fmla="*/ 2414968 h 2414968"/>
                  <a:gd name="connsiteX3" fmla="*/ 387711 w 3435711"/>
                  <a:gd name="connsiteY3" fmla="*/ 2414968 h 2414968"/>
                  <a:gd name="connsiteX4" fmla="*/ 0 w 3435711"/>
                  <a:gd name="connsiteY4" fmla="*/ 1130856 h 2414968"/>
                  <a:gd name="connsiteX5" fmla="*/ 456698 w 3435711"/>
                  <a:gd name="connsiteY5" fmla="*/ 495991 h 2414968"/>
                  <a:gd name="connsiteX6" fmla="*/ 455152 w 3435711"/>
                  <a:gd name="connsiteY6" fmla="*/ 64736 h 2414968"/>
                  <a:gd name="connsiteX0" fmla="*/ 444331 w 3424890"/>
                  <a:gd name="connsiteY0" fmla="*/ 64736 h 2414968"/>
                  <a:gd name="connsiteX1" fmla="*/ 3424890 w 3424890"/>
                  <a:gd name="connsiteY1" fmla="*/ 0 h 2414968"/>
                  <a:gd name="connsiteX2" fmla="*/ 3424890 w 3424890"/>
                  <a:gd name="connsiteY2" fmla="*/ 2414968 h 2414968"/>
                  <a:gd name="connsiteX3" fmla="*/ 376890 w 3424890"/>
                  <a:gd name="connsiteY3" fmla="*/ 2414968 h 2414968"/>
                  <a:gd name="connsiteX4" fmla="*/ 0 w 3424890"/>
                  <a:gd name="connsiteY4" fmla="*/ 1152499 h 2414968"/>
                  <a:gd name="connsiteX5" fmla="*/ 445877 w 3424890"/>
                  <a:gd name="connsiteY5" fmla="*/ 495991 h 2414968"/>
                  <a:gd name="connsiteX6" fmla="*/ 444331 w 3424890"/>
                  <a:gd name="connsiteY6" fmla="*/ 64736 h 2414968"/>
                  <a:gd name="connsiteX0" fmla="*/ 444331 w 3424890"/>
                  <a:gd name="connsiteY0" fmla="*/ 64736 h 2414968"/>
                  <a:gd name="connsiteX1" fmla="*/ 3424890 w 3424890"/>
                  <a:gd name="connsiteY1" fmla="*/ 0 h 2414968"/>
                  <a:gd name="connsiteX2" fmla="*/ 3424890 w 3424890"/>
                  <a:gd name="connsiteY2" fmla="*/ 2414968 h 2414968"/>
                  <a:gd name="connsiteX3" fmla="*/ 376890 w 3424890"/>
                  <a:gd name="connsiteY3" fmla="*/ 2414968 h 2414968"/>
                  <a:gd name="connsiteX4" fmla="*/ 194281 w 3424890"/>
                  <a:gd name="connsiteY4" fmla="*/ 1802663 h 2414968"/>
                  <a:gd name="connsiteX5" fmla="*/ 0 w 3424890"/>
                  <a:gd name="connsiteY5" fmla="*/ 1152499 h 2414968"/>
                  <a:gd name="connsiteX6" fmla="*/ 445877 w 3424890"/>
                  <a:gd name="connsiteY6" fmla="*/ 495991 h 2414968"/>
                  <a:gd name="connsiteX7" fmla="*/ 444331 w 3424890"/>
                  <a:gd name="connsiteY7" fmla="*/ 64736 h 2414968"/>
                  <a:gd name="connsiteX0" fmla="*/ 444331 w 3424890"/>
                  <a:gd name="connsiteY0" fmla="*/ 64736 h 2414968"/>
                  <a:gd name="connsiteX1" fmla="*/ 3424890 w 3424890"/>
                  <a:gd name="connsiteY1" fmla="*/ 0 h 2414968"/>
                  <a:gd name="connsiteX2" fmla="*/ 3424890 w 3424890"/>
                  <a:gd name="connsiteY2" fmla="*/ 2414968 h 2414968"/>
                  <a:gd name="connsiteX3" fmla="*/ 376890 w 3424890"/>
                  <a:gd name="connsiteY3" fmla="*/ 2414968 h 2414968"/>
                  <a:gd name="connsiteX4" fmla="*/ 445876 w 3424890"/>
                  <a:gd name="connsiteY4" fmla="*/ 1813484 h 2414968"/>
                  <a:gd name="connsiteX5" fmla="*/ 0 w 3424890"/>
                  <a:gd name="connsiteY5" fmla="*/ 1152499 h 2414968"/>
                  <a:gd name="connsiteX6" fmla="*/ 445877 w 3424890"/>
                  <a:gd name="connsiteY6" fmla="*/ 495991 h 2414968"/>
                  <a:gd name="connsiteX7" fmla="*/ 444331 w 3424890"/>
                  <a:gd name="connsiteY7" fmla="*/ 64736 h 2414968"/>
                  <a:gd name="connsiteX0" fmla="*/ 444331 w 3424890"/>
                  <a:gd name="connsiteY0" fmla="*/ 64736 h 2414968"/>
                  <a:gd name="connsiteX1" fmla="*/ 3424890 w 3424890"/>
                  <a:gd name="connsiteY1" fmla="*/ 0 h 2414968"/>
                  <a:gd name="connsiteX2" fmla="*/ 3424890 w 3424890"/>
                  <a:gd name="connsiteY2" fmla="*/ 2414968 h 2414968"/>
                  <a:gd name="connsiteX3" fmla="*/ 444523 w 3424890"/>
                  <a:gd name="connsiteY3" fmla="*/ 2214774 h 2414968"/>
                  <a:gd name="connsiteX4" fmla="*/ 445876 w 3424890"/>
                  <a:gd name="connsiteY4" fmla="*/ 1813484 h 2414968"/>
                  <a:gd name="connsiteX5" fmla="*/ 0 w 3424890"/>
                  <a:gd name="connsiteY5" fmla="*/ 1152499 h 2414968"/>
                  <a:gd name="connsiteX6" fmla="*/ 445877 w 3424890"/>
                  <a:gd name="connsiteY6" fmla="*/ 495991 h 2414968"/>
                  <a:gd name="connsiteX7" fmla="*/ 444331 w 3424890"/>
                  <a:gd name="connsiteY7" fmla="*/ 64736 h 2414968"/>
                  <a:gd name="connsiteX0" fmla="*/ 444331 w 3424890"/>
                  <a:gd name="connsiteY0" fmla="*/ 64736 h 2414968"/>
                  <a:gd name="connsiteX1" fmla="*/ 3424890 w 3424890"/>
                  <a:gd name="connsiteY1" fmla="*/ 0 h 2414968"/>
                  <a:gd name="connsiteX2" fmla="*/ 3424890 w 3424890"/>
                  <a:gd name="connsiteY2" fmla="*/ 2414968 h 2414968"/>
                  <a:gd name="connsiteX3" fmla="*/ 905781 w 3424890"/>
                  <a:gd name="connsiteY3" fmla="*/ 2243631 h 2414968"/>
                  <a:gd name="connsiteX4" fmla="*/ 444523 w 3424890"/>
                  <a:gd name="connsiteY4" fmla="*/ 2214774 h 2414968"/>
                  <a:gd name="connsiteX5" fmla="*/ 445876 w 3424890"/>
                  <a:gd name="connsiteY5" fmla="*/ 1813484 h 2414968"/>
                  <a:gd name="connsiteX6" fmla="*/ 0 w 3424890"/>
                  <a:gd name="connsiteY6" fmla="*/ 1152499 h 2414968"/>
                  <a:gd name="connsiteX7" fmla="*/ 445877 w 3424890"/>
                  <a:gd name="connsiteY7" fmla="*/ 495991 h 2414968"/>
                  <a:gd name="connsiteX8" fmla="*/ 444331 w 3424890"/>
                  <a:gd name="connsiteY8" fmla="*/ 64736 h 2414968"/>
                  <a:gd name="connsiteX0" fmla="*/ 444331 w 3424890"/>
                  <a:gd name="connsiteY0" fmla="*/ 64736 h 2414968"/>
                  <a:gd name="connsiteX1" fmla="*/ 3424890 w 3424890"/>
                  <a:gd name="connsiteY1" fmla="*/ 0 h 2414968"/>
                  <a:gd name="connsiteX2" fmla="*/ 3424890 w 3424890"/>
                  <a:gd name="connsiteY2" fmla="*/ 2414968 h 2414968"/>
                  <a:gd name="connsiteX3" fmla="*/ 1606460 w 3424890"/>
                  <a:gd name="connsiteY3" fmla="*/ 2289621 h 2414968"/>
                  <a:gd name="connsiteX4" fmla="*/ 905781 w 3424890"/>
                  <a:gd name="connsiteY4" fmla="*/ 2243631 h 2414968"/>
                  <a:gd name="connsiteX5" fmla="*/ 444523 w 3424890"/>
                  <a:gd name="connsiteY5" fmla="*/ 2214774 h 2414968"/>
                  <a:gd name="connsiteX6" fmla="*/ 445876 w 3424890"/>
                  <a:gd name="connsiteY6" fmla="*/ 1813484 h 2414968"/>
                  <a:gd name="connsiteX7" fmla="*/ 0 w 3424890"/>
                  <a:gd name="connsiteY7" fmla="*/ 1152499 h 2414968"/>
                  <a:gd name="connsiteX8" fmla="*/ 445877 w 3424890"/>
                  <a:gd name="connsiteY8" fmla="*/ 495991 h 2414968"/>
                  <a:gd name="connsiteX9" fmla="*/ 444331 w 3424890"/>
                  <a:gd name="connsiteY9" fmla="*/ 64736 h 2414968"/>
                  <a:gd name="connsiteX0" fmla="*/ 444331 w 3424890"/>
                  <a:gd name="connsiteY0" fmla="*/ 64736 h 2692714"/>
                  <a:gd name="connsiteX1" fmla="*/ 3424890 w 3424890"/>
                  <a:gd name="connsiteY1" fmla="*/ 0 h 2692714"/>
                  <a:gd name="connsiteX2" fmla="*/ 3424890 w 3424890"/>
                  <a:gd name="connsiteY2" fmla="*/ 2414968 h 2692714"/>
                  <a:gd name="connsiteX3" fmla="*/ 1528006 w 3424890"/>
                  <a:gd name="connsiteY3" fmla="*/ 2692714 h 2692714"/>
                  <a:gd name="connsiteX4" fmla="*/ 905781 w 3424890"/>
                  <a:gd name="connsiteY4" fmla="*/ 2243631 h 2692714"/>
                  <a:gd name="connsiteX5" fmla="*/ 444523 w 3424890"/>
                  <a:gd name="connsiteY5" fmla="*/ 2214774 h 2692714"/>
                  <a:gd name="connsiteX6" fmla="*/ 445876 w 3424890"/>
                  <a:gd name="connsiteY6" fmla="*/ 1813484 h 2692714"/>
                  <a:gd name="connsiteX7" fmla="*/ 0 w 3424890"/>
                  <a:gd name="connsiteY7" fmla="*/ 1152499 h 2692714"/>
                  <a:gd name="connsiteX8" fmla="*/ 445877 w 3424890"/>
                  <a:gd name="connsiteY8" fmla="*/ 495991 h 2692714"/>
                  <a:gd name="connsiteX9" fmla="*/ 444331 w 3424890"/>
                  <a:gd name="connsiteY9" fmla="*/ 64736 h 2692714"/>
                  <a:gd name="connsiteX0" fmla="*/ 444331 w 3424890"/>
                  <a:gd name="connsiteY0" fmla="*/ 64736 h 2692714"/>
                  <a:gd name="connsiteX1" fmla="*/ 3424890 w 3424890"/>
                  <a:gd name="connsiteY1" fmla="*/ 0 h 2692714"/>
                  <a:gd name="connsiteX2" fmla="*/ 3424890 w 3424890"/>
                  <a:gd name="connsiteY2" fmla="*/ 2414968 h 2692714"/>
                  <a:gd name="connsiteX3" fmla="*/ 1528006 w 3424890"/>
                  <a:gd name="connsiteY3" fmla="*/ 2692714 h 2692714"/>
                  <a:gd name="connsiteX4" fmla="*/ 897665 w 3424890"/>
                  <a:gd name="connsiteY4" fmla="*/ 2238221 h 2692714"/>
                  <a:gd name="connsiteX5" fmla="*/ 444523 w 3424890"/>
                  <a:gd name="connsiteY5" fmla="*/ 2214774 h 2692714"/>
                  <a:gd name="connsiteX6" fmla="*/ 445876 w 3424890"/>
                  <a:gd name="connsiteY6" fmla="*/ 1813484 h 2692714"/>
                  <a:gd name="connsiteX7" fmla="*/ 0 w 3424890"/>
                  <a:gd name="connsiteY7" fmla="*/ 1152499 h 2692714"/>
                  <a:gd name="connsiteX8" fmla="*/ 445877 w 3424890"/>
                  <a:gd name="connsiteY8" fmla="*/ 495991 h 2692714"/>
                  <a:gd name="connsiteX9" fmla="*/ 444331 w 3424890"/>
                  <a:gd name="connsiteY9" fmla="*/ 64736 h 2692714"/>
                  <a:gd name="connsiteX0" fmla="*/ 444331 w 3424890"/>
                  <a:gd name="connsiteY0" fmla="*/ 64736 h 2692714"/>
                  <a:gd name="connsiteX1" fmla="*/ 3424890 w 3424890"/>
                  <a:gd name="connsiteY1" fmla="*/ 0 h 2692714"/>
                  <a:gd name="connsiteX2" fmla="*/ 3424890 w 3424890"/>
                  <a:gd name="connsiteY2" fmla="*/ 2414968 h 2692714"/>
                  <a:gd name="connsiteX3" fmla="*/ 1528006 w 3424890"/>
                  <a:gd name="connsiteY3" fmla="*/ 2692714 h 2692714"/>
                  <a:gd name="connsiteX4" fmla="*/ 897665 w 3424890"/>
                  <a:gd name="connsiteY4" fmla="*/ 2238221 h 2692714"/>
                  <a:gd name="connsiteX5" fmla="*/ 447228 w 3424890"/>
                  <a:gd name="connsiteY5" fmla="*/ 2214774 h 2692714"/>
                  <a:gd name="connsiteX6" fmla="*/ 445876 w 3424890"/>
                  <a:gd name="connsiteY6" fmla="*/ 1813484 h 2692714"/>
                  <a:gd name="connsiteX7" fmla="*/ 0 w 3424890"/>
                  <a:gd name="connsiteY7" fmla="*/ 1152499 h 2692714"/>
                  <a:gd name="connsiteX8" fmla="*/ 445877 w 3424890"/>
                  <a:gd name="connsiteY8" fmla="*/ 495991 h 2692714"/>
                  <a:gd name="connsiteX9" fmla="*/ 444331 w 3424890"/>
                  <a:gd name="connsiteY9" fmla="*/ 64736 h 2692714"/>
                  <a:gd name="connsiteX0" fmla="*/ 444331 w 3424890"/>
                  <a:gd name="connsiteY0" fmla="*/ 64736 h 2692714"/>
                  <a:gd name="connsiteX1" fmla="*/ 3424890 w 3424890"/>
                  <a:gd name="connsiteY1" fmla="*/ 0 h 2692714"/>
                  <a:gd name="connsiteX2" fmla="*/ 3424890 w 3424890"/>
                  <a:gd name="connsiteY2" fmla="*/ 2414968 h 2692714"/>
                  <a:gd name="connsiteX3" fmla="*/ 2317961 w 3424890"/>
                  <a:gd name="connsiteY3" fmla="*/ 2579091 h 2692714"/>
                  <a:gd name="connsiteX4" fmla="*/ 1528006 w 3424890"/>
                  <a:gd name="connsiteY4" fmla="*/ 2692714 h 2692714"/>
                  <a:gd name="connsiteX5" fmla="*/ 897665 w 3424890"/>
                  <a:gd name="connsiteY5" fmla="*/ 2238221 h 2692714"/>
                  <a:gd name="connsiteX6" fmla="*/ 447228 w 3424890"/>
                  <a:gd name="connsiteY6" fmla="*/ 2214774 h 2692714"/>
                  <a:gd name="connsiteX7" fmla="*/ 445876 w 3424890"/>
                  <a:gd name="connsiteY7" fmla="*/ 1813484 h 2692714"/>
                  <a:gd name="connsiteX8" fmla="*/ 0 w 3424890"/>
                  <a:gd name="connsiteY8" fmla="*/ 1152499 h 2692714"/>
                  <a:gd name="connsiteX9" fmla="*/ 445877 w 3424890"/>
                  <a:gd name="connsiteY9" fmla="*/ 495991 h 2692714"/>
                  <a:gd name="connsiteX10" fmla="*/ 444331 w 3424890"/>
                  <a:gd name="connsiteY10" fmla="*/ 64736 h 2692714"/>
                  <a:gd name="connsiteX0" fmla="*/ 444331 w 3424890"/>
                  <a:gd name="connsiteY0" fmla="*/ 64736 h 2692714"/>
                  <a:gd name="connsiteX1" fmla="*/ 3424890 w 3424890"/>
                  <a:gd name="connsiteY1" fmla="*/ 0 h 2692714"/>
                  <a:gd name="connsiteX2" fmla="*/ 3424890 w 3424890"/>
                  <a:gd name="connsiteY2" fmla="*/ 2414968 h 2692714"/>
                  <a:gd name="connsiteX3" fmla="*/ 2193516 w 3424890"/>
                  <a:gd name="connsiteY3" fmla="*/ 2232810 h 2692714"/>
                  <a:gd name="connsiteX4" fmla="*/ 1528006 w 3424890"/>
                  <a:gd name="connsiteY4" fmla="*/ 2692714 h 2692714"/>
                  <a:gd name="connsiteX5" fmla="*/ 897665 w 3424890"/>
                  <a:gd name="connsiteY5" fmla="*/ 2238221 h 2692714"/>
                  <a:gd name="connsiteX6" fmla="*/ 447228 w 3424890"/>
                  <a:gd name="connsiteY6" fmla="*/ 2214774 h 2692714"/>
                  <a:gd name="connsiteX7" fmla="*/ 445876 w 3424890"/>
                  <a:gd name="connsiteY7" fmla="*/ 1813484 h 2692714"/>
                  <a:gd name="connsiteX8" fmla="*/ 0 w 3424890"/>
                  <a:gd name="connsiteY8" fmla="*/ 1152499 h 2692714"/>
                  <a:gd name="connsiteX9" fmla="*/ 445877 w 3424890"/>
                  <a:gd name="connsiteY9" fmla="*/ 495991 h 2692714"/>
                  <a:gd name="connsiteX10" fmla="*/ 444331 w 3424890"/>
                  <a:gd name="connsiteY10" fmla="*/ 64736 h 2692714"/>
                  <a:gd name="connsiteX0" fmla="*/ 444331 w 3424890"/>
                  <a:gd name="connsiteY0" fmla="*/ 64736 h 2692714"/>
                  <a:gd name="connsiteX1" fmla="*/ 3424890 w 3424890"/>
                  <a:gd name="connsiteY1" fmla="*/ 0 h 2692714"/>
                  <a:gd name="connsiteX2" fmla="*/ 2597061 w 3424890"/>
                  <a:gd name="connsiteY2" fmla="*/ 2258059 h 2692714"/>
                  <a:gd name="connsiteX3" fmla="*/ 2193516 w 3424890"/>
                  <a:gd name="connsiteY3" fmla="*/ 2232810 h 2692714"/>
                  <a:gd name="connsiteX4" fmla="*/ 1528006 w 3424890"/>
                  <a:gd name="connsiteY4" fmla="*/ 2692714 h 2692714"/>
                  <a:gd name="connsiteX5" fmla="*/ 897665 w 3424890"/>
                  <a:gd name="connsiteY5" fmla="*/ 2238221 h 2692714"/>
                  <a:gd name="connsiteX6" fmla="*/ 447228 w 3424890"/>
                  <a:gd name="connsiteY6" fmla="*/ 2214774 h 2692714"/>
                  <a:gd name="connsiteX7" fmla="*/ 445876 w 3424890"/>
                  <a:gd name="connsiteY7" fmla="*/ 1813484 h 2692714"/>
                  <a:gd name="connsiteX8" fmla="*/ 0 w 3424890"/>
                  <a:gd name="connsiteY8" fmla="*/ 1152499 h 2692714"/>
                  <a:gd name="connsiteX9" fmla="*/ 445877 w 3424890"/>
                  <a:gd name="connsiteY9" fmla="*/ 495991 h 2692714"/>
                  <a:gd name="connsiteX10" fmla="*/ 444331 w 3424890"/>
                  <a:gd name="connsiteY10" fmla="*/ 64736 h 2692714"/>
                  <a:gd name="connsiteX0" fmla="*/ 444331 w 3424890"/>
                  <a:gd name="connsiteY0" fmla="*/ 64736 h 2692714"/>
                  <a:gd name="connsiteX1" fmla="*/ 3424890 w 3424890"/>
                  <a:gd name="connsiteY1" fmla="*/ 0 h 2692714"/>
                  <a:gd name="connsiteX2" fmla="*/ 2597061 w 3424890"/>
                  <a:gd name="connsiteY2" fmla="*/ 2258059 h 2692714"/>
                  <a:gd name="connsiteX3" fmla="*/ 2196222 w 3424890"/>
                  <a:gd name="connsiteY3" fmla="*/ 2221988 h 2692714"/>
                  <a:gd name="connsiteX4" fmla="*/ 1528006 w 3424890"/>
                  <a:gd name="connsiteY4" fmla="*/ 2692714 h 2692714"/>
                  <a:gd name="connsiteX5" fmla="*/ 897665 w 3424890"/>
                  <a:gd name="connsiteY5" fmla="*/ 2238221 h 2692714"/>
                  <a:gd name="connsiteX6" fmla="*/ 447228 w 3424890"/>
                  <a:gd name="connsiteY6" fmla="*/ 2214774 h 2692714"/>
                  <a:gd name="connsiteX7" fmla="*/ 445876 w 3424890"/>
                  <a:gd name="connsiteY7" fmla="*/ 1813484 h 2692714"/>
                  <a:gd name="connsiteX8" fmla="*/ 0 w 3424890"/>
                  <a:gd name="connsiteY8" fmla="*/ 1152499 h 2692714"/>
                  <a:gd name="connsiteX9" fmla="*/ 445877 w 3424890"/>
                  <a:gd name="connsiteY9" fmla="*/ 495991 h 2692714"/>
                  <a:gd name="connsiteX10" fmla="*/ 444331 w 3424890"/>
                  <a:gd name="connsiteY10" fmla="*/ 64736 h 2692714"/>
                  <a:gd name="connsiteX0" fmla="*/ 444331 w 2597061"/>
                  <a:gd name="connsiteY0" fmla="*/ 0 h 2627978"/>
                  <a:gd name="connsiteX1" fmla="*/ 2521311 w 2597061"/>
                  <a:gd name="connsiteY1" fmla="*/ 186860 h 2627978"/>
                  <a:gd name="connsiteX2" fmla="*/ 2597061 w 2597061"/>
                  <a:gd name="connsiteY2" fmla="*/ 2193323 h 2627978"/>
                  <a:gd name="connsiteX3" fmla="*/ 2196222 w 2597061"/>
                  <a:gd name="connsiteY3" fmla="*/ 2157252 h 2627978"/>
                  <a:gd name="connsiteX4" fmla="*/ 1528006 w 2597061"/>
                  <a:gd name="connsiteY4" fmla="*/ 2627978 h 2627978"/>
                  <a:gd name="connsiteX5" fmla="*/ 897665 w 2597061"/>
                  <a:gd name="connsiteY5" fmla="*/ 2173485 h 2627978"/>
                  <a:gd name="connsiteX6" fmla="*/ 447228 w 2597061"/>
                  <a:gd name="connsiteY6" fmla="*/ 2150038 h 2627978"/>
                  <a:gd name="connsiteX7" fmla="*/ 445876 w 2597061"/>
                  <a:gd name="connsiteY7" fmla="*/ 1748748 h 2627978"/>
                  <a:gd name="connsiteX8" fmla="*/ 0 w 2597061"/>
                  <a:gd name="connsiteY8" fmla="*/ 1087763 h 2627978"/>
                  <a:gd name="connsiteX9" fmla="*/ 445877 w 2597061"/>
                  <a:gd name="connsiteY9" fmla="*/ 431255 h 2627978"/>
                  <a:gd name="connsiteX10" fmla="*/ 444331 w 2597061"/>
                  <a:gd name="connsiteY10" fmla="*/ 0 h 2627978"/>
                  <a:gd name="connsiteX0" fmla="*/ 444331 w 2618703"/>
                  <a:gd name="connsiteY0" fmla="*/ 7924 h 2635902"/>
                  <a:gd name="connsiteX1" fmla="*/ 2618703 w 2618703"/>
                  <a:gd name="connsiteY1" fmla="*/ 0 h 2635902"/>
                  <a:gd name="connsiteX2" fmla="*/ 2597061 w 2618703"/>
                  <a:gd name="connsiteY2" fmla="*/ 2201247 h 2635902"/>
                  <a:gd name="connsiteX3" fmla="*/ 2196222 w 2618703"/>
                  <a:gd name="connsiteY3" fmla="*/ 2165176 h 2635902"/>
                  <a:gd name="connsiteX4" fmla="*/ 1528006 w 2618703"/>
                  <a:gd name="connsiteY4" fmla="*/ 2635902 h 2635902"/>
                  <a:gd name="connsiteX5" fmla="*/ 897665 w 2618703"/>
                  <a:gd name="connsiteY5" fmla="*/ 2181409 h 2635902"/>
                  <a:gd name="connsiteX6" fmla="*/ 447228 w 2618703"/>
                  <a:gd name="connsiteY6" fmla="*/ 2157962 h 2635902"/>
                  <a:gd name="connsiteX7" fmla="*/ 445876 w 2618703"/>
                  <a:gd name="connsiteY7" fmla="*/ 1756672 h 2635902"/>
                  <a:gd name="connsiteX8" fmla="*/ 0 w 2618703"/>
                  <a:gd name="connsiteY8" fmla="*/ 1095687 h 2635902"/>
                  <a:gd name="connsiteX9" fmla="*/ 445877 w 2618703"/>
                  <a:gd name="connsiteY9" fmla="*/ 439179 h 2635902"/>
                  <a:gd name="connsiteX10" fmla="*/ 444331 w 2618703"/>
                  <a:gd name="connsiteY10" fmla="*/ 7924 h 2635902"/>
                  <a:gd name="connsiteX0" fmla="*/ 444331 w 2618703"/>
                  <a:gd name="connsiteY0" fmla="*/ 7924 h 2635902"/>
                  <a:gd name="connsiteX1" fmla="*/ 2618703 w 2618703"/>
                  <a:gd name="connsiteY1" fmla="*/ 0 h 2635902"/>
                  <a:gd name="connsiteX2" fmla="*/ 2607882 w 2618703"/>
                  <a:gd name="connsiteY2" fmla="*/ 2190426 h 2635902"/>
                  <a:gd name="connsiteX3" fmla="*/ 2196222 w 2618703"/>
                  <a:gd name="connsiteY3" fmla="*/ 2165176 h 2635902"/>
                  <a:gd name="connsiteX4" fmla="*/ 1528006 w 2618703"/>
                  <a:gd name="connsiteY4" fmla="*/ 2635902 h 2635902"/>
                  <a:gd name="connsiteX5" fmla="*/ 897665 w 2618703"/>
                  <a:gd name="connsiteY5" fmla="*/ 2181409 h 2635902"/>
                  <a:gd name="connsiteX6" fmla="*/ 447228 w 2618703"/>
                  <a:gd name="connsiteY6" fmla="*/ 2157962 h 2635902"/>
                  <a:gd name="connsiteX7" fmla="*/ 445876 w 2618703"/>
                  <a:gd name="connsiteY7" fmla="*/ 1756672 h 2635902"/>
                  <a:gd name="connsiteX8" fmla="*/ 0 w 2618703"/>
                  <a:gd name="connsiteY8" fmla="*/ 1095687 h 2635902"/>
                  <a:gd name="connsiteX9" fmla="*/ 445877 w 2618703"/>
                  <a:gd name="connsiteY9" fmla="*/ 439179 h 2635902"/>
                  <a:gd name="connsiteX10" fmla="*/ 444331 w 2618703"/>
                  <a:gd name="connsiteY10" fmla="*/ 7924 h 2635902"/>
                  <a:gd name="connsiteX0" fmla="*/ 444331 w 2618703"/>
                  <a:gd name="connsiteY0" fmla="*/ 7924 h 2635902"/>
                  <a:gd name="connsiteX1" fmla="*/ 2618703 w 2618703"/>
                  <a:gd name="connsiteY1" fmla="*/ 0 h 2635902"/>
                  <a:gd name="connsiteX2" fmla="*/ 2617609 w 2618703"/>
                  <a:gd name="connsiteY2" fmla="*/ 2200154 h 2635902"/>
                  <a:gd name="connsiteX3" fmla="*/ 2196222 w 2618703"/>
                  <a:gd name="connsiteY3" fmla="*/ 2165176 h 2635902"/>
                  <a:gd name="connsiteX4" fmla="*/ 1528006 w 2618703"/>
                  <a:gd name="connsiteY4" fmla="*/ 2635902 h 2635902"/>
                  <a:gd name="connsiteX5" fmla="*/ 897665 w 2618703"/>
                  <a:gd name="connsiteY5" fmla="*/ 2181409 h 2635902"/>
                  <a:gd name="connsiteX6" fmla="*/ 447228 w 2618703"/>
                  <a:gd name="connsiteY6" fmla="*/ 2157962 h 2635902"/>
                  <a:gd name="connsiteX7" fmla="*/ 445876 w 2618703"/>
                  <a:gd name="connsiteY7" fmla="*/ 1756672 h 2635902"/>
                  <a:gd name="connsiteX8" fmla="*/ 0 w 2618703"/>
                  <a:gd name="connsiteY8" fmla="*/ 1095687 h 2635902"/>
                  <a:gd name="connsiteX9" fmla="*/ 445877 w 2618703"/>
                  <a:gd name="connsiteY9" fmla="*/ 439179 h 2635902"/>
                  <a:gd name="connsiteX10" fmla="*/ 444331 w 2618703"/>
                  <a:gd name="connsiteY10" fmla="*/ 7924 h 2635902"/>
                  <a:gd name="connsiteX0" fmla="*/ 444331 w 2618703"/>
                  <a:gd name="connsiteY0" fmla="*/ 7924 h 2635902"/>
                  <a:gd name="connsiteX1" fmla="*/ 2618703 w 2618703"/>
                  <a:gd name="connsiteY1" fmla="*/ 0 h 2635902"/>
                  <a:gd name="connsiteX2" fmla="*/ 2617609 w 2618703"/>
                  <a:gd name="connsiteY2" fmla="*/ 2200154 h 2635902"/>
                  <a:gd name="connsiteX3" fmla="*/ 2210813 w 2618703"/>
                  <a:gd name="connsiteY3" fmla="*/ 2155448 h 2635902"/>
                  <a:gd name="connsiteX4" fmla="*/ 1528006 w 2618703"/>
                  <a:gd name="connsiteY4" fmla="*/ 2635902 h 2635902"/>
                  <a:gd name="connsiteX5" fmla="*/ 897665 w 2618703"/>
                  <a:gd name="connsiteY5" fmla="*/ 2181409 h 2635902"/>
                  <a:gd name="connsiteX6" fmla="*/ 447228 w 2618703"/>
                  <a:gd name="connsiteY6" fmla="*/ 2157962 h 2635902"/>
                  <a:gd name="connsiteX7" fmla="*/ 445876 w 2618703"/>
                  <a:gd name="connsiteY7" fmla="*/ 1756672 h 2635902"/>
                  <a:gd name="connsiteX8" fmla="*/ 0 w 2618703"/>
                  <a:gd name="connsiteY8" fmla="*/ 1095687 h 2635902"/>
                  <a:gd name="connsiteX9" fmla="*/ 445877 w 2618703"/>
                  <a:gd name="connsiteY9" fmla="*/ 439179 h 2635902"/>
                  <a:gd name="connsiteX10" fmla="*/ 444331 w 2618703"/>
                  <a:gd name="connsiteY10" fmla="*/ 7924 h 2635902"/>
                  <a:gd name="connsiteX0" fmla="*/ 444331 w 2618703"/>
                  <a:gd name="connsiteY0" fmla="*/ 7924 h 2635902"/>
                  <a:gd name="connsiteX1" fmla="*/ 2618703 w 2618703"/>
                  <a:gd name="connsiteY1" fmla="*/ 0 h 2635902"/>
                  <a:gd name="connsiteX2" fmla="*/ 2617609 w 2618703"/>
                  <a:gd name="connsiteY2" fmla="*/ 2200154 h 2635902"/>
                  <a:gd name="connsiteX3" fmla="*/ 2210813 w 2618703"/>
                  <a:gd name="connsiteY3" fmla="*/ 2160312 h 2635902"/>
                  <a:gd name="connsiteX4" fmla="*/ 1528006 w 2618703"/>
                  <a:gd name="connsiteY4" fmla="*/ 2635902 h 2635902"/>
                  <a:gd name="connsiteX5" fmla="*/ 897665 w 2618703"/>
                  <a:gd name="connsiteY5" fmla="*/ 2181409 h 2635902"/>
                  <a:gd name="connsiteX6" fmla="*/ 447228 w 2618703"/>
                  <a:gd name="connsiteY6" fmla="*/ 2157962 h 2635902"/>
                  <a:gd name="connsiteX7" fmla="*/ 445876 w 2618703"/>
                  <a:gd name="connsiteY7" fmla="*/ 1756672 h 2635902"/>
                  <a:gd name="connsiteX8" fmla="*/ 0 w 2618703"/>
                  <a:gd name="connsiteY8" fmla="*/ 1095687 h 2635902"/>
                  <a:gd name="connsiteX9" fmla="*/ 445877 w 2618703"/>
                  <a:gd name="connsiteY9" fmla="*/ 439179 h 2635902"/>
                  <a:gd name="connsiteX10" fmla="*/ 444331 w 2618703"/>
                  <a:gd name="connsiteY10" fmla="*/ 7924 h 2635902"/>
                  <a:gd name="connsiteX0" fmla="*/ 444331 w 2618703"/>
                  <a:gd name="connsiteY0" fmla="*/ 7924 h 2635902"/>
                  <a:gd name="connsiteX1" fmla="*/ 2618703 w 2618703"/>
                  <a:gd name="connsiteY1" fmla="*/ 0 h 2635902"/>
                  <a:gd name="connsiteX2" fmla="*/ 2617609 w 2618703"/>
                  <a:gd name="connsiteY2" fmla="*/ 2175835 h 2635902"/>
                  <a:gd name="connsiteX3" fmla="*/ 2210813 w 2618703"/>
                  <a:gd name="connsiteY3" fmla="*/ 2160312 h 2635902"/>
                  <a:gd name="connsiteX4" fmla="*/ 1528006 w 2618703"/>
                  <a:gd name="connsiteY4" fmla="*/ 2635902 h 2635902"/>
                  <a:gd name="connsiteX5" fmla="*/ 897665 w 2618703"/>
                  <a:gd name="connsiteY5" fmla="*/ 2181409 h 2635902"/>
                  <a:gd name="connsiteX6" fmla="*/ 447228 w 2618703"/>
                  <a:gd name="connsiteY6" fmla="*/ 2157962 h 2635902"/>
                  <a:gd name="connsiteX7" fmla="*/ 445876 w 2618703"/>
                  <a:gd name="connsiteY7" fmla="*/ 1756672 h 2635902"/>
                  <a:gd name="connsiteX8" fmla="*/ 0 w 2618703"/>
                  <a:gd name="connsiteY8" fmla="*/ 1095687 h 2635902"/>
                  <a:gd name="connsiteX9" fmla="*/ 445877 w 2618703"/>
                  <a:gd name="connsiteY9" fmla="*/ 439179 h 2635902"/>
                  <a:gd name="connsiteX10" fmla="*/ 444331 w 2618703"/>
                  <a:gd name="connsiteY10" fmla="*/ 7924 h 2635902"/>
                  <a:gd name="connsiteX0" fmla="*/ 444331 w 2618703"/>
                  <a:gd name="connsiteY0" fmla="*/ 7924 h 2635902"/>
                  <a:gd name="connsiteX1" fmla="*/ 2618703 w 2618703"/>
                  <a:gd name="connsiteY1" fmla="*/ 0 h 2635902"/>
                  <a:gd name="connsiteX2" fmla="*/ 2617609 w 2618703"/>
                  <a:gd name="connsiteY2" fmla="*/ 2175835 h 2635902"/>
                  <a:gd name="connsiteX3" fmla="*/ 2210813 w 2618703"/>
                  <a:gd name="connsiteY3" fmla="*/ 2160312 h 2635902"/>
                  <a:gd name="connsiteX4" fmla="*/ 1528006 w 2618703"/>
                  <a:gd name="connsiteY4" fmla="*/ 2635902 h 2635902"/>
                  <a:gd name="connsiteX5" fmla="*/ 897665 w 2618703"/>
                  <a:gd name="connsiteY5" fmla="*/ 2181409 h 2635902"/>
                  <a:gd name="connsiteX6" fmla="*/ 436797 w 2618703"/>
                  <a:gd name="connsiteY6" fmla="*/ 2161439 h 2635902"/>
                  <a:gd name="connsiteX7" fmla="*/ 445876 w 2618703"/>
                  <a:gd name="connsiteY7" fmla="*/ 1756672 h 2635902"/>
                  <a:gd name="connsiteX8" fmla="*/ 0 w 2618703"/>
                  <a:gd name="connsiteY8" fmla="*/ 1095687 h 2635902"/>
                  <a:gd name="connsiteX9" fmla="*/ 445877 w 2618703"/>
                  <a:gd name="connsiteY9" fmla="*/ 439179 h 2635902"/>
                  <a:gd name="connsiteX10" fmla="*/ 444331 w 2618703"/>
                  <a:gd name="connsiteY10" fmla="*/ 7924 h 2635902"/>
                  <a:gd name="connsiteX0" fmla="*/ 444331 w 2618703"/>
                  <a:gd name="connsiteY0" fmla="*/ 7924 h 2635902"/>
                  <a:gd name="connsiteX1" fmla="*/ 2618703 w 2618703"/>
                  <a:gd name="connsiteY1" fmla="*/ 0 h 2635902"/>
                  <a:gd name="connsiteX2" fmla="*/ 2617609 w 2618703"/>
                  <a:gd name="connsiteY2" fmla="*/ 2175835 h 2635902"/>
                  <a:gd name="connsiteX3" fmla="*/ 2210813 w 2618703"/>
                  <a:gd name="connsiteY3" fmla="*/ 2160312 h 2635902"/>
                  <a:gd name="connsiteX4" fmla="*/ 1528006 w 2618703"/>
                  <a:gd name="connsiteY4" fmla="*/ 2635902 h 2635902"/>
                  <a:gd name="connsiteX5" fmla="*/ 897665 w 2618703"/>
                  <a:gd name="connsiteY5" fmla="*/ 2174456 h 2635902"/>
                  <a:gd name="connsiteX6" fmla="*/ 436797 w 2618703"/>
                  <a:gd name="connsiteY6" fmla="*/ 2161439 h 2635902"/>
                  <a:gd name="connsiteX7" fmla="*/ 445876 w 2618703"/>
                  <a:gd name="connsiteY7" fmla="*/ 1756672 h 2635902"/>
                  <a:gd name="connsiteX8" fmla="*/ 0 w 2618703"/>
                  <a:gd name="connsiteY8" fmla="*/ 1095687 h 2635902"/>
                  <a:gd name="connsiteX9" fmla="*/ 445877 w 2618703"/>
                  <a:gd name="connsiteY9" fmla="*/ 439179 h 2635902"/>
                  <a:gd name="connsiteX10" fmla="*/ 444331 w 2618703"/>
                  <a:gd name="connsiteY10" fmla="*/ 7924 h 2635902"/>
                  <a:gd name="connsiteX0" fmla="*/ 444331 w 2618703"/>
                  <a:gd name="connsiteY0" fmla="*/ 7924 h 2635902"/>
                  <a:gd name="connsiteX1" fmla="*/ 2618703 w 2618703"/>
                  <a:gd name="connsiteY1" fmla="*/ 0 h 2635902"/>
                  <a:gd name="connsiteX2" fmla="*/ 2617609 w 2618703"/>
                  <a:gd name="connsiteY2" fmla="*/ 2175835 h 2635902"/>
                  <a:gd name="connsiteX3" fmla="*/ 2210813 w 2618703"/>
                  <a:gd name="connsiteY3" fmla="*/ 2160312 h 2635902"/>
                  <a:gd name="connsiteX4" fmla="*/ 1528006 w 2618703"/>
                  <a:gd name="connsiteY4" fmla="*/ 2635902 h 2635902"/>
                  <a:gd name="connsiteX5" fmla="*/ 897665 w 2618703"/>
                  <a:gd name="connsiteY5" fmla="*/ 2174456 h 2635902"/>
                  <a:gd name="connsiteX6" fmla="*/ 436797 w 2618703"/>
                  <a:gd name="connsiteY6" fmla="*/ 2161439 h 2635902"/>
                  <a:gd name="connsiteX7" fmla="*/ 445876 w 2618703"/>
                  <a:gd name="connsiteY7" fmla="*/ 1756672 h 2635902"/>
                  <a:gd name="connsiteX8" fmla="*/ 0 w 2618703"/>
                  <a:gd name="connsiteY8" fmla="*/ 1095687 h 2635902"/>
                  <a:gd name="connsiteX9" fmla="*/ 445877 w 2618703"/>
                  <a:gd name="connsiteY9" fmla="*/ 439179 h 2635902"/>
                  <a:gd name="connsiteX10" fmla="*/ 444331 w 2618703"/>
                  <a:gd name="connsiteY10" fmla="*/ 7924 h 2635902"/>
                  <a:gd name="connsiteX0" fmla="*/ 7549 w 2181921"/>
                  <a:gd name="connsiteY0" fmla="*/ 7924 h 2635902"/>
                  <a:gd name="connsiteX1" fmla="*/ 2181921 w 2181921"/>
                  <a:gd name="connsiteY1" fmla="*/ 0 h 2635902"/>
                  <a:gd name="connsiteX2" fmla="*/ 2180827 w 2181921"/>
                  <a:gd name="connsiteY2" fmla="*/ 2175835 h 2635902"/>
                  <a:gd name="connsiteX3" fmla="*/ 1774031 w 2181921"/>
                  <a:gd name="connsiteY3" fmla="*/ 2160312 h 2635902"/>
                  <a:gd name="connsiteX4" fmla="*/ 1091224 w 2181921"/>
                  <a:gd name="connsiteY4" fmla="*/ 2635902 h 2635902"/>
                  <a:gd name="connsiteX5" fmla="*/ 460883 w 2181921"/>
                  <a:gd name="connsiteY5" fmla="*/ 2174456 h 2635902"/>
                  <a:gd name="connsiteX6" fmla="*/ 15 w 2181921"/>
                  <a:gd name="connsiteY6" fmla="*/ 2161439 h 2635902"/>
                  <a:gd name="connsiteX7" fmla="*/ 9094 w 2181921"/>
                  <a:gd name="connsiteY7" fmla="*/ 1756672 h 2635902"/>
                  <a:gd name="connsiteX8" fmla="*/ 494592 w 2181921"/>
                  <a:gd name="connsiteY8" fmla="*/ 1182279 h 2635902"/>
                  <a:gd name="connsiteX9" fmla="*/ 9095 w 2181921"/>
                  <a:gd name="connsiteY9" fmla="*/ 439179 h 2635902"/>
                  <a:gd name="connsiteX10" fmla="*/ 7549 w 2181921"/>
                  <a:gd name="connsiteY10" fmla="*/ 7924 h 2635902"/>
                  <a:gd name="connsiteX0" fmla="*/ 7538 w 2181910"/>
                  <a:gd name="connsiteY0" fmla="*/ 7924 h 2635902"/>
                  <a:gd name="connsiteX1" fmla="*/ 2181910 w 2181910"/>
                  <a:gd name="connsiteY1" fmla="*/ 0 h 2635902"/>
                  <a:gd name="connsiteX2" fmla="*/ 2180816 w 2181910"/>
                  <a:gd name="connsiteY2" fmla="*/ 2175835 h 2635902"/>
                  <a:gd name="connsiteX3" fmla="*/ 1774020 w 2181910"/>
                  <a:gd name="connsiteY3" fmla="*/ 2160312 h 2635902"/>
                  <a:gd name="connsiteX4" fmla="*/ 1091213 w 2181910"/>
                  <a:gd name="connsiteY4" fmla="*/ 2635902 h 2635902"/>
                  <a:gd name="connsiteX5" fmla="*/ 460872 w 2181910"/>
                  <a:gd name="connsiteY5" fmla="*/ 2174456 h 2635902"/>
                  <a:gd name="connsiteX6" fmla="*/ 4 w 2181910"/>
                  <a:gd name="connsiteY6" fmla="*/ 2161439 h 2635902"/>
                  <a:gd name="connsiteX7" fmla="*/ 38000 w 2181910"/>
                  <a:gd name="connsiteY7" fmla="*/ 1756672 h 2635902"/>
                  <a:gd name="connsiteX8" fmla="*/ 494581 w 2181910"/>
                  <a:gd name="connsiteY8" fmla="*/ 1182279 h 2635902"/>
                  <a:gd name="connsiteX9" fmla="*/ 9084 w 2181910"/>
                  <a:gd name="connsiteY9" fmla="*/ 439179 h 2635902"/>
                  <a:gd name="connsiteX10" fmla="*/ 7538 w 2181910"/>
                  <a:gd name="connsiteY10" fmla="*/ 7924 h 2635902"/>
                  <a:gd name="connsiteX0" fmla="*/ 0 w 2174372"/>
                  <a:gd name="connsiteY0" fmla="*/ 7924 h 2635902"/>
                  <a:gd name="connsiteX1" fmla="*/ 2174372 w 2174372"/>
                  <a:gd name="connsiteY1" fmla="*/ 0 h 2635902"/>
                  <a:gd name="connsiteX2" fmla="*/ 2173278 w 2174372"/>
                  <a:gd name="connsiteY2" fmla="*/ 2175835 h 2635902"/>
                  <a:gd name="connsiteX3" fmla="*/ 1766482 w 2174372"/>
                  <a:gd name="connsiteY3" fmla="*/ 2160312 h 2635902"/>
                  <a:gd name="connsiteX4" fmla="*/ 1083675 w 2174372"/>
                  <a:gd name="connsiteY4" fmla="*/ 2635902 h 2635902"/>
                  <a:gd name="connsiteX5" fmla="*/ 453334 w 2174372"/>
                  <a:gd name="connsiteY5" fmla="*/ 2174456 h 2635902"/>
                  <a:gd name="connsiteX6" fmla="*/ 35841 w 2174372"/>
                  <a:gd name="connsiteY6" fmla="*/ 2161439 h 2635902"/>
                  <a:gd name="connsiteX7" fmla="*/ 30462 w 2174372"/>
                  <a:gd name="connsiteY7" fmla="*/ 1756672 h 2635902"/>
                  <a:gd name="connsiteX8" fmla="*/ 487043 w 2174372"/>
                  <a:gd name="connsiteY8" fmla="*/ 1182279 h 2635902"/>
                  <a:gd name="connsiteX9" fmla="*/ 1546 w 2174372"/>
                  <a:gd name="connsiteY9" fmla="*/ 439179 h 2635902"/>
                  <a:gd name="connsiteX10" fmla="*/ 0 w 2174372"/>
                  <a:gd name="connsiteY10" fmla="*/ 7924 h 2635902"/>
                  <a:gd name="connsiteX0" fmla="*/ 0 w 2188830"/>
                  <a:gd name="connsiteY0" fmla="*/ 7924 h 2635902"/>
                  <a:gd name="connsiteX1" fmla="*/ 2188830 w 2188830"/>
                  <a:gd name="connsiteY1" fmla="*/ 0 h 2635902"/>
                  <a:gd name="connsiteX2" fmla="*/ 2187736 w 2188830"/>
                  <a:gd name="connsiteY2" fmla="*/ 2175835 h 2635902"/>
                  <a:gd name="connsiteX3" fmla="*/ 1780940 w 2188830"/>
                  <a:gd name="connsiteY3" fmla="*/ 2160312 h 2635902"/>
                  <a:gd name="connsiteX4" fmla="*/ 1098133 w 2188830"/>
                  <a:gd name="connsiteY4" fmla="*/ 2635902 h 2635902"/>
                  <a:gd name="connsiteX5" fmla="*/ 467792 w 2188830"/>
                  <a:gd name="connsiteY5" fmla="*/ 2174456 h 2635902"/>
                  <a:gd name="connsiteX6" fmla="*/ 50299 w 2188830"/>
                  <a:gd name="connsiteY6" fmla="*/ 2161439 h 2635902"/>
                  <a:gd name="connsiteX7" fmla="*/ 44920 w 2188830"/>
                  <a:gd name="connsiteY7" fmla="*/ 1756672 h 2635902"/>
                  <a:gd name="connsiteX8" fmla="*/ 501501 w 2188830"/>
                  <a:gd name="connsiteY8" fmla="*/ 1182279 h 2635902"/>
                  <a:gd name="connsiteX9" fmla="*/ 16004 w 2188830"/>
                  <a:gd name="connsiteY9" fmla="*/ 439179 h 2635902"/>
                  <a:gd name="connsiteX10" fmla="*/ 0 w 2188830"/>
                  <a:gd name="connsiteY10" fmla="*/ 7924 h 2635902"/>
                  <a:gd name="connsiteX0" fmla="*/ 0 w 2188830"/>
                  <a:gd name="connsiteY0" fmla="*/ 7924 h 2635902"/>
                  <a:gd name="connsiteX1" fmla="*/ 2188830 w 2188830"/>
                  <a:gd name="connsiteY1" fmla="*/ 0 h 2635902"/>
                  <a:gd name="connsiteX2" fmla="*/ 2187736 w 2188830"/>
                  <a:gd name="connsiteY2" fmla="*/ 2175835 h 2635902"/>
                  <a:gd name="connsiteX3" fmla="*/ 1780940 w 2188830"/>
                  <a:gd name="connsiteY3" fmla="*/ 2160312 h 2635902"/>
                  <a:gd name="connsiteX4" fmla="*/ 1098133 w 2188830"/>
                  <a:gd name="connsiteY4" fmla="*/ 2635902 h 2635902"/>
                  <a:gd name="connsiteX5" fmla="*/ 467792 w 2188830"/>
                  <a:gd name="connsiteY5" fmla="*/ 2174456 h 2635902"/>
                  <a:gd name="connsiteX6" fmla="*/ 50299 w 2188830"/>
                  <a:gd name="connsiteY6" fmla="*/ 2161439 h 2635902"/>
                  <a:gd name="connsiteX7" fmla="*/ 66695 w 2188830"/>
                  <a:gd name="connsiteY7" fmla="*/ 1756672 h 2635902"/>
                  <a:gd name="connsiteX8" fmla="*/ 501501 w 2188830"/>
                  <a:gd name="connsiteY8" fmla="*/ 1182279 h 2635902"/>
                  <a:gd name="connsiteX9" fmla="*/ 16004 w 2188830"/>
                  <a:gd name="connsiteY9" fmla="*/ 439179 h 2635902"/>
                  <a:gd name="connsiteX10" fmla="*/ 0 w 2188830"/>
                  <a:gd name="connsiteY10" fmla="*/ 7924 h 263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8830" h="2635902">
                    <a:moveTo>
                      <a:pt x="0" y="7924"/>
                    </a:moveTo>
                    <a:lnTo>
                      <a:pt x="2188830" y="0"/>
                    </a:lnTo>
                    <a:cubicBezTo>
                      <a:pt x="2188465" y="733385"/>
                      <a:pt x="2188101" y="1442450"/>
                      <a:pt x="2187736" y="2175835"/>
                    </a:cubicBezTo>
                    <a:lnTo>
                      <a:pt x="1780940" y="2160312"/>
                    </a:lnTo>
                    <a:lnTo>
                      <a:pt x="1098133" y="2635902"/>
                    </a:lnTo>
                    <a:lnTo>
                      <a:pt x="467792" y="2174456"/>
                    </a:lnTo>
                    <a:lnTo>
                      <a:pt x="50299" y="2161439"/>
                    </a:lnTo>
                    <a:cubicBezTo>
                      <a:pt x="49848" y="2027676"/>
                      <a:pt x="67146" y="1890435"/>
                      <a:pt x="66695" y="1756672"/>
                    </a:cubicBezTo>
                    <a:lnTo>
                      <a:pt x="501501" y="1182279"/>
                    </a:lnTo>
                    <a:lnTo>
                      <a:pt x="16004" y="439179"/>
                    </a:lnTo>
                    <a:cubicBezTo>
                      <a:pt x="15489" y="295427"/>
                      <a:pt x="515" y="151676"/>
                      <a:pt x="0" y="7924"/>
                    </a:cubicBezTo>
                    <a:close/>
                  </a:path>
                </a:pathLst>
              </a:custGeom>
              <a:grpFill/>
              <a:ln>
                <a:noFill/>
              </a:ln>
              <a:effectLst/>
              <a:scene3d>
                <a:camera prst="orthographicFront"/>
                <a:lightRig rig="threePt" dir="t"/>
              </a:scene3d>
              <a:sp3d prstMaterial="plastic"/>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Univers for KPMG" panose="020B0603020202020204" pitchFamily="34" charset="0"/>
                </a:endParaRPr>
              </a:p>
            </p:txBody>
          </p:sp>
          <p:sp>
            <p:nvSpPr>
              <p:cNvPr id="21" name="Freeform 128"/>
              <p:cNvSpPr/>
              <p:nvPr/>
            </p:nvSpPr>
            <p:spPr>
              <a:xfrm>
                <a:off x="6024361" y="2362205"/>
                <a:ext cx="2516975" cy="1651107"/>
              </a:xfrm>
              <a:custGeom>
                <a:avLst/>
                <a:gdLst>
                  <a:gd name="connsiteX0" fmla="*/ 445734 w 2516975"/>
                  <a:gd name="connsiteY0" fmla="*/ 0 h 1651107"/>
                  <a:gd name="connsiteX1" fmla="*/ 2516975 w 2516975"/>
                  <a:gd name="connsiteY1" fmla="*/ 0 h 1651107"/>
                  <a:gd name="connsiteX2" fmla="*/ 2516965 w 2516975"/>
                  <a:gd name="connsiteY2" fmla="*/ 17669 h 1651107"/>
                  <a:gd name="connsiteX3" fmla="*/ 2516321 w 2516975"/>
                  <a:gd name="connsiteY3" fmla="*/ 1165643 h 1651107"/>
                  <a:gd name="connsiteX4" fmla="*/ 2037418 w 2516975"/>
                  <a:gd name="connsiteY4" fmla="*/ 1149263 h 1651107"/>
                  <a:gd name="connsiteX5" fmla="*/ 1233580 w 2516975"/>
                  <a:gd name="connsiteY5" fmla="*/ 1651107 h 1651107"/>
                  <a:gd name="connsiteX6" fmla="*/ 491507 w 2516975"/>
                  <a:gd name="connsiteY6" fmla="*/ 1164188 h 1651107"/>
                  <a:gd name="connsiteX7" fmla="*/ 11 w 2516975"/>
                  <a:gd name="connsiteY7" fmla="*/ 1150452 h 1651107"/>
                  <a:gd name="connsiteX8" fmla="*/ 19313 w 2516975"/>
                  <a:gd name="connsiteY8" fmla="*/ 723341 h 1651107"/>
                  <a:gd name="connsiteX9" fmla="*/ 531191 w 2516975"/>
                  <a:gd name="connsiteY9" fmla="*/ 117240 h 1651107"/>
                  <a:gd name="connsiteX10" fmla="*/ 445734 w 2516975"/>
                  <a:gd name="connsiteY10" fmla="*/ 0 h 165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16975" h="1651107">
                    <a:moveTo>
                      <a:pt x="445734" y="0"/>
                    </a:moveTo>
                    <a:lnTo>
                      <a:pt x="2516975" y="0"/>
                    </a:lnTo>
                    <a:lnTo>
                      <a:pt x="2516965" y="17669"/>
                    </a:lnTo>
                    <a:cubicBezTo>
                      <a:pt x="2516750" y="398189"/>
                      <a:pt x="2516536" y="778708"/>
                      <a:pt x="2516321" y="1165643"/>
                    </a:cubicBezTo>
                    <a:lnTo>
                      <a:pt x="2037418" y="1149263"/>
                    </a:lnTo>
                    <a:lnTo>
                      <a:pt x="1233580" y="1651107"/>
                    </a:lnTo>
                    <a:lnTo>
                      <a:pt x="491507" y="1164188"/>
                    </a:lnTo>
                    <a:lnTo>
                      <a:pt x="11" y="1150452"/>
                    </a:lnTo>
                    <a:cubicBezTo>
                      <a:pt x="-520" y="1009305"/>
                      <a:pt x="19844" y="864488"/>
                      <a:pt x="19313" y="723341"/>
                    </a:cubicBezTo>
                    <a:lnTo>
                      <a:pt x="531191" y="117240"/>
                    </a:lnTo>
                    <a:lnTo>
                      <a:pt x="445734"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050">
                  <a:solidFill>
                    <a:prstClr val="white"/>
                  </a:solidFill>
                  <a:latin typeface="Univers for KPMG" panose="020B0603020202020204" pitchFamily="34" charset="0"/>
                </a:endParaRPr>
              </a:p>
            </p:txBody>
          </p:sp>
        </p:grpSp>
        <p:grpSp>
          <p:nvGrpSpPr>
            <p:cNvPr id="22" name="Group 24"/>
            <p:cNvGrpSpPr/>
            <p:nvPr/>
          </p:nvGrpSpPr>
          <p:grpSpPr>
            <a:xfrm>
              <a:off x="2204589" y="1600200"/>
              <a:ext cx="2691679" cy="1768387"/>
              <a:chOff x="680589" y="1600200"/>
              <a:chExt cx="2691679" cy="1768387"/>
            </a:xfrm>
          </p:grpSpPr>
          <p:grpSp>
            <p:nvGrpSpPr>
              <p:cNvPr id="23" name="Group 221"/>
              <p:cNvGrpSpPr/>
              <p:nvPr/>
            </p:nvGrpSpPr>
            <p:grpSpPr>
              <a:xfrm>
                <a:off x="1752600" y="1600200"/>
                <a:ext cx="562364" cy="588492"/>
                <a:chOff x="1877761" y="1957680"/>
                <a:chExt cx="349843" cy="366100"/>
              </a:xfrm>
            </p:grpSpPr>
            <p:sp>
              <p:nvSpPr>
                <p:cNvPr id="27" name="Rectangle 225"/>
                <p:cNvSpPr/>
                <p:nvPr/>
              </p:nvSpPr>
              <p:spPr>
                <a:xfrm>
                  <a:off x="2074043" y="1957680"/>
                  <a:ext cx="23568" cy="24059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28" name="Rectangle 226"/>
                <p:cNvSpPr/>
                <p:nvPr/>
              </p:nvSpPr>
              <p:spPr>
                <a:xfrm>
                  <a:off x="2025478" y="2046041"/>
                  <a:ext cx="23568" cy="15222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29" name="Rectangle 227"/>
                <p:cNvSpPr/>
                <p:nvPr/>
              </p:nvSpPr>
              <p:spPr>
                <a:xfrm>
                  <a:off x="1976912" y="2114606"/>
                  <a:ext cx="23568" cy="836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30" name="Rectangle 4"/>
                <p:cNvSpPr/>
                <p:nvPr/>
              </p:nvSpPr>
              <p:spPr>
                <a:xfrm rot="4748400">
                  <a:off x="2058842" y="2038292"/>
                  <a:ext cx="211260" cy="58799"/>
                </a:xfrm>
                <a:custGeom>
                  <a:avLst/>
                  <a:gdLst>
                    <a:gd name="connsiteX0" fmla="*/ 535323 w 664250"/>
                    <a:gd name="connsiteY0" fmla="*/ 137363 h 732344"/>
                    <a:gd name="connsiteX1" fmla="*/ 634727 w 664250"/>
                    <a:gd name="connsiteY1" fmla="*/ 0 h 732344"/>
                    <a:gd name="connsiteX2" fmla="*/ 559486 w 664250"/>
                    <a:gd name="connsiteY2" fmla="*/ 732344 h 732344"/>
                    <a:gd name="connsiteX3" fmla="*/ 476970 w 664250"/>
                    <a:gd name="connsiteY3" fmla="*/ 658454 h 732344"/>
                    <a:gd name="connsiteX4" fmla="*/ 638716 w 664250"/>
                    <a:gd name="connsiteY4" fmla="*/ 438188 h 732344"/>
                    <a:gd name="connsiteX5" fmla="*/ 535323 w 664250"/>
                    <a:gd name="connsiteY5" fmla="*/ 137363 h 732344"/>
                    <a:gd name="connsiteX6" fmla="*/ 460757 w 664250"/>
                    <a:gd name="connsiteY6" fmla="*/ 643936 h 732344"/>
                    <a:gd name="connsiteX7" fmla="*/ 402513 w 664250"/>
                    <a:gd name="connsiteY7" fmla="*/ 320889 h 732344"/>
                    <a:gd name="connsiteX8" fmla="*/ 523273 w 664250"/>
                    <a:gd name="connsiteY8" fmla="*/ 154015 h 732344"/>
                    <a:gd name="connsiteX9" fmla="*/ 618476 w 664250"/>
                    <a:gd name="connsiteY9" fmla="*/ 434305 h 732344"/>
                    <a:gd name="connsiteX10" fmla="*/ 460757 w 664250"/>
                    <a:gd name="connsiteY10" fmla="*/ 643936 h 732344"/>
                    <a:gd name="connsiteX11" fmla="*/ 80724 w 664250"/>
                    <a:gd name="connsiteY11" fmla="*/ 166178 h 732344"/>
                    <a:gd name="connsiteX12" fmla="*/ 382982 w 664250"/>
                    <a:gd name="connsiteY12" fmla="*/ 61036 h 732344"/>
                    <a:gd name="connsiteX13" fmla="*/ 535323 w 664250"/>
                    <a:gd name="connsiteY13" fmla="*/ 137363 h 732344"/>
                    <a:gd name="connsiteX14" fmla="*/ 523273 w 664250"/>
                    <a:gd name="connsiteY14" fmla="*/ 154015 h 732344"/>
                    <a:gd name="connsiteX15" fmla="*/ 379099 w 664250"/>
                    <a:gd name="connsiteY15" fmla="*/ 81276 h 732344"/>
                    <a:gd name="connsiteX16" fmla="*/ 98964 w 664250"/>
                    <a:gd name="connsiteY16" fmla="*/ 176292 h 732344"/>
                    <a:gd name="connsiteX17" fmla="*/ 80724 w 664250"/>
                    <a:gd name="connsiteY17" fmla="*/ 166178 h 732344"/>
                    <a:gd name="connsiteX18" fmla="*/ 35921 w 664250"/>
                    <a:gd name="connsiteY18" fmla="*/ 287648 h 732344"/>
                    <a:gd name="connsiteX19" fmla="*/ 98964 w 664250"/>
                    <a:gd name="connsiteY19" fmla="*/ 176292 h 732344"/>
                    <a:gd name="connsiteX20" fmla="*/ 35921 w 664250"/>
                    <a:gd name="connsiteY20" fmla="*/ 287648 h 732344"/>
                    <a:gd name="connsiteX21" fmla="*/ 5830 w 664250"/>
                    <a:gd name="connsiteY21" fmla="*/ 316770 h 732344"/>
                    <a:gd name="connsiteX22" fmla="*/ 17560 w 664250"/>
                    <a:gd name="connsiteY22" fmla="*/ 277466 h 732344"/>
                    <a:gd name="connsiteX23" fmla="*/ 35921 w 664250"/>
                    <a:gd name="connsiteY23" fmla="*/ 287648 h 732344"/>
                    <a:gd name="connsiteX24" fmla="*/ 26071 w 664250"/>
                    <a:gd name="connsiteY24" fmla="*/ 320654 h 732344"/>
                    <a:gd name="connsiteX25" fmla="*/ 265449 w 664250"/>
                    <a:gd name="connsiteY25" fmla="*/ 673681 h 732344"/>
                    <a:gd name="connsiteX26" fmla="*/ 460757 w 664250"/>
                    <a:gd name="connsiteY26" fmla="*/ 643936 h 732344"/>
                    <a:gd name="connsiteX27" fmla="*/ 476970 w 664250"/>
                    <a:gd name="connsiteY27" fmla="*/ 658454 h 732344"/>
                    <a:gd name="connsiteX28" fmla="*/ 261565 w 664250"/>
                    <a:gd name="connsiteY28" fmla="*/ 693922 h 732344"/>
                    <a:gd name="connsiteX29" fmla="*/ 5830 w 664250"/>
                    <a:gd name="connsiteY29" fmla="*/ 316770 h 732344"/>
                    <a:gd name="connsiteX0" fmla="*/ 535323 w 664250"/>
                    <a:gd name="connsiteY0" fmla="*/ 137363 h 732344"/>
                    <a:gd name="connsiteX1" fmla="*/ 634727 w 664250"/>
                    <a:gd name="connsiteY1" fmla="*/ 0 h 732344"/>
                    <a:gd name="connsiteX2" fmla="*/ 559486 w 664250"/>
                    <a:gd name="connsiteY2" fmla="*/ 732344 h 732344"/>
                    <a:gd name="connsiteX3" fmla="*/ 476970 w 664250"/>
                    <a:gd name="connsiteY3" fmla="*/ 658454 h 732344"/>
                    <a:gd name="connsiteX4" fmla="*/ 638716 w 664250"/>
                    <a:gd name="connsiteY4" fmla="*/ 438188 h 732344"/>
                    <a:gd name="connsiteX5" fmla="*/ 535323 w 664250"/>
                    <a:gd name="connsiteY5" fmla="*/ 137363 h 732344"/>
                    <a:gd name="connsiteX6" fmla="*/ 460757 w 664250"/>
                    <a:gd name="connsiteY6" fmla="*/ 643936 h 732344"/>
                    <a:gd name="connsiteX7" fmla="*/ 523273 w 664250"/>
                    <a:gd name="connsiteY7" fmla="*/ 154015 h 732344"/>
                    <a:gd name="connsiteX8" fmla="*/ 618476 w 664250"/>
                    <a:gd name="connsiteY8" fmla="*/ 434305 h 732344"/>
                    <a:gd name="connsiteX9" fmla="*/ 460757 w 664250"/>
                    <a:gd name="connsiteY9" fmla="*/ 643936 h 732344"/>
                    <a:gd name="connsiteX10" fmla="*/ 80724 w 664250"/>
                    <a:gd name="connsiteY10" fmla="*/ 166178 h 732344"/>
                    <a:gd name="connsiteX11" fmla="*/ 382982 w 664250"/>
                    <a:gd name="connsiteY11" fmla="*/ 61036 h 732344"/>
                    <a:gd name="connsiteX12" fmla="*/ 535323 w 664250"/>
                    <a:gd name="connsiteY12" fmla="*/ 137363 h 732344"/>
                    <a:gd name="connsiteX13" fmla="*/ 523273 w 664250"/>
                    <a:gd name="connsiteY13" fmla="*/ 154015 h 732344"/>
                    <a:gd name="connsiteX14" fmla="*/ 379099 w 664250"/>
                    <a:gd name="connsiteY14" fmla="*/ 81276 h 732344"/>
                    <a:gd name="connsiteX15" fmla="*/ 98964 w 664250"/>
                    <a:gd name="connsiteY15" fmla="*/ 176292 h 732344"/>
                    <a:gd name="connsiteX16" fmla="*/ 80724 w 664250"/>
                    <a:gd name="connsiteY16" fmla="*/ 166178 h 732344"/>
                    <a:gd name="connsiteX17" fmla="*/ 35921 w 664250"/>
                    <a:gd name="connsiteY17" fmla="*/ 287648 h 732344"/>
                    <a:gd name="connsiteX18" fmla="*/ 98964 w 664250"/>
                    <a:gd name="connsiteY18" fmla="*/ 176292 h 732344"/>
                    <a:gd name="connsiteX19" fmla="*/ 35921 w 664250"/>
                    <a:gd name="connsiteY19" fmla="*/ 287648 h 732344"/>
                    <a:gd name="connsiteX20" fmla="*/ 5830 w 664250"/>
                    <a:gd name="connsiteY20" fmla="*/ 316770 h 732344"/>
                    <a:gd name="connsiteX21" fmla="*/ 17560 w 664250"/>
                    <a:gd name="connsiteY21" fmla="*/ 277466 h 732344"/>
                    <a:gd name="connsiteX22" fmla="*/ 35921 w 664250"/>
                    <a:gd name="connsiteY22" fmla="*/ 287648 h 732344"/>
                    <a:gd name="connsiteX23" fmla="*/ 26071 w 664250"/>
                    <a:gd name="connsiteY23" fmla="*/ 320654 h 732344"/>
                    <a:gd name="connsiteX24" fmla="*/ 265449 w 664250"/>
                    <a:gd name="connsiteY24" fmla="*/ 673681 h 732344"/>
                    <a:gd name="connsiteX25" fmla="*/ 460757 w 664250"/>
                    <a:gd name="connsiteY25" fmla="*/ 643936 h 732344"/>
                    <a:gd name="connsiteX26" fmla="*/ 476970 w 664250"/>
                    <a:gd name="connsiteY26" fmla="*/ 658454 h 732344"/>
                    <a:gd name="connsiteX27" fmla="*/ 261565 w 664250"/>
                    <a:gd name="connsiteY27" fmla="*/ 693922 h 732344"/>
                    <a:gd name="connsiteX28" fmla="*/ 5830 w 664250"/>
                    <a:gd name="connsiteY28" fmla="*/ 316770 h 732344"/>
                    <a:gd name="connsiteX0" fmla="*/ 535323 w 644541"/>
                    <a:gd name="connsiteY0" fmla="*/ 82153 h 677134"/>
                    <a:gd name="connsiteX1" fmla="*/ 559486 w 644541"/>
                    <a:gd name="connsiteY1" fmla="*/ 677134 h 677134"/>
                    <a:gd name="connsiteX2" fmla="*/ 476970 w 644541"/>
                    <a:gd name="connsiteY2" fmla="*/ 603244 h 677134"/>
                    <a:gd name="connsiteX3" fmla="*/ 638716 w 644541"/>
                    <a:gd name="connsiteY3" fmla="*/ 382978 h 677134"/>
                    <a:gd name="connsiteX4" fmla="*/ 535323 w 644541"/>
                    <a:gd name="connsiteY4" fmla="*/ 82153 h 677134"/>
                    <a:gd name="connsiteX5" fmla="*/ 460757 w 644541"/>
                    <a:gd name="connsiteY5" fmla="*/ 588726 h 677134"/>
                    <a:gd name="connsiteX6" fmla="*/ 523273 w 644541"/>
                    <a:gd name="connsiteY6" fmla="*/ 98805 h 677134"/>
                    <a:gd name="connsiteX7" fmla="*/ 618476 w 644541"/>
                    <a:gd name="connsiteY7" fmla="*/ 379095 h 677134"/>
                    <a:gd name="connsiteX8" fmla="*/ 460757 w 644541"/>
                    <a:gd name="connsiteY8" fmla="*/ 588726 h 677134"/>
                    <a:gd name="connsiteX9" fmla="*/ 80724 w 644541"/>
                    <a:gd name="connsiteY9" fmla="*/ 110968 h 677134"/>
                    <a:gd name="connsiteX10" fmla="*/ 382982 w 644541"/>
                    <a:gd name="connsiteY10" fmla="*/ 5826 h 677134"/>
                    <a:gd name="connsiteX11" fmla="*/ 535323 w 644541"/>
                    <a:gd name="connsiteY11" fmla="*/ 82153 h 677134"/>
                    <a:gd name="connsiteX12" fmla="*/ 523273 w 644541"/>
                    <a:gd name="connsiteY12" fmla="*/ 98805 h 677134"/>
                    <a:gd name="connsiteX13" fmla="*/ 379099 w 644541"/>
                    <a:gd name="connsiteY13" fmla="*/ 26066 h 677134"/>
                    <a:gd name="connsiteX14" fmla="*/ 98964 w 644541"/>
                    <a:gd name="connsiteY14" fmla="*/ 121082 h 677134"/>
                    <a:gd name="connsiteX15" fmla="*/ 80724 w 644541"/>
                    <a:gd name="connsiteY15" fmla="*/ 110968 h 677134"/>
                    <a:gd name="connsiteX16" fmla="*/ 35921 w 644541"/>
                    <a:gd name="connsiteY16" fmla="*/ 232438 h 677134"/>
                    <a:gd name="connsiteX17" fmla="*/ 98964 w 644541"/>
                    <a:gd name="connsiteY17" fmla="*/ 121082 h 677134"/>
                    <a:gd name="connsiteX18" fmla="*/ 35921 w 644541"/>
                    <a:gd name="connsiteY18" fmla="*/ 232438 h 677134"/>
                    <a:gd name="connsiteX19" fmla="*/ 5830 w 644541"/>
                    <a:gd name="connsiteY19" fmla="*/ 261560 h 677134"/>
                    <a:gd name="connsiteX20" fmla="*/ 17560 w 644541"/>
                    <a:gd name="connsiteY20" fmla="*/ 222256 h 677134"/>
                    <a:gd name="connsiteX21" fmla="*/ 35921 w 644541"/>
                    <a:gd name="connsiteY21" fmla="*/ 232438 h 677134"/>
                    <a:gd name="connsiteX22" fmla="*/ 26071 w 644541"/>
                    <a:gd name="connsiteY22" fmla="*/ 265444 h 677134"/>
                    <a:gd name="connsiteX23" fmla="*/ 265449 w 644541"/>
                    <a:gd name="connsiteY23" fmla="*/ 618471 h 677134"/>
                    <a:gd name="connsiteX24" fmla="*/ 460757 w 644541"/>
                    <a:gd name="connsiteY24" fmla="*/ 588726 h 677134"/>
                    <a:gd name="connsiteX25" fmla="*/ 476970 w 644541"/>
                    <a:gd name="connsiteY25" fmla="*/ 603244 h 677134"/>
                    <a:gd name="connsiteX26" fmla="*/ 261565 w 644541"/>
                    <a:gd name="connsiteY26" fmla="*/ 638712 h 677134"/>
                    <a:gd name="connsiteX27" fmla="*/ 5830 w 644541"/>
                    <a:gd name="connsiteY27" fmla="*/ 261560 h 677134"/>
                    <a:gd name="connsiteX0" fmla="*/ 535323 w 644541"/>
                    <a:gd name="connsiteY0" fmla="*/ 82153 h 644518"/>
                    <a:gd name="connsiteX1" fmla="*/ 476970 w 644541"/>
                    <a:gd name="connsiteY1" fmla="*/ 603244 h 644518"/>
                    <a:gd name="connsiteX2" fmla="*/ 638716 w 644541"/>
                    <a:gd name="connsiteY2" fmla="*/ 382978 h 644518"/>
                    <a:gd name="connsiteX3" fmla="*/ 535323 w 644541"/>
                    <a:gd name="connsiteY3" fmla="*/ 82153 h 644518"/>
                    <a:gd name="connsiteX4" fmla="*/ 460757 w 644541"/>
                    <a:gd name="connsiteY4" fmla="*/ 588726 h 644518"/>
                    <a:gd name="connsiteX5" fmla="*/ 523273 w 644541"/>
                    <a:gd name="connsiteY5" fmla="*/ 98805 h 644518"/>
                    <a:gd name="connsiteX6" fmla="*/ 618476 w 644541"/>
                    <a:gd name="connsiteY6" fmla="*/ 379095 h 644518"/>
                    <a:gd name="connsiteX7" fmla="*/ 460757 w 644541"/>
                    <a:gd name="connsiteY7" fmla="*/ 588726 h 644518"/>
                    <a:gd name="connsiteX8" fmla="*/ 80724 w 644541"/>
                    <a:gd name="connsiteY8" fmla="*/ 110968 h 644518"/>
                    <a:gd name="connsiteX9" fmla="*/ 382982 w 644541"/>
                    <a:gd name="connsiteY9" fmla="*/ 5826 h 644518"/>
                    <a:gd name="connsiteX10" fmla="*/ 535323 w 644541"/>
                    <a:gd name="connsiteY10" fmla="*/ 82153 h 644518"/>
                    <a:gd name="connsiteX11" fmla="*/ 523273 w 644541"/>
                    <a:gd name="connsiteY11" fmla="*/ 98805 h 644518"/>
                    <a:gd name="connsiteX12" fmla="*/ 379099 w 644541"/>
                    <a:gd name="connsiteY12" fmla="*/ 26066 h 644518"/>
                    <a:gd name="connsiteX13" fmla="*/ 98964 w 644541"/>
                    <a:gd name="connsiteY13" fmla="*/ 121082 h 644518"/>
                    <a:gd name="connsiteX14" fmla="*/ 80724 w 644541"/>
                    <a:gd name="connsiteY14" fmla="*/ 110968 h 644518"/>
                    <a:gd name="connsiteX15" fmla="*/ 35921 w 644541"/>
                    <a:gd name="connsiteY15" fmla="*/ 232438 h 644518"/>
                    <a:gd name="connsiteX16" fmla="*/ 98964 w 644541"/>
                    <a:gd name="connsiteY16" fmla="*/ 121082 h 644518"/>
                    <a:gd name="connsiteX17" fmla="*/ 35921 w 644541"/>
                    <a:gd name="connsiteY17" fmla="*/ 232438 h 644518"/>
                    <a:gd name="connsiteX18" fmla="*/ 5830 w 644541"/>
                    <a:gd name="connsiteY18" fmla="*/ 261560 h 644518"/>
                    <a:gd name="connsiteX19" fmla="*/ 17560 w 644541"/>
                    <a:gd name="connsiteY19" fmla="*/ 222256 h 644518"/>
                    <a:gd name="connsiteX20" fmla="*/ 35921 w 644541"/>
                    <a:gd name="connsiteY20" fmla="*/ 232438 h 644518"/>
                    <a:gd name="connsiteX21" fmla="*/ 26071 w 644541"/>
                    <a:gd name="connsiteY21" fmla="*/ 265444 h 644518"/>
                    <a:gd name="connsiteX22" fmla="*/ 265449 w 644541"/>
                    <a:gd name="connsiteY22" fmla="*/ 618471 h 644518"/>
                    <a:gd name="connsiteX23" fmla="*/ 460757 w 644541"/>
                    <a:gd name="connsiteY23" fmla="*/ 588726 h 644518"/>
                    <a:gd name="connsiteX24" fmla="*/ 476970 w 644541"/>
                    <a:gd name="connsiteY24" fmla="*/ 603244 h 644518"/>
                    <a:gd name="connsiteX25" fmla="*/ 261565 w 644541"/>
                    <a:gd name="connsiteY25" fmla="*/ 638712 h 644518"/>
                    <a:gd name="connsiteX26" fmla="*/ 5830 w 644541"/>
                    <a:gd name="connsiteY26" fmla="*/ 261560 h 644518"/>
                    <a:gd name="connsiteX0" fmla="*/ 539319 w 648537"/>
                    <a:gd name="connsiteY0" fmla="*/ 82153 h 644518"/>
                    <a:gd name="connsiteX1" fmla="*/ 480966 w 648537"/>
                    <a:gd name="connsiteY1" fmla="*/ 603244 h 644518"/>
                    <a:gd name="connsiteX2" fmla="*/ 642712 w 648537"/>
                    <a:gd name="connsiteY2" fmla="*/ 382978 h 644518"/>
                    <a:gd name="connsiteX3" fmla="*/ 539319 w 648537"/>
                    <a:gd name="connsiteY3" fmla="*/ 82153 h 644518"/>
                    <a:gd name="connsiteX4" fmla="*/ 464753 w 648537"/>
                    <a:gd name="connsiteY4" fmla="*/ 588726 h 644518"/>
                    <a:gd name="connsiteX5" fmla="*/ 527269 w 648537"/>
                    <a:gd name="connsiteY5" fmla="*/ 98805 h 644518"/>
                    <a:gd name="connsiteX6" fmla="*/ 622472 w 648537"/>
                    <a:gd name="connsiteY6" fmla="*/ 379095 h 644518"/>
                    <a:gd name="connsiteX7" fmla="*/ 464753 w 648537"/>
                    <a:gd name="connsiteY7" fmla="*/ 588726 h 644518"/>
                    <a:gd name="connsiteX8" fmla="*/ 84720 w 648537"/>
                    <a:gd name="connsiteY8" fmla="*/ 110968 h 644518"/>
                    <a:gd name="connsiteX9" fmla="*/ 386978 w 648537"/>
                    <a:gd name="connsiteY9" fmla="*/ 5826 h 644518"/>
                    <a:gd name="connsiteX10" fmla="*/ 539319 w 648537"/>
                    <a:gd name="connsiteY10" fmla="*/ 82153 h 644518"/>
                    <a:gd name="connsiteX11" fmla="*/ 527269 w 648537"/>
                    <a:gd name="connsiteY11" fmla="*/ 98805 h 644518"/>
                    <a:gd name="connsiteX12" fmla="*/ 383095 w 648537"/>
                    <a:gd name="connsiteY12" fmla="*/ 26066 h 644518"/>
                    <a:gd name="connsiteX13" fmla="*/ 102960 w 648537"/>
                    <a:gd name="connsiteY13" fmla="*/ 121082 h 644518"/>
                    <a:gd name="connsiteX14" fmla="*/ 84720 w 648537"/>
                    <a:gd name="connsiteY14" fmla="*/ 110968 h 644518"/>
                    <a:gd name="connsiteX15" fmla="*/ 39917 w 648537"/>
                    <a:gd name="connsiteY15" fmla="*/ 232438 h 644518"/>
                    <a:gd name="connsiteX16" fmla="*/ 102960 w 648537"/>
                    <a:gd name="connsiteY16" fmla="*/ 121082 h 644518"/>
                    <a:gd name="connsiteX17" fmla="*/ 39917 w 648537"/>
                    <a:gd name="connsiteY17" fmla="*/ 232438 h 644518"/>
                    <a:gd name="connsiteX18" fmla="*/ 9826 w 648537"/>
                    <a:gd name="connsiteY18" fmla="*/ 261560 h 644518"/>
                    <a:gd name="connsiteX19" fmla="*/ 21556 w 648537"/>
                    <a:gd name="connsiteY19" fmla="*/ 222256 h 644518"/>
                    <a:gd name="connsiteX20" fmla="*/ 39917 w 648537"/>
                    <a:gd name="connsiteY20" fmla="*/ 232438 h 644518"/>
                    <a:gd name="connsiteX21" fmla="*/ 30067 w 648537"/>
                    <a:gd name="connsiteY21" fmla="*/ 265444 h 644518"/>
                    <a:gd name="connsiteX22" fmla="*/ 464753 w 648537"/>
                    <a:gd name="connsiteY22" fmla="*/ 588726 h 644518"/>
                    <a:gd name="connsiteX23" fmla="*/ 480966 w 648537"/>
                    <a:gd name="connsiteY23" fmla="*/ 603244 h 644518"/>
                    <a:gd name="connsiteX24" fmla="*/ 265561 w 648537"/>
                    <a:gd name="connsiteY24" fmla="*/ 638712 h 644518"/>
                    <a:gd name="connsiteX25" fmla="*/ 9826 w 648537"/>
                    <a:gd name="connsiteY25" fmla="*/ 261560 h 644518"/>
                    <a:gd name="connsiteX0" fmla="*/ 539319 w 648537"/>
                    <a:gd name="connsiteY0" fmla="*/ 82153 h 603244"/>
                    <a:gd name="connsiteX1" fmla="*/ 480966 w 648537"/>
                    <a:gd name="connsiteY1" fmla="*/ 603244 h 603244"/>
                    <a:gd name="connsiteX2" fmla="*/ 642712 w 648537"/>
                    <a:gd name="connsiteY2" fmla="*/ 382978 h 603244"/>
                    <a:gd name="connsiteX3" fmla="*/ 539319 w 648537"/>
                    <a:gd name="connsiteY3" fmla="*/ 82153 h 603244"/>
                    <a:gd name="connsiteX4" fmla="*/ 464753 w 648537"/>
                    <a:gd name="connsiteY4" fmla="*/ 588726 h 603244"/>
                    <a:gd name="connsiteX5" fmla="*/ 527269 w 648537"/>
                    <a:gd name="connsiteY5" fmla="*/ 98805 h 603244"/>
                    <a:gd name="connsiteX6" fmla="*/ 622472 w 648537"/>
                    <a:gd name="connsiteY6" fmla="*/ 379095 h 603244"/>
                    <a:gd name="connsiteX7" fmla="*/ 464753 w 648537"/>
                    <a:gd name="connsiteY7" fmla="*/ 588726 h 603244"/>
                    <a:gd name="connsiteX8" fmla="*/ 84720 w 648537"/>
                    <a:gd name="connsiteY8" fmla="*/ 110968 h 603244"/>
                    <a:gd name="connsiteX9" fmla="*/ 386978 w 648537"/>
                    <a:gd name="connsiteY9" fmla="*/ 5826 h 603244"/>
                    <a:gd name="connsiteX10" fmla="*/ 539319 w 648537"/>
                    <a:gd name="connsiteY10" fmla="*/ 82153 h 603244"/>
                    <a:gd name="connsiteX11" fmla="*/ 527269 w 648537"/>
                    <a:gd name="connsiteY11" fmla="*/ 98805 h 603244"/>
                    <a:gd name="connsiteX12" fmla="*/ 383095 w 648537"/>
                    <a:gd name="connsiteY12" fmla="*/ 26066 h 603244"/>
                    <a:gd name="connsiteX13" fmla="*/ 102960 w 648537"/>
                    <a:gd name="connsiteY13" fmla="*/ 121082 h 603244"/>
                    <a:gd name="connsiteX14" fmla="*/ 84720 w 648537"/>
                    <a:gd name="connsiteY14" fmla="*/ 110968 h 603244"/>
                    <a:gd name="connsiteX15" fmla="*/ 39917 w 648537"/>
                    <a:gd name="connsiteY15" fmla="*/ 232438 h 603244"/>
                    <a:gd name="connsiteX16" fmla="*/ 102960 w 648537"/>
                    <a:gd name="connsiteY16" fmla="*/ 121082 h 603244"/>
                    <a:gd name="connsiteX17" fmla="*/ 39917 w 648537"/>
                    <a:gd name="connsiteY17" fmla="*/ 232438 h 603244"/>
                    <a:gd name="connsiteX18" fmla="*/ 9826 w 648537"/>
                    <a:gd name="connsiteY18" fmla="*/ 261560 h 603244"/>
                    <a:gd name="connsiteX19" fmla="*/ 21556 w 648537"/>
                    <a:gd name="connsiteY19" fmla="*/ 222256 h 603244"/>
                    <a:gd name="connsiteX20" fmla="*/ 39917 w 648537"/>
                    <a:gd name="connsiteY20" fmla="*/ 232438 h 603244"/>
                    <a:gd name="connsiteX21" fmla="*/ 30067 w 648537"/>
                    <a:gd name="connsiteY21" fmla="*/ 265444 h 603244"/>
                    <a:gd name="connsiteX22" fmla="*/ 464753 w 648537"/>
                    <a:gd name="connsiteY22" fmla="*/ 588726 h 603244"/>
                    <a:gd name="connsiteX23" fmla="*/ 480966 w 648537"/>
                    <a:gd name="connsiteY23" fmla="*/ 603244 h 603244"/>
                    <a:gd name="connsiteX24" fmla="*/ 9826 w 648537"/>
                    <a:gd name="connsiteY24" fmla="*/ 261560 h 603244"/>
                    <a:gd name="connsiteX0" fmla="*/ 539319 w 627925"/>
                    <a:gd name="connsiteY0" fmla="*/ 82153 h 603244"/>
                    <a:gd name="connsiteX1" fmla="*/ 480966 w 627925"/>
                    <a:gd name="connsiteY1" fmla="*/ 603244 h 603244"/>
                    <a:gd name="connsiteX2" fmla="*/ 539319 w 627925"/>
                    <a:gd name="connsiteY2" fmla="*/ 82153 h 603244"/>
                    <a:gd name="connsiteX3" fmla="*/ 464753 w 627925"/>
                    <a:gd name="connsiteY3" fmla="*/ 588726 h 603244"/>
                    <a:gd name="connsiteX4" fmla="*/ 527269 w 627925"/>
                    <a:gd name="connsiteY4" fmla="*/ 98805 h 603244"/>
                    <a:gd name="connsiteX5" fmla="*/ 622472 w 627925"/>
                    <a:gd name="connsiteY5" fmla="*/ 379095 h 603244"/>
                    <a:gd name="connsiteX6" fmla="*/ 464753 w 627925"/>
                    <a:gd name="connsiteY6" fmla="*/ 588726 h 603244"/>
                    <a:gd name="connsiteX7" fmla="*/ 84720 w 627925"/>
                    <a:gd name="connsiteY7" fmla="*/ 110968 h 603244"/>
                    <a:gd name="connsiteX8" fmla="*/ 386978 w 627925"/>
                    <a:gd name="connsiteY8" fmla="*/ 5826 h 603244"/>
                    <a:gd name="connsiteX9" fmla="*/ 539319 w 627925"/>
                    <a:gd name="connsiteY9" fmla="*/ 82153 h 603244"/>
                    <a:gd name="connsiteX10" fmla="*/ 527269 w 627925"/>
                    <a:gd name="connsiteY10" fmla="*/ 98805 h 603244"/>
                    <a:gd name="connsiteX11" fmla="*/ 383095 w 627925"/>
                    <a:gd name="connsiteY11" fmla="*/ 26066 h 603244"/>
                    <a:gd name="connsiteX12" fmla="*/ 102960 w 627925"/>
                    <a:gd name="connsiteY12" fmla="*/ 121082 h 603244"/>
                    <a:gd name="connsiteX13" fmla="*/ 84720 w 627925"/>
                    <a:gd name="connsiteY13" fmla="*/ 110968 h 603244"/>
                    <a:gd name="connsiteX14" fmla="*/ 39917 w 627925"/>
                    <a:gd name="connsiteY14" fmla="*/ 232438 h 603244"/>
                    <a:gd name="connsiteX15" fmla="*/ 102960 w 627925"/>
                    <a:gd name="connsiteY15" fmla="*/ 121082 h 603244"/>
                    <a:gd name="connsiteX16" fmla="*/ 39917 w 627925"/>
                    <a:gd name="connsiteY16" fmla="*/ 232438 h 603244"/>
                    <a:gd name="connsiteX17" fmla="*/ 9826 w 627925"/>
                    <a:gd name="connsiteY17" fmla="*/ 261560 h 603244"/>
                    <a:gd name="connsiteX18" fmla="*/ 21556 w 627925"/>
                    <a:gd name="connsiteY18" fmla="*/ 222256 h 603244"/>
                    <a:gd name="connsiteX19" fmla="*/ 39917 w 627925"/>
                    <a:gd name="connsiteY19" fmla="*/ 232438 h 603244"/>
                    <a:gd name="connsiteX20" fmla="*/ 30067 w 627925"/>
                    <a:gd name="connsiteY20" fmla="*/ 265444 h 603244"/>
                    <a:gd name="connsiteX21" fmla="*/ 464753 w 627925"/>
                    <a:gd name="connsiteY21" fmla="*/ 588726 h 603244"/>
                    <a:gd name="connsiteX22" fmla="*/ 480966 w 627925"/>
                    <a:gd name="connsiteY22" fmla="*/ 603244 h 603244"/>
                    <a:gd name="connsiteX23" fmla="*/ 9826 w 627925"/>
                    <a:gd name="connsiteY23" fmla="*/ 261560 h 603244"/>
                    <a:gd name="connsiteX0" fmla="*/ 539319 w 627925"/>
                    <a:gd name="connsiteY0" fmla="*/ 82153 h 603244"/>
                    <a:gd name="connsiteX1" fmla="*/ 480966 w 627925"/>
                    <a:gd name="connsiteY1" fmla="*/ 603244 h 603244"/>
                    <a:gd name="connsiteX2" fmla="*/ 539319 w 627925"/>
                    <a:gd name="connsiteY2" fmla="*/ 82153 h 603244"/>
                    <a:gd name="connsiteX3" fmla="*/ 464753 w 627925"/>
                    <a:gd name="connsiteY3" fmla="*/ 588726 h 603244"/>
                    <a:gd name="connsiteX4" fmla="*/ 527269 w 627925"/>
                    <a:gd name="connsiteY4" fmla="*/ 98805 h 603244"/>
                    <a:gd name="connsiteX5" fmla="*/ 622472 w 627925"/>
                    <a:gd name="connsiteY5" fmla="*/ 379095 h 603244"/>
                    <a:gd name="connsiteX6" fmla="*/ 464753 w 627925"/>
                    <a:gd name="connsiteY6" fmla="*/ 588726 h 603244"/>
                    <a:gd name="connsiteX7" fmla="*/ 84720 w 627925"/>
                    <a:gd name="connsiteY7" fmla="*/ 110968 h 603244"/>
                    <a:gd name="connsiteX8" fmla="*/ 386978 w 627925"/>
                    <a:gd name="connsiteY8" fmla="*/ 5826 h 603244"/>
                    <a:gd name="connsiteX9" fmla="*/ 539319 w 627925"/>
                    <a:gd name="connsiteY9" fmla="*/ 82153 h 603244"/>
                    <a:gd name="connsiteX10" fmla="*/ 527269 w 627925"/>
                    <a:gd name="connsiteY10" fmla="*/ 98805 h 603244"/>
                    <a:gd name="connsiteX11" fmla="*/ 383095 w 627925"/>
                    <a:gd name="connsiteY11" fmla="*/ 26066 h 603244"/>
                    <a:gd name="connsiteX12" fmla="*/ 102960 w 627925"/>
                    <a:gd name="connsiteY12" fmla="*/ 121082 h 603244"/>
                    <a:gd name="connsiteX13" fmla="*/ 84720 w 627925"/>
                    <a:gd name="connsiteY13" fmla="*/ 110968 h 603244"/>
                    <a:gd name="connsiteX14" fmla="*/ 39917 w 627925"/>
                    <a:gd name="connsiteY14" fmla="*/ 232438 h 603244"/>
                    <a:gd name="connsiteX15" fmla="*/ 102960 w 627925"/>
                    <a:gd name="connsiteY15" fmla="*/ 121082 h 603244"/>
                    <a:gd name="connsiteX16" fmla="*/ 39917 w 627925"/>
                    <a:gd name="connsiteY16" fmla="*/ 232438 h 603244"/>
                    <a:gd name="connsiteX17" fmla="*/ 9826 w 627925"/>
                    <a:gd name="connsiteY17" fmla="*/ 261560 h 603244"/>
                    <a:gd name="connsiteX18" fmla="*/ 21556 w 627925"/>
                    <a:gd name="connsiteY18" fmla="*/ 222256 h 603244"/>
                    <a:gd name="connsiteX19" fmla="*/ 39917 w 627925"/>
                    <a:gd name="connsiteY19" fmla="*/ 232438 h 603244"/>
                    <a:gd name="connsiteX20" fmla="*/ 30067 w 627925"/>
                    <a:gd name="connsiteY20" fmla="*/ 265444 h 603244"/>
                    <a:gd name="connsiteX21" fmla="*/ 464753 w 627925"/>
                    <a:gd name="connsiteY21" fmla="*/ 588726 h 603244"/>
                    <a:gd name="connsiteX22" fmla="*/ 480966 w 627925"/>
                    <a:gd name="connsiteY22" fmla="*/ 603244 h 603244"/>
                    <a:gd name="connsiteX23" fmla="*/ 9826 w 627925"/>
                    <a:gd name="connsiteY23" fmla="*/ 261560 h 603244"/>
                    <a:gd name="connsiteX0" fmla="*/ 539319 w 539319"/>
                    <a:gd name="connsiteY0" fmla="*/ 82153 h 603244"/>
                    <a:gd name="connsiteX1" fmla="*/ 480966 w 539319"/>
                    <a:gd name="connsiteY1" fmla="*/ 603244 h 603244"/>
                    <a:gd name="connsiteX2" fmla="*/ 539319 w 539319"/>
                    <a:gd name="connsiteY2" fmla="*/ 82153 h 603244"/>
                    <a:gd name="connsiteX3" fmla="*/ 464753 w 539319"/>
                    <a:gd name="connsiteY3" fmla="*/ 588726 h 603244"/>
                    <a:gd name="connsiteX4" fmla="*/ 527269 w 539319"/>
                    <a:gd name="connsiteY4" fmla="*/ 98805 h 603244"/>
                    <a:gd name="connsiteX5" fmla="*/ 464753 w 539319"/>
                    <a:gd name="connsiteY5" fmla="*/ 588726 h 603244"/>
                    <a:gd name="connsiteX6" fmla="*/ 84720 w 539319"/>
                    <a:gd name="connsiteY6" fmla="*/ 110968 h 603244"/>
                    <a:gd name="connsiteX7" fmla="*/ 386978 w 539319"/>
                    <a:gd name="connsiteY7" fmla="*/ 5826 h 603244"/>
                    <a:gd name="connsiteX8" fmla="*/ 539319 w 539319"/>
                    <a:gd name="connsiteY8" fmla="*/ 82153 h 603244"/>
                    <a:gd name="connsiteX9" fmla="*/ 527269 w 539319"/>
                    <a:gd name="connsiteY9" fmla="*/ 98805 h 603244"/>
                    <a:gd name="connsiteX10" fmla="*/ 383095 w 539319"/>
                    <a:gd name="connsiteY10" fmla="*/ 26066 h 603244"/>
                    <a:gd name="connsiteX11" fmla="*/ 102960 w 539319"/>
                    <a:gd name="connsiteY11" fmla="*/ 121082 h 603244"/>
                    <a:gd name="connsiteX12" fmla="*/ 84720 w 539319"/>
                    <a:gd name="connsiteY12" fmla="*/ 110968 h 603244"/>
                    <a:gd name="connsiteX13" fmla="*/ 39917 w 539319"/>
                    <a:gd name="connsiteY13" fmla="*/ 232438 h 603244"/>
                    <a:gd name="connsiteX14" fmla="*/ 102960 w 539319"/>
                    <a:gd name="connsiteY14" fmla="*/ 121082 h 603244"/>
                    <a:gd name="connsiteX15" fmla="*/ 39917 w 539319"/>
                    <a:gd name="connsiteY15" fmla="*/ 232438 h 603244"/>
                    <a:gd name="connsiteX16" fmla="*/ 9826 w 539319"/>
                    <a:gd name="connsiteY16" fmla="*/ 261560 h 603244"/>
                    <a:gd name="connsiteX17" fmla="*/ 21556 w 539319"/>
                    <a:gd name="connsiteY17" fmla="*/ 222256 h 603244"/>
                    <a:gd name="connsiteX18" fmla="*/ 39917 w 539319"/>
                    <a:gd name="connsiteY18" fmla="*/ 232438 h 603244"/>
                    <a:gd name="connsiteX19" fmla="*/ 30067 w 539319"/>
                    <a:gd name="connsiteY19" fmla="*/ 265444 h 603244"/>
                    <a:gd name="connsiteX20" fmla="*/ 464753 w 539319"/>
                    <a:gd name="connsiteY20" fmla="*/ 588726 h 603244"/>
                    <a:gd name="connsiteX21" fmla="*/ 480966 w 539319"/>
                    <a:gd name="connsiteY21" fmla="*/ 603244 h 603244"/>
                    <a:gd name="connsiteX22" fmla="*/ 9826 w 539319"/>
                    <a:gd name="connsiteY22" fmla="*/ 261560 h 603244"/>
                    <a:gd name="connsiteX0" fmla="*/ 539319 w 539319"/>
                    <a:gd name="connsiteY0" fmla="*/ 82153 h 603244"/>
                    <a:gd name="connsiteX1" fmla="*/ 480966 w 539319"/>
                    <a:gd name="connsiteY1" fmla="*/ 603244 h 603244"/>
                    <a:gd name="connsiteX2" fmla="*/ 539319 w 539319"/>
                    <a:gd name="connsiteY2" fmla="*/ 82153 h 603244"/>
                    <a:gd name="connsiteX3" fmla="*/ 464753 w 539319"/>
                    <a:gd name="connsiteY3" fmla="*/ 588726 h 603244"/>
                    <a:gd name="connsiteX4" fmla="*/ 527269 w 539319"/>
                    <a:gd name="connsiteY4" fmla="*/ 98805 h 603244"/>
                    <a:gd name="connsiteX5" fmla="*/ 464753 w 539319"/>
                    <a:gd name="connsiteY5" fmla="*/ 588726 h 603244"/>
                    <a:gd name="connsiteX6" fmla="*/ 84720 w 539319"/>
                    <a:gd name="connsiteY6" fmla="*/ 110968 h 603244"/>
                    <a:gd name="connsiteX7" fmla="*/ 386978 w 539319"/>
                    <a:gd name="connsiteY7" fmla="*/ 5826 h 603244"/>
                    <a:gd name="connsiteX8" fmla="*/ 539319 w 539319"/>
                    <a:gd name="connsiteY8" fmla="*/ 82153 h 603244"/>
                    <a:gd name="connsiteX9" fmla="*/ 527269 w 539319"/>
                    <a:gd name="connsiteY9" fmla="*/ 98805 h 603244"/>
                    <a:gd name="connsiteX10" fmla="*/ 383095 w 539319"/>
                    <a:gd name="connsiteY10" fmla="*/ 26066 h 603244"/>
                    <a:gd name="connsiteX11" fmla="*/ 102960 w 539319"/>
                    <a:gd name="connsiteY11" fmla="*/ 121082 h 603244"/>
                    <a:gd name="connsiteX12" fmla="*/ 84720 w 539319"/>
                    <a:gd name="connsiteY12" fmla="*/ 110968 h 603244"/>
                    <a:gd name="connsiteX13" fmla="*/ 39917 w 539319"/>
                    <a:gd name="connsiteY13" fmla="*/ 232438 h 603244"/>
                    <a:gd name="connsiteX14" fmla="*/ 102960 w 539319"/>
                    <a:gd name="connsiteY14" fmla="*/ 121082 h 603244"/>
                    <a:gd name="connsiteX15" fmla="*/ 39917 w 539319"/>
                    <a:gd name="connsiteY15" fmla="*/ 232438 h 603244"/>
                    <a:gd name="connsiteX16" fmla="*/ 9826 w 539319"/>
                    <a:gd name="connsiteY16" fmla="*/ 261560 h 603244"/>
                    <a:gd name="connsiteX17" fmla="*/ 21556 w 539319"/>
                    <a:gd name="connsiteY17" fmla="*/ 222256 h 603244"/>
                    <a:gd name="connsiteX18" fmla="*/ 39917 w 539319"/>
                    <a:gd name="connsiteY18" fmla="*/ 232438 h 603244"/>
                    <a:gd name="connsiteX19" fmla="*/ 30067 w 539319"/>
                    <a:gd name="connsiteY19" fmla="*/ 265444 h 603244"/>
                    <a:gd name="connsiteX20" fmla="*/ 464753 w 539319"/>
                    <a:gd name="connsiteY20" fmla="*/ 588726 h 603244"/>
                    <a:gd name="connsiteX21" fmla="*/ 9826 w 539319"/>
                    <a:gd name="connsiteY21" fmla="*/ 261560 h 603244"/>
                    <a:gd name="connsiteX0" fmla="*/ 464753 w 539319"/>
                    <a:gd name="connsiteY0" fmla="*/ 588726 h 588726"/>
                    <a:gd name="connsiteX1" fmla="*/ 527269 w 539319"/>
                    <a:gd name="connsiteY1" fmla="*/ 98805 h 588726"/>
                    <a:gd name="connsiteX2" fmla="*/ 464753 w 539319"/>
                    <a:gd name="connsiteY2" fmla="*/ 588726 h 588726"/>
                    <a:gd name="connsiteX3" fmla="*/ 84720 w 539319"/>
                    <a:gd name="connsiteY3" fmla="*/ 110968 h 588726"/>
                    <a:gd name="connsiteX4" fmla="*/ 386978 w 539319"/>
                    <a:gd name="connsiteY4" fmla="*/ 5826 h 588726"/>
                    <a:gd name="connsiteX5" fmla="*/ 539319 w 539319"/>
                    <a:gd name="connsiteY5" fmla="*/ 82153 h 588726"/>
                    <a:gd name="connsiteX6" fmla="*/ 527269 w 539319"/>
                    <a:gd name="connsiteY6" fmla="*/ 98805 h 588726"/>
                    <a:gd name="connsiteX7" fmla="*/ 383095 w 539319"/>
                    <a:gd name="connsiteY7" fmla="*/ 26066 h 588726"/>
                    <a:gd name="connsiteX8" fmla="*/ 102960 w 539319"/>
                    <a:gd name="connsiteY8" fmla="*/ 121082 h 588726"/>
                    <a:gd name="connsiteX9" fmla="*/ 84720 w 539319"/>
                    <a:gd name="connsiteY9" fmla="*/ 110968 h 588726"/>
                    <a:gd name="connsiteX10" fmla="*/ 39917 w 539319"/>
                    <a:gd name="connsiteY10" fmla="*/ 232438 h 588726"/>
                    <a:gd name="connsiteX11" fmla="*/ 102960 w 539319"/>
                    <a:gd name="connsiteY11" fmla="*/ 121082 h 588726"/>
                    <a:gd name="connsiteX12" fmla="*/ 39917 w 539319"/>
                    <a:gd name="connsiteY12" fmla="*/ 232438 h 588726"/>
                    <a:gd name="connsiteX13" fmla="*/ 9826 w 539319"/>
                    <a:gd name="connsiteY13" fmla="*/ 261560 h 588726"/>
                    <a:gd name="connsiteX14" fmla="*/ 21556 w 539319"/>
                    <a:gd name="connsiteY14" fmla="*/ 222256 h 588726"/>
                    <a:gd name="connsiteX15" fmla="*/ 39917 w 539319"/>
                    <a:gd name="connsiteY15" fmla="*/ 232438 h 588726"/>
                    <a:gd name="connsiteX16" fmla="*/ 30067 w 539319"/>
                    <a:gd name="connsiteY16" fmla="*/ 265444 h 588726"/>
                    <a:gd name="connsiteX17" fmla="*/ 464753 w 539319"/>
                    <a:gd name="connsiteY17" fmla="*/ 588726 h 588726"/>
                    <a:gd name="connsiteX18" fmla="*/ 9826 w 539319"/>
                    <a:gd name="connsiteY18" fmla="*/ 261560 h 588726"/>
                    <a:gd name="connsiteX0" fmla="*/ 454927 w 529493"/>
                    <a:gd name="connsiteY0" fmla="*/ 588726 h 588726"/>
                    <a:gd name="connsiteX1" fmla="*/ 517443 w 529493"/>
                    <a:gd name="connsiteY1" fmla="*/ 98805 h 588726"/>
                    <a:gd name="connsiteX2" fmla="*/ 454927 w 529493"/>
                    <a:gd name="connsiteY2" fmla="*/ 588726 h 588726"/>
                    <a:gd name="connsiteX3" fmla="*/ 74894 w 529493"/>
                    <a:gd name="connsiteY3" fmla="*/ 110968 h 588726"/>
                    <a:gd name="connsiteX4" fmla="*/ 377152 w 529493"/>
                    <a:gd name="connsiteY4" fmla="*/ 5826 h 588726"/>
                    <a:gd name="connsiteX5" fmla="*/ 529493 w 529493"/>
                    <a:gd name="connsiteY5" fmla="*/ 82153 h 588726"/>
                    <a:gd name="connsiteX6" fmla="*/ 517443 w 529493"/>
                    <a:gd name="connsiteY6" fmla="*/ 98805 h 588726"/>
                    <a:gd name="connsiteX7" fmla="*/ 373269 w 529493"/>
                    <a:gd name="connsiteY7" fmla="*/ 26066 h 588726"/>
                    <a:gd name="connsiteX8" fmla="*/ 93134 w 529493"/>
                    <a:gd name="connsiteY8" fmla="*/ 121082 h 588726"/>
                    <a:gd name="connsiteX9" fmla="*/ 74894 w 529493"/>
                    <a:gd name="connsiteY9" fmla="*/ 110968 h 588726"/>
                    <a:gd name="connsiteX10" fmla="*/ 30091 w 529493"/>
                    <a:gd name="connsiteY10" fmla="*/ 232438 h 588726"/>
                    <a:gd name="connsiteX11" fmla="*/ 93134 w 529493"/>
                    <a:gd name="connsiteY11" fmla="*/ 121082 h 588726"/>
                    <a:gd name="connsiteX12" fmla="*/ 30091 w 529493"/>
                    <a:gd name="connsiteY12" fmla="*/ 232438 h 588726"/>
                    <a:gd name="connsiteX13" fmla="*/ 0 w 529493"/>
                    <a:gd name="connsiteY13" fmla="*/ 261560 h 588726"/>
                    <a:gd name="connsiteX14" fmla="*/ 11730 w 529493"/>
                    <a:gd name="connsiteY14" fmla="*/ 222256 h 588726"/>
                    <a:gd name="connsiteX15" fmla="*/ 30091 w 529493"/>
                    <a:gd name="connsiteY15" fmla="*/ 232438 h 588726"/>
                    <a:gd name="connsiteX16" fmla="*/ 20241 w 529493"/>
                    <a:gd name="connsiteY16" fmla="*/ 265444 h 588726"/>
                    <a:gd name="connsiteX17" fmla="*/ 0 w 529493"/>
                    <a:gd name="connsiteY17" fmla="*/ 261560 h 588726"/>
                    <a:gd name="connsiteX0" fmla="*/ 74894 w 529493"/>
                    <a:gd name="connsiteY0" fmla="*/ 110968 h 268249"/>
                    <a:gd name="connsiteX1" fmla="*/ 377152 w 529493"/>
                    <a:gd name="connsiteY1" fmla="*/ 5826 h 268249"/>
                    <a:gd name="connsiteX2" fmla="*/ 529493 w 529493"/>
                    <a:gd name="connsiteY2" fmla="*/ 82153 h 268249"/>
                    <a:gd name="connsiteX3" fmla="*/ 517443 w 529493"/>
                    <a:gd name="connsiteY3" fmla="*/ 98805 h 268249"/>
                    <a:gd name="connsiteX4" fmla="*/ 373269 w 529493"/>
                    <a:gd name="connsiteY4" fmla="*/ 26066 h 268249"/>
                    <a:gd name="connsiteX5" fmla="*/ 93134 w 529493"/>
                    <a:gd name="connsiteY5" fmla="*/ 121082 h 268249"/>
                    <a:gd name="connsiteX6" fmla="*/ 74894 w 529493"/>
                    <a:gd name="connsiteY6" fmla="*/ 110968 h 268249"/>
                    <a:gd name="connsiteX7" fmla="*/ 30091 w 529493"/>
                    <a:gd name="connsiteY7" fmla="*/ 232438 h 268249"/>
                    <a:gd name="connsiteX8" fmla="*/ 93134 w 529493"/>
                    <a:gd name="connsiteY8" fmla="*/ 121082 h 268249"/>
                    <a:gd name="connsiteX9" fmla="*/ 30091 w 529493"/>
                    <a:gd name="connsiteY9" fmla="*/ 232438 h 268249"/>
                    <a:gd name="connsiteX10" fmla="*/ 0 w 529493"/>
                    <a:gd name="connsiteY10" fmla="*/ 261560 h 268249"/>
                    <a:gd name="connsiteX11" fmla="*/ 11730 w 529493"/>
                    <a:gd name="connsiteY11" fmla="*/ 222256 h 268249"/>
                    <a:gd name="connsiteX12" fmla="*/ 30091 w 529493"/>
                    <a:gd name="connsiteY12" fmla="*/ 232438 h 268249"/>
                    <a:gd name="connsiteX13" fmla="*/ 20241 w 529493"/>
                    <a:gd name="connsiteY13" fmla="*/ 265444 h 268249"/>
                    <a:gd name="connsiteX14" fmla="*/ 0 w 529493"/>
                    <a:gd name="connsiteY14" fmla="*/ 261560 h 268249"/>
                    <a:gd name="connsiteX0" fmla="*/ 63408 w 518007"/>
                    <a:gd name="connsiteY0" fmla="*/ 110968 h 265528"/>
                    <a:gd name="connsiteX1" fmla="*/ 365666 w 518007"/>
                    <a:gd name="connsiteY1" fmla="*/ 5826 h 265528"/>
                    <a:gd name="connsiteX2" fmla="*/ 518007 w 518007"/>
                    <a:gd name="connsiteY2" fmla="*/ 82153 h 265528"/>
                    <a:gd name="connsiteX3" fmla="*/ 505957 w 518007"/>
                    <a:gd name="connsiteY3" fmla="*/ 98805 h 265528"/>
                    <a:gd name="connsiteX4" fmla="*/ 361783 w 518007"/>
                    <a:gd name="connsiteY4" fmla="*/ 26066 h 265528"/>
                    <a:gd name="connsiteX5" fmla="*/ 81648 w 518007"/>
                    <a:gd name="connsiteY5" fmla="*/ 121082 h 265528"/>
                    <a:gd name="connsiteX6" fmla="*/ 63408 w 518007"/>
                    <a:gd name="connsiteY6" fmla="*/ 110968 h 265528"/>
                    <a:gd name="connsiteX7" fmla="*/ 18605 w 518007"/>
                    <a:gd name="connsiteY7" fmla="*/ 232438 h 265528"/>
                    <a:gd name="connsiteX8" fmla="*/ 81648 w 518007"/>
                    <a:gd name="connsiteY8" fmla="*/ 121082 h 265528"/>
                    <a:gd name="connsiteX9" fmla="*/ 18605 w 518007"/>
                    <a:gd name="connsiteY9" fmla="*/ 232438 h 265528"/>
                    <a:gd name="connsiteX10" fmla="*/ 8755 w 518007"/>
                    <a:gd name="connsiteY10" fmla="*/ 265444 h 265528"/>
                    <a:gd name="connsiteX11" fmla="*/ 244 w 518007"/>
                    <a:gd name="connsiteY11" fmla="*/ 222256 h 265528"/>
                    <a:gd name="connsiteX12" fmla="*/ 18605 w 518007"/>
                    <a:gd name="connsiteY12" fmla="*/ 232438 h 265528"/>
                    <a:gd name="connsiteX13" fmla="*/ 8755 w 518007"/>
                    <a:gd name="connsiteY13" fmla="*/ 265444 h 265528"/>
                    <a:gd name="connsiteX0" fmla="*/ 63164 w 517763"/>
                    <a:gd name="connsiteY0" fmla="*/ 110968 h 232438"/>
                    <a:gd name="connsiteX1" fmla="*/ 365422 w 517763"/>
                    <a:gd name="connsiteY1" fmla="*/ 5826 h 232438"/>
                    <a:gd name="connsiteX2" fmla="*/ 517763 w 517763"/>
                    <a:gd name="connsiteY2" fmla="*/ 82153 h 232438"/>
                    <a:gd name="connsiteX3" fmla="*/ 505713 w 517763"/>
                    <a:gd name="connsiteY3" fmla="*/ 98805 h 232438"/>
                    <a:gd name="connsiteX4" fmla="*/ 361539 w 517763"/>
                    <a:gd name="connsiteY4" fmla="*/ 26066 h 232438"/>
                    <a:gd name="connsiteX5" fmla="*/ 81404 w 517763"/>
                    <a:gd name="connsiteY5" fmla="*/ 121082 h 232438"/>
                    <a:gd name="connsiteX6" fmla="*/ 63164 w 517763"/>
                    <a:gd name="connsiteY6" fmla="*/ 110968 h 232438"/>
                    <a:gd name="connsiteX7" fmla="*/ 18361 w 517763"/>
                    <a:gd name="connsiteY7" fmla="*/ 232438 h 232438"/>
                    <a:gd name="connsiteX8" fmla="*/ 81404 w 517763"/>
                    <a:gd name="connsiteY8" fmla="*/ 121082 h 232438"/>
                    <a:gd name="connsiteX9" fmla="*/ 18361 w 517763"/>
                    <a:gd name="connsiteY9" fmla="*/ 232438 h 232438"/>
                    <a:gd name="connsiteX10" fmla="*/ 18361 w 517763"/>
                    <a:gd name="connsiteY10" fmla="*/ 232438 h 232438"/>
                    <a:gd name="connsiteX11" fmla="*/ 0 w 517763"/>
                    <a:gd name="connsiteY11" fmla="*/ 222256 h 232438"/>
                    <a:gd name="connsiteX12" fmla="*/ 18361 w 517763"/>
                    <a:gd name="connsiteY12" fmla="*/ 232438 h 232438"/>
                    <a:gd name="connsiteX0" fmla="*/ 44803 w 499402"/>
                    <a:gd name="connsiteY0" fmla="*/ 110968 h 232438"/>
                    <a:gd name="connsiteX1" fmla="*/ 347061 w 499402"/>
                    <a:gd name="connsiteY1" fmla="*/ 5826 h 232438"/>
                    <a:gd name="connsiteX2" fmla="*/ 499402 w 499402"/>
                    <a:gd name="connsiteY2" fmla="*/ 82153 h 232438"/>
                    <a:gd name="connsiteX3" fmla="*/ 487352 w 499402"/>
                    <a:gd name="connsiteY3" fmla="*/ 98805 h 232438"/>
                    <a:gd name="connsiteX4" fmla="*/ 343178 w 499402"/>
                    <a:gd name="connsiteY4" fmla="*/ 26066 h 232438"/>
                    <a:gd name="connsiteX5" fmla="*/ 63043 w 499402"/>
                    <a:gd name="connsiteY5" fmla="*/ 121082 h 232438"/>
                    <a:gd name="connsiteX6" fmla="*/ 44803 w 499402"/>
                    <a:gd name="connsiteY6" fmla="*/ 110968 h 232438"/>
                    <a:gd name="connsiteX7" fmla="*/ 0 w 499402"/>
                    <a:gd name="connsiteY7" fmla="*/ 232438 h 232438"/>
                    <a:gd name="connsiteX8" fmla="*/ 63043 w 499402"/>
                    <a:gd name="connsiteY8" fmla="*/ 121082 h 232438"/>
                    <a:gd name="connsiteX9" fmla="*/ 0 w 499402"/>
                    <a:gd name="connsiteY9" fmla="*/ 232438 h 232438"/>
                    <a:gd name="connsiteX0" fmla="*/ 0 w 454599"/>
                    <a:gd name="connsiteY0" fmla="*/ 110968 h 121082"/>
                    <a:gd name="connsiteX1" fmla="*/ 302258 w 454599"/>
                    <a:gd name="connsiteY1" fmla="*/ 5826 h 121082"/>
                    <a:gd name="connsiteX2" fmla="*/ 454599 w 454599"/>
                    <a:gd name="connsiteY2" fmla="*/ 82153 h 121082"/>
                    <a:gd name="connsiteX3" fmla="*/ 442549 w 454599"/>
                    <a:gd name="connsiteY3" fmla="*/ 98805 h 121082"/>
                    <a:gd name="connsiteX4" fmla="*/ 298375 w 454599"/>
                    <a:gd name="connsiteY4" fmla="*/ 26066 h 121082"/>
                    <a:gd name="connsiteX5" fmla="*/ 18240 w 454599"/>
                    <a:gd name="connsiteY5" fmla="*/ 121082 h 121082"/>
                    <a:gd name="connsiteX6" fmla="*/ 0 w 454599"/>
                    <a:gd name="connsiteY6" fmla="*/ 110968 h 121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599" h="121082">
                      <a:moveTo>
                        <a:pt x="0" y="110968"/>
                      </a:moveTo>
                      <a:cubicBezTo>
                        <a:pt x="71906" y="26893"/>
                        <a:pt x="185770" y="-16522"/>
                        <a:pt x="302258" y="5826"/>
                      </a:cubicBezTo>
                      <a:cubicBezTo>
                        <a:pt x="361333" y="17159"/>
                        <a:pt x="413521" y="43954"/>
                        <a:pt x="454599" y="82153"/>
                      </a:cubicBezTo>
                      <a:lnTo>
                        <a:pt x="442549" y="98805"/>
                      </a:lnTo>
                      <a:cubicBezTo>
                        <a:pt x="403789" y="62410"/>
                        <a:pt x="354389" y="36813"/>
                        <a:pt x="298375" y="26066"/>
                      </a:cubicBezTo>
                      <a:cubicBezTo>
                        <a:pt x="190887" y="5446"/>
                        <a:pt x="85787" y="44644"/>
                        <a:pt x="18240" y="121082"/>
                      </a:cubicBezTo>
                      <a:lnTo>
                        <a:pt x="0" y="110968"/>
                      </a:lnTo>
                      <a:close/>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31" name="Rectangle 4"/>
                <p:cNvSpPr/>
                <p:nvPr/>
              </p:nvSpPr>
              <p:spPr>
                <a:xfrm rot="4748400">
                  <a:off x="1869462" y="1966071"/>
                  <a:ext cx="221656" cy="205058"/>
                </a:xfrm>
                <a:custGeom>
                  <a:avLst/>
                  <a:gdLst>
                    <a:gd name="connsiteX0" fmla="*/ 535323 w 664250"/>
                    <a:gd name="connsiteY0" fmla="*/ 137363 h 732344"/>
                    <a:gd name="connsiteX1" fmla="*/ 634727 w 664250"/>
                    <a:gd name="connsiteY1" fmla="*/ 0 h 732344"/>
                    <a:gd name="connsiteX2" fmla="*/ 559486 w 664250"/>
                    <a:gd name="connsiteY2" fmla="*/ 732344 h 732344"/>
                    <a:gd name="connsiteX3" fmla="*/ 476970 w 664250"/>
                    <a:gd name="connsiteY3" fmla="*/ 658454 h 732344"/>
                    <a:gd name="connsiteX4" fmla="*/ 638716 w 664250"/>
                    <a:gd name="connsiteY4" fmla="*/ 438188 h 732344"/>
                    <a:gd name="connsiteX5" fmla="*/ 535323 w 664250"/>
                    <a:gd name="connsiteY5" fmla="*/ 137363 h 732344"/>
                    <a:gd name="connsiteX6" fmla="*/ 460757 w 664250"/>
                    <a:gd name="connsiteY6" fmla="*/ 643936 h 732344"/>
                    <a:gd name="connsiteX7" fmla="*/ 402513 w 664250"/>
                    <a:gd name="connsiteY7" fmla="*/ 320889 h 732344"/>
                    <a:gd name="connsiteX8" fmla="*/ 523273 w 664250"/>
                    <a:gd name="connsiteY8" fmla="*/ 154015 h 732344"/>
                    <a:gd name="connsiteX9" fmla="*/ 618476 w 664250"/>
                    <a:gd name="connsiteY9" fmla="*/ 434305 h 732344"/>
                    <a:gd name="connsiteX10" fmla="*/ 460757 w 664250"/>
                    <a:gd name="connsiteY10" fmla="*/ 643936 h 732344"/>
                    <a:gd name="connsiteX11" fmla="*/ 80724 w 664250"/>
                    <a:gd name="connsiteY11" fmla="*/ 166178 h 732344"/>
                    <a:gd name="connsiteX12" fmla="*/ 382982 w 664250"/>
                    <a:gd name="connsiteY12" fmla="*/ 61036 h 732344"/>
                    <a:gd name="connsiteX13" fmla="*/ 535323 w 664250"/>
                    <a:gd name="connsiteY13" fmla="*/ 137363 h 732344"/>
                    <a:gd name="connsiteX14" fmla="*/ 523273 w 664250"/>
                    <a:gd name="connsiteY14" fmla="*/ 154015 h 732344"/>
                    <a:gd name="connsiteX15" fmla="*/ 379099 w 664250"/>
                    <a:gd name="connsiteY15" fmla="*/ 81276 h 732344"/>
                    <a:gd name="connsiteX16" fmla="*/ 98964 w 664250"/>
                    <a:gd name="connsiteY16" fmla="*/ 176292 h 732344"/>
                    <a:gd name="connsiteX17" fmla="*/ 80724 w 664250"/>
                    <a:gd name="connsiteY17" fmla="*/ 166178 h 732344"/>
                    <a:gd name="connsiteX18" fmla="*/ 35921 w 664250"/>
                    <a:gd name="connsiteY18" fmla="*/ 287648 h 732344"/>
                    <a:gd name="connsiteX19" fmla="*/ 98964 w 664250"/>
                    <a:gd name="connsiteY19" fmla="*/ 176292 h 732344"/>
                    <a:gd name="connsiteX20" fmla="*/ 35921 w 664250"/>
                    <a:gd name="connsiteY20" fmla="*/ 287648 h 732344"/>
                    <a:gd name="connsiteX21" fmla="*/ 5830 w 664250"/>
                    <a:gd name="connsiteY21" fmla="*/ 316770 h 732344"/>
                    <a:gd name="connsiteX22" fmla="*/ 17560 w 664250"/>
                    <a:gd name="connsiteY22" fmla="*/ 277466 h 732344"/>
                    <a:gd name="connsiteX23" fmla="*/ 35921 w 664250"/>
                    <a:gd name="connsiteY23" fmla="*/ 287648 h 732344"/>
                    <a:gd name="connsiteX24" fmla="*/ 26071 w 664250"/>
                    <a:gd name="connsiteY24" fmla="*/ 320654 h 732344"/>
                    <a:gd name="connsiteX25" fmla="*/ 265449 w 664250"/>
                    <a:gd name="connsiteY25" fmla="*/ 673681 h 732344"/>
                    <a:gd name="connsiteX26" fmla="*/ 460757 w 664250"/>
                    <a:gd name="connsiteY26" fmla="*/ 643936 h 732344"/>
                    <a:gd name="connsiteX27" fmla="*/ 476970 w 664250"/>
                    <a:gd name="connsiteY27" fmla="*/ 658454 h 732344"/>
                    <a:gd name="connsiteX28" fmla="*/ 261565 w 664250"/>
                    <a:gd name="connsiteY28" fmla="*/ 693922 h 732344"/>
                    <a:gd name="connsiteX29" fmla="*/ 5830 w 664250"/>
                    <a:gd name="connsiteY29" fmla="*/ 316770 h 732344"/>
                    <a:gd name="connsiteX0" fmla="*/ 535323 w 664250"/>
                    <a:gd name="connsiteY0" fmla="*/ 137363 h 732344"/>
                    <a:gd name="connsiteX1" fmla="*/ 634727 w 664250"/>
                    <a:gd name="connsiteY1" fmla="*/ 0 h 732344"/>
                    <a:gd name="connsiteX2" fmla="*/ 559486 w 664250"/>
                    <a:gd name="connsiteY2" fmla="*/ 732344 h 732344"/>
                    <a:gd name="connsiteX3" fmla="*/ 476970 w 664250"/>
                    <a:gd name="connsiteY3" fmla="*/ 658454 h 732344"/>
                    <a:gd name="connsiteX4" fmla="*/ 638716 w 664250"/>
                    <a:gd name="connsiteY4" fmla="*/ 438188 h 732344"/>
                    <a:gd name="connsiteX5" fmla="*/ 535323 w 664250"/>
                    <a:gd name="connsiteY5" fmla="*/ 137363 h 732344"/>
                    <a:gd name="connsiteX6" fmla="*/ 460757 w 664250"/>
                    <a:gd name="connsiteY6" fmla="*/ 643936 h 732344"/>
                    <a:gd name="connsiteX7" fmla="*/ 523273 w 664250"/>
                    <a:gd name="connsiteY7" fmla="*/ 154015 h 732344"/>
                    <a:gd name="connsiteX8" fmla="*/ 618476 w 664250"/>
                    <a:gd name="connsiteY8" fmla="*/ 434305 h 732344"/>
                    <a:gd name="connsiteX9" fmla="*/ 460757 w 664250"/>
                    <a:gd name="connsiteY9" fmla="*/ 643936 h 732344"/>
                    <a:gd name="connsiteX10" fmla="*/ 80724 w 664250"/>
                    <a:gd name="connsiteY10" fmla="*/ 166178 h 732344"/>
                    <a:gd name="connsiteX11" fmla="*/ 382982 w 664250"/>
                    <a:gd name="connsiteY11" fmla="*/ 61036 h 732344"/>
                    <a:gd name="connsiteX12" fmla="*/ 535323 w 664250"/>
                    <a:gd name="connsiteY12" fmla="*/ 137363 h 732344"/>
                    <a:gd name="connsiteX13" fmla="*/ 523273 w 664250"/>
                    <a:gd name="connsiteY13" fmla="*/ 154015 h 732344"/>
                    <a:gd name="connsiteX14" fmla="*/ 379099 w 664250"/>
                    <a:gd name="connsiteY14" fmla="*/ 81276 h 732344"/>
                    <a:gd name="connsiteX15" fmla="*/ 98964 w 664250"/>
                    <a:gd name="connsiteY15" fmla="*/ 176292 h 732344"/>
                    <a:gd name="connsiteX16" fmla="*/ 80724 w 664250"/>
                    <a:gd name="connsiteY16" fmla="*/ 166178 h 732344"/>
                    <a:gd name="connsiteX17" fmla="*/ 35921 w 664250"/>
                    <a:gd name="connsiteY17" fmla="*/ 287648 h 732344"/>
                    <a:gd name="connsiteX18" fmla="*/ 98964 w 664250"/>
                    <a:gd name="connsiteY18" fmla="*/ 176292 h 732344"/>
                    <a:gd name="connsiteX19" fmla="*/ 35921 w 664250"/>
                    <a:gd name="connsiteY19" fmla="*/ 287648 h 732344"/>
                    <a:gd name="connsiteX20" fmla="*/ 5830 w 664250"/>
                    <a:gd name="connsiteY20" fmla="*/ 316770 h 732344"/>
                    <a:gd name="connsiteX21" fmla="*/ 17560 w 664250"/>
                    <a:gd name="connsiteY21" fmla="*/ 277466 h 732344"/>
                    <a:gd name="connsiteX22" fmla="*/ 35921 w 664250"/>
                    <a:gd name="connsiteY22" fmla="*/ 287648 h 732344"/>
                    <a:gd name="connsiteX23" fmla="*/ 26071 w 664250"/>
                    <a:gd name="connsiteY23" fmla="*/ 320654 h 732344"/>
                    <a:gd name="connsiteX24" fmla="*/ 265449 w 664250"/>
                    <a:gd name="connsiteY24" fmla="*/ 673681 h 732344"/>
                    <a:gd name="connsiteX25" fmla="*/ 460757 w 664250"/>
                    <a:gd name="connsiteY25" fmla="*/ 643936 h 732344"/>
                    <a:gd name="connsiteX26" fmla="*/ 476970 w 664250"/>
                    <a:gd name="connsiteY26" fmla="*/ 658454 h 732344"/>
                    <a:gd name="connsiteX27" fmla="*/ 261565 w 664250"/>
                    <a:gd name="connsiteY27" fmla="*/ 693922 h 732344"/>
                    <a:gd name="connsiteX28" fmla="*/ 5830 w 664250"/>
                    <a:gd name="connsiteY28" fmla="*/ 316770 h 732344"/>
                    <a:gd name="connsiteX0" fmla="*/ 535323 w 644541"/>
                    <a:gd name="connsiteY0" fmla="*/ 82153 h 677134"/>
                    <a:gd name="connsiteX1" fmla="*/ 559486 w 644541"/>
                    <a:gd name="connsiteY1" fmla="*/ 677134 h 677134"/>
                    <a:gd name="connsiteX2" fmla="*/ 476970 w 644541"/>
                    <a:gd name="connsiteY2" fmla="*/ 603244 h 677134"/>
                    <a:gd name="connsiteX3" fmla="*/ 638716 w 644541"/>
                    <a:gd name="connsiteY3" fmla="*/ 382978 h 677134"/>
                    <a:gd name="connsiteX4" fmla="*/ 535323 w 644541"/>
                    <a:gd name="connsiteY4" fmla="*/ 82153 h 677134"/>
                    <a:gd name="connsiteX5" fmla="*/ 460757 w 644541"/>
                    <a:gd name="connsiteY5" fmla="*/ 588726 h 677134"/>
                    <a:gd name="connsiteX6" fmla="*/ 523273 w 644541"/>
                    <a:gd name="connsiteY6" fmla="*/ 98805 h 677134"/>
                    <a:gd name="connsiteX7" fmla="*/ 618476 w 644541"/>
                    <a:gd name="connsiteY7" fmla="*/ 379095 h 677134"/>
                    <a:gd name="connsiteX8" fmla="*/ 460757 w 644541"/>
                    <a:gd name="connsiteY8" fmla="*/ 588726 h 677134"/>
                    <a:gd name="connsiteX9" fmla="*/ 80724 w 644541"/>
                    <a:gd name="connsiteY9" fmla="*/ 110968 h 677134"/>
                    <a:gd name="connsiteX10" fmla="*/ 382982 w 644541"/>
                    <a:gd name="connsiteY10" fmla="*/ 5826 h 677134"/>
                    <a:gd name="connsiteX11" fmla="*/ 535323 w 644541"/>
                    <a:gd name="connsiteY11" fmla="*/ 82153 h 677134"/>
                    <a:gd name="connsiteX12" fmla="*/ 523273 w 644541"/>
                    <a:gd name="connsiteY12" fmla="*/ 98805 h 677134"/>
                    <a:gd name="connsiteX13" fmla="*/ 379099 w 644541"/>
                    <a:gd name="connsiteY13" fmla="*/ 26066 h 677134"/>
                    <a:gd name="connsiteX14" fmla="*/ 98964 w 644541"/>
                    <a:gd name="connsiteY14" fmla="*/ 121082 h 677134"/>
                    <a:gd name="connsiteX15" fmla="*/ 80724 w 644541"/>
                    <a:gd name="connsiteY15" fmla="*/ 110968 h 677134"/>
                    <a:gd name="connsiteX16" fmla="*/ 35921 w 644541"/>
                    <a:gd name="connsiteY16" fmla="*/ 232438 h 677134"/>
                    <a:gd name="connsiteX17" fmla="*/ 98964 w 644541"/>
                    <a:gd name="connsiteY17" fmla="*/ 121082 h 677134"/>
                    <a:gd name="connsiteX18" fmla="*/ 35921 w 644541"/>
                    <a:gd name="connsiteY18" fmla="*/ 232438 h 677134"/>
                    <a:gd name="connsiteX19" fmla="*/ 5830 w 644541"/>
                    <a:gd name="connsiteY19" fmla="*/ 261560 h 677134"/>
                    <a:gd name="connsiteX20" fmla="*/ 17560 w 644541"/>
                    <a:gd name="connsiteY20" fmla="*/ 222256 h 677134"/>
                    <a:gd name="connsiteX21" fmla="*/ 35921 w 644541"/>
                    <a:gd name="connsiteY21" fmla="*/ 232438 h 677134"/>
                    <a:gd name="connsiteX22" fmla="*/ 26071 w 644541"/>
                    <a:gd name="connsiteY22" fmla="*/ 265444 h 677134"/>
                    <a:gd name="connsiteX23" fmla="*/ 265449 w 644541"/>
                    <a:gd name="connsiteY23" fmla="*/ 618471 h 677134"/>
                    <a:gd name="connsiteX24" fmla="*/ 460757 w 644541"/>
                    <a:gd name="connsiteY24" fmla="*/ 588726 h 677134"/>
                    <a:gd name="connsiteX25" fmla="*/ 476970 w 644541"/>
                    <a:gd name="connsiteY25" fmla="*/ 603244 h 677134"/>
                    <a:gd name="connsiteX26" fmla="*/ 261565 w 644541"/>
                    <a:gd name="connsiteY26" fmla="*/ 638712 h 677134"/>
                    <a:gd name="connsiteX27" fmla="*/ 5830 w 644541"/>
                    <a:gd name="connsiteY27" fmla="*/ 261560 h 677134"/>
                    <a:gd name="connsiteX0" fmla="*/ 535323 w 644541"/>
                    <a:gd name="connsiteY0" fmla="*/ 82153 h 644518"/>
                    <a:gd name="connsiteX1" fmla="*/ 476970 w 644541"/>
                    <a:gd name="connsiteY1" fmla="*/ 603244 h 644518"/>
                    <a:gd name="connsiteX2" fmla="*/ 638716 w 644541"/>
                    <a:gd name="connsiteY2" fmla="*/ 382978 h 644518"/>
                    <a:gd name="connsiteX3" fmla="*/ 535323 w 644541"/>
                    <a:gd name="connsiteY3" fmla="*/ 82153 h 644518"/>
                    <a:gd name="connsiteX4" fmla="*/ 460757 w 644541"/>
                    <a:gd name="connsiteY4" fmla="*/ 588726 h 644518"/>
                    <a:gd name="connsiteX5" fmla="*/ 523273 w 644541"/>
                    <a:gd name="connsiteY5" fmla="*/ 98805 h 644518"/>
                    <a:gd name="connsiteX6" fmla="*/ 618476 w 644541"/>
                    <a:gd name="connsiteY6" fmla="*/ 379095 h 644518"/>
                    <a:gd name="connsiteX7" fmla="*/ 460757 w 644541"/>
                    <a:gd name="connsiteY7" fmla="*/ 588726 h 644518"/>
                    <a:gd name="connsiteX8" fmla="*/ 80724 w 644541"/>
                    <a:gd name="connsiteY8" fmla="*/ 110968 h 644518"/>
                    <a:gd name="connsiteX9" fmla="*/ 382982 w 644541"/>
                    <a:gd name="connsiteY9" fmla="*/ 5826 h 644518"/>
                    <a:gd name="connsiteX10" fmla="*/ 535323 w 644541"/>
                    <a:gd name="connsiteY10" fmla="*/ 82153 h 644518"/>
                    <a:gd name="connsiteX11" fmla="*/ 523273 w 644541"/>
                    <a:gd name="connsiteY11" fmla="*/ 98805 h 644518"/>
                    <a:gd name="connsiteX12" fmla="*/ 379099 w 644541"/>
                    <a:gd name="connsiteY12" fmla="*/ 26066 h 644518"/>
                    <a:gd name="connsiteX13" fmla="*/ 98964 w 644541"/>
                    <a:gd name="connsiteY13" fmla="*/ 121082 h 644518"/>
                    <a:gd name="connsiteX14" fmla="*/ 80724 w 644541"/>
                    <a:gd name="connsiteY14" fmla="*/ 110968 h 644518"/>
                    <a:gd name="connsiteX15" fmla="*/ 35921 w 644541"/>
                    <a:gd name="connsiteY15" fmla="*/ 232438 h 644518"/>
                    <a:gd name="connsiteX16" fmla="*/ 98964 w 644541"/>
                    <a:gd name="connsiteY16" fmla="*/ 121082 h 644518"/>
                    <a:gd name="connsiteX17" fmla="*/ 35921 w 644541"/>
                    <a:gd name="connsiteY17" fmla="*/ 232438 h 644518"/>
                    <a:gd name="connsiteX18" fmla="*/ 5830 w 644541"/>
                    <a:gd name="connsiteY18" fmla="*/ 261560 h 644518"/>
                    <a:gd name="connsiteX19" fmla="*/ 17560 w 644541"/>
                    <a:gd name="connsiteY19" fmla="*/ 222256 h 644518"/>
                    <a:gd name="connsiteX20" fmla="*/ 35921 w 644541"/>
                    <a:gd name="connsiteY20" fmla="*/ 232438 h 644518"/>
                    <a:gd name="connsiteX21" fmla="*/ 26071 w 644541"/>
                    <a:gd name="connsiteY21" fmla="*/ 265444 h 644518"/>
                    <a:gd name="connsiteX22" fmla="*/ 265449 w 644541"/>
                    <a:gd name="connsiteY22" fmla="*/ 618471 h 644518"/>
                    <a:gd name="connsiteX23" fmla="*/ 460757 w 644541"/>
                    <a:gd name="connsiteY23" fmla="*/ 588726 h 644518"/>
                    <a:gd name="connsiteX24" fmla="*/ 476970 w 644541"/>
                    <a:gd name="connsiteY24" fmla="*/ 603244 h 644518"/>
                    <a:gd name="connsiteX25" fmla="*/ 261565 w 644541"/>
                    <a:gd name="connsiteY25" fmla="*/ 638712 h 644518"/>
                    <a:gd name="connsiteX26" fmla="*/ 5830 w 644541"/>
                    <a:gd name="connsiteY26" fmla="*/ 261560 h 644518"/>
                    <a:gd name="connsiteX0" fmla="*/ 535323 w 644541"/>
                    <a:gd name="connsiteY0" fmla="*/ 76327 h 638692"/>
                    <a:gd name="connsiteX1" fmla="*/ 476970 w 644541"/>
                    <a:gd name="connsiteY1" fmla="*/ 597418 h 638692"/>
                    <a:gd name="connsiteX2" fmla="*/ 638716 w 644541"/>
                    <a:gd name="connsiteY2" fmla="*/ 377152 h 638692"/>
                    <a:gd name="connsiteX3" fmla="*/ 535323 w 644541"/>
                    <a:gd name="connsiteY3" fmla="*/ 76327 h 638692"/>
                    <a:gd name="connsiteX4" fmla="*/ 460757 w 644541"/>
                    <a:gd name="connsiteY4" fmla="*/ 582900 h 638692"/>
                    <a:gd name="connsiteX5" fmla="*/ 523273 w 644541"/>
                    <a:gd name="connsiteY5" fmla="*/ 92979 h 638692"/>
                    <a:gd name="connsiteX6" fmla="*/ 618476 w 644541"/>
                    <a:gd name="connsiteY6" fmla="*/ 373269 h 638692"/>
                    <a:gd name="connsiteX7" fmla="*/ 460757 w 644541"/>
                    <a:gd name="connsiteY7" fmla="*/ 582900 h 638692"/>
                    <a:gd name="connsiteX8" fmla="*/ 98964 w 644541"/>
                    <a:gd name="connsiteY8" fmla="*/ 115256 h 638692"/>
                    <a:gd name="connsiteX9" fmla="*/ 382982 w 644541"/>
                    <a:gd name="connsiteY9" fmla="*/ 0 h 638692"/>
                    <a:gd name="connsiteX10" fmla="*/ 535323 w 644541"/>
                    <a:gd name="connsiteY10" fmla="*/ 76327 h 638692"/>
                    <a:gd name="connsiteX11" fmla="*/ 523273 w 644541"/>
                    <a:gd name="connsiteY11" fmla="*/ 92979 h 638692"/>
                    <a:gd name="connsiteX12" fmla="*/ 379099 w 644541"/>
                    <a:gd name="connsiteY12" fmla="*/ 20240 h 638692"/>
                    <a:gd name="connsiteX13" fmla="*/ 98964 w 644541"/>
                    <a:gd name="connsiteY13" fmla="*/ 115256 h 638692"/>
                    <a:gd name="connsiteX14" fmla="*/ 35921 w 644541"/>
                    <a:gd name="connsiteY14" fmla="*/ 226612 h 638692"/>
                    <a:gd name="connsiteX15" fmla="*/ 98964 w 644541"/>
                    <a:gd name="connsiteY15" fmla="*/ 115256 h 638692"/>
                    <a:gd name="connsiteX16" fmla="*/ 35921 w 644541"/>
                    <a:gd name="connsiteY16" fmla="*/ 226612 h 638692"/>
                    <a:gd name="connsiteX17" fmla="*/ 5830 w 644541"/>
                    <a:gd name="connsiteY17" fmla="*/ 255734 h 638692"/>
                    <a:gd name="connsiteX18" fmla="*/ 17560 w 644541"/>
                    <a:gd name="connsiteY18" fmla="*/ 216430 h 638692"/>
                    <a:gd name="connsiteX19" fmla="*/ 35921 w 644541"/>
                    <a:gd name="connsiteY19" fmla="*/ 226612 h 638692"/>
                    <a:gd name="connsiteX20" fmla="*/ 26071 w 644541"/>
                    <a:gd name="connsiteY20" fmla="*/ 259618 h 638692"/>
                    <a:gd name="connsiteX21" fmla="*/ 265449 w 644541"/>
                    <a:gd name="connsiteY21" fmla="*/ 612645 h 638692"/>
                    <a:gd name="connsiteX22" fmla="*/ 460757 w 644541"/>
                    <a:gd name="connsiteY22" fmla="*/ 582900 h 638692"/>
                    <a:gd name="connsiteX23" fmla="*/ 476970 w 644541"/>
                    <a:gd name="connsiteY23" fmla="*/ 597418 h 638692"/>
                    <a:gd name="connsiteX24" fmla="*/ 261565 w 644541"/>
                    <a:gd name="connsiteY24" fmla="*/ 632886 h 638692"/>
                    <a:gd name="connsiteX25" fmla="*/ 5830 w 644541"/>
                    <a:gd name="connsiteY25" fmla="*/ 255734 h 638692"/>
                    <a:gd name="connsiteX0" fmla="*/ 535323 w 644541"/>
                    <a:gd name="connsiteY0" fmla="*/ 76327 h 638692"/>
                    <a:gd name="connsiteX1" fmla="*/ 476970 w 644541"/>
                    <a:gd name="connsiteY1" fmla="*/ 597418 h 638692"/>
                    <a:gd name="connsiteX2" fmla="*/ 638716 w 644541"/>
                    <a:gd name="connsiteY2" fmla="*/ 377152 h 638692"/>
                    <a:gd name="connsiteX3" fmla="*/ 535323 w 644541"/>
                    <a:gd name="connsiteY3" fmla="*/ 76327 h 638692"/>
                    <a:gd name="connsiteX4" fmla="*/ 460757 w 644541"/>
                    <a:gd name="connsiteY4" fmla="*/ 582900 h 638692"/>
                    <a:gd name="connsiteX5" fmla="*/ 523273 w 644541"/>
                    <a:gd name="connsiteY5" fmla="*/ 92979 h 638692"/>
                    <a:gd name="connsiteX6" fmla="*/ 618476 w 644541"/>
                    <a:gd name="connsiteY6" fmla="*/ 373269 h 638692"/>
                    <a:gd name="connsiteX7" fmla="*/ 460757 w 644541"/>
                    <a:gd name="connsiteY7" fmla="*/ 582900 h 638692"/>
                    <a:gd name="connsiteX8" fmla="*/ 98964 w 644541"/>
                    <a:gd name="connsiteY8" fmla="*/ 115256 h 638692"/>
                    <a:gd name="connsiteX9" fmla="*/ 382982 w 644541"/>
                    <a:gd name="connsiteY9" fmla="*/ 0 h 638692"/>
                    <a:gd name="connsiteX10" fmla="*/ 535323 w 644541"/>
                    <a:gd name="connsiteY10" fmla="*/ 76327 h 638692"/>
                    <a:gd name="connsiteX11" fmla="*/ 523273 w 644541"/>
                    <a:gd name="connsiteY11" fmla="*/ 92979 h 638692"/>
                    <a:gd name="connsiteX12" fmla="*/ 379099 w 644541"/>
                    <a:gd name="connsiteY12" fmla="*/ 20240 h 638692"/>
                    <a:gd name="connsiteX13" fmla="*/ 98964 w 644541"/>
                    <a:gd name="connsiteY13" fmla="*/ 115256 h 638692"/>
                    <a:gd name="connsiteX14" fmla="*/ 5830 w 644541"/>
                    <a:gd name="connsiteY14" fmla="*/ 255734 h 638692"/>
                    <a:gd name="connsiteX15" fmla="*/ 17560 w 644541"/>
                    <a:gd name="connsiteY15" fmla="*/ 216430 h 638692"/>
                    <a:gd name="connsiteX16" fmla="*/ 35921 w 644541"/>
                    <a:gd name="connsiteY16" fmla="*/ 226612 h 638692"/>
                    <a:gd name="connsiteX17" fmla="*/ 26071 w 644541"/>
                    <a:gd name="connsiteY17" fmla="*/ 259618 h 638692"/>
                    <a:gd name="connsiteX18" fmla="*/ 265449 w 644541"/>
                    <a:gd name="connsiteY18" fmla="*/ 612645 h 638692"/>
                    <a:gd name="connsiteX19" fmla="*/ 460757 w 644541"/>
                    <a:gd name="connsiteY19" fmla="*/ 582900 h 638692"/>
                    <a:gd name="connsiteX20" fmla="*/ 476970 w 644541"/>
                    <a:gd name="connsiteY20" fmla="*/ 597418 h 638692"/>
                    <a:gd name="connsiteX21" fmla="*/ 261565 w 644541"/>
                    <a:gd name="connsiteY21" fmla="*/ 632886 h 638692"/>
                    <a:gd name="connsiteX22" fmla="*/ 5830 w 644541"/>
                    <a:gd name="connsiteY22" fmla="*/ 255734 h 638692"/>
                    <a:gd name="connsiteX0" fmla="*/ 535323 w 644541"/>
                    <a:gd name="connsiteY0" fmla="*/ 79328 h 641693"/>
                    <a:gd name="connsiteX1" fmla="*/ 476970 w 644541"/>
                    <a:gd name="connsiteY1" fmla="*/ 600419 h 641693"/>
                    <a:gd name="connsiteX2" fmla="*/ 638716 w 644541"/>
                    <a:gd name="connsiteY2" fmla="*/ 380153 h 641693"/>
                    <a:gd name="connsiteX3" fmla="*/ 535323 w 644541"/>
                    <a:gd name="connsiteY3" fmla="*/ 79328 h 641693"/>
                    <a:gd name="connsiteX4" fmla="*/ 460757 w 644541"/>
                    <a:gd name="connsiteY4" fmla="*/ 585901 h 641693"/>
                    <a:gd name="connsiteX5" fmla="*/ 523273 w 644541"/>
                    <a:gd name="connsiteY5" fmla="*/ 95980 h 641693"/>
                    <a:gd name="connsiteX6" fmla="*/ 618476 w 644541"/>
                    <a:gd name="connsiteY6" fmla="*/ 376270 h 641693"/>
                    <a:gd name="connsiteX7" fmla="*/ 460757 w 644541"/>
                    <a:gd name="connsiteY7" fmla="*/ 585901 h 641693"/>
                    <a:gd name="connsiteX8" fmla="*/ 379099 w 644541"/>
                    <a:gd name="connsiteY8" fmla="*/ 23241 h 641693"/>
                    <a:gd name="connsiteX9" fmla="*/ 382982 w 644541"/>
                    <a:gd name="connsiteY9" fmla="*/ 3001 h 641693"/>
                    <a:gd name="connsiteX10" fmla="*/ 535323 w 644541"/>
                    <a:gd name="connsiteY10" fmla="*/ 79328 h 641693"/>
                    <a:gd name="connsiteX11" fmla="*/ 523273 w 644541"/>
                    <a:gd name="connsiteY11" fmla="*/ 95980 h 641693"/>
                    <a:gd name="connsiteX12" fmla="*/ 379099 w 644541"/>
                    <a:gd name="connsiteY12" fmla="*/ 23241 h 641693"/>
                    <a:gd name="connsiteX13" fmla="*/ 5830 w 644541"/>
                    <a:gd name="connsiteY13" fmla="*/ 258735 h 641693"/>
                    <a:gd name="connsiteX14" fmla="*/ 17560 w 644541"/>
                    <a:gd name="connsiteY14" fmla="*/ 219431 h 641693"/>
                    <a:gd name="connsiteX15" fmla="*/ 35921 w 644541"/>
                    <a:gd name="connsiteY15" fmla="*/ 229613 h 641693"/>
                    <a:gd name="connsiteX16" fmla="*/ 26071 w 644541"/>
                    <a:gd name="connsiteY16" fmla="*/ 262619 h 641693"/>
                    <a:gd name="connsiteX17" fmla="*/ 265449 w 644541"/>
                    <a:gd name="connsiteY17" fmla="*/ 615646 h 641693"/>
                    <a:gd name="connsiteX18" fmla="*/ 460757 w 644541"/>
                    <a:gd name="connsiteY18" fmla="*/ 585901 h 641693"/>
                    <a:gd name="connsiteX19" fmla="*/ 476970 w 644541"/>
                    <a:gd name="connsiteY19" fmla="*/ 600419 h 641693"/>
                    <a:gd name="connsiteX20" fmla="*/ 261565 w 644541"/>
                    <a:gd name="connsiteY20" fmla="*/ 635887 h 641693"/>
                    <a:gd name="connsiteX21" fmla="*/ 5830 w 644541"/>
                    <a:gd name="connsiteY21" fmla="*/ 258735 h 641693"/>
                    <a:gd name="connsiteX0" fmla="*/ 535323 w 644541"/>
                    <a:gd name="connsiteY0" fmla="*/ 56206 h 618571"/>
                    <a:gd name="connsiteX1" fmla="*/ 476970 w 644541"/>
                    <a:gd name="connsiteY1" fmla="*/ 577297 h 618571"/>
                    <a:gd name="connsiteX2" fmla="*/ 638716 w 644541"/>
                    <a:gd name="connsiteY2" fmla="*/ 357031 h 618571"/>
                    <a:gd name="connsiteX3" fmla="*/ 535323 w 644541"/>
                    <a:gd name="connsiteY3" fmla="*/ 56206 h 618571"/>
                    <a:gd name="connsiteX4" fmla="*/ 460757 w 644541"/>
                    <a:gd name="connsiteY4" fmla="*/ 562779 h 618571"/>
                    <a:gd name="connsiteX5" fmla="*/ 523273 w 644541"/>
                    <a:gd name="connsiteY5" fmla="*/ 72858 h 618571"/>
                    <a:gd name="connsiteX6" fmla="*/ 618476 w 644541"/>
                    <a:gd name="connsiteY6" fmla="*/ 353148 h 618571"/>
                    <a:gd name="connsiteX7" fmla="*/ 460757 w 644541"/>
                    <a:gd name="connsiteY7" fmla="*/ 562779 h 618571"/>
                    <a:gd name="connsiteX8" fmla="*/ 379099 w 644541"/>
                    <a:gd name="connsiteY8" fmla="*/ 119 h 618571"/>
                    <a:gd name="connsiteX9" fmla="*/ 535323 w 644541"/>
                    <a:gd name="connsiteY9" fmla="*/ 56206 h 618571"/>
                    <a:gd name="connsiteX10" fmla="*/ 523273 w 644541"/>
                    <a:gd name="connsiteY10" fmla="*/ 72858 h 618571"/>
                    <a:gd name="connsiteX11" fmla="*/ 379099 w 644541"/>
                    <a:gd name="connsiteY11" fmla="*/ 119 h 618571"/>
                    <a:gd name="connsiteX12" fmla="*/ 5830 w 644541"/>
                    <a:gd name="connsiteY12" fmla="*/ 235613 h 618571"/>
                    <a:gd name="connsiteX13" fmla="*/ 17560 w 644541"/>
                    <a:gd name="connsiteY13" fmla="*/ 196309 h 618571"/>
                    <a:gd name="connsiteX14" fmla="*/ 35921 w 644541"/>
                    <a:gd name="connsiteY14" fmla="*/ 206491 h 618571"/>
                    <a:gd name="connsiteX15" fmla="*/ 26071 w 644541"/>
                    <a:gd name="connsiteY15" fmla="*/ 239497 h 618571"/>
                    <a:gd name="connsiteX16" fmla="*/ 265449 w 644541"/>
                    <a:gd name="connsiteY16" fmla="*/ 592524 h 618571"/>
                    <a:gd name="connsiteX17" fmla="*/ 460757 w 644541"/>
                    <a:gd name="connsiteY17" fmla="*/ 562779 h 618571"/>
                    <a:gd name="connsiteX18" fmla="*/ 476970 w 644541"/>
                    <a:gd name="connsiteY18" fmla="*/ 577297 h 618571"/>
                    <a:gd name="connsiteX19" fmla="*/ 261565 w 644541"/>
                    <a:gd name="connsiteY19" fmla="*/ 612765 h 618571"/>
                    <a:gd name="connsiteX20" fmla="*/ 5830 w 644541"/>
                    <a:gd name="connsiteY20" fmla="*/ 235613 h 618571"/>
                    <a:gd name="connsiteX0" fmla="*/ 535323 w 644541"/>
                    <a:gd name="connsiteY0" fmla="*/ 0 h 562365"/>
                    <a:gd name="connsiteX1" fmla="*/ 476970 w 644541"/>
                    <a:gd name="connsiteY1" fmla="*/ 521091 h 562365"/>
                    <a:gd name="connsiteX2" fmla="*/ 638716 w 644541"/>
                    <a:gd name="connsiteY2" fmla="*/ 300825 h 562365"/>
                    <a:gd name="connsiteX3" fmla="*/ 535323 w 644541"/>
                    <a:gd name="connsiteY3" fmla="*/ 0 h 562365"/>
                    <a:gd name="connsiteX4" fmla="*/ 460757 w 644541"/>
                    <a:gd name="connsiteY4" fmla="*/ 506573 h 562365"/>
                    <a:gd name="connsiteX5" fmla="*/ 523273 w 644541"/>
                    <a:gd name="connsiteY5" fmla="*/ 16652 h 562365"/>
                    <a:gd name="connsiteX6" fmla="*/ 618476 w 644541"/>
                    <a:gd name="connsiteY6" fmla="*/ 296942 h 562365"/>
                    <a:gd name="connsiteX7" fmla="*/ 460757 w 644541"/>
                    <a:gd name="connsiteY7" fmla="*/ 506573 h 562365"/>
                    <a:gd name="connsiteX8" fmla="*/ 523273 w 644541"/>
                    <a:gd name="connsiteY8" fmla="*/ 16652 h 562365"/>
                    <a:gd name="connsiteX9" fmla="*/ 535323 w 644541"/>
                    <a:gd name="connsiteY9" fmla="*/ 0 h 562365"/>
                    <a:gd name="connsiteX10" fmla="*/ 523273 w 644541"/>
                    <a:gd name="connsiteY10" fmla="*/ 16652 h 562365"/>
                    <a:gd name="connsiteX11" fmla="*/ 5830 w 644541"/>
                    <a:gd name="connsiteY11" fmla="*/ 179407 h 562365"/>
                    <a:gd name="connsiteX12" fmla="*/ 17560 w 644541"/>
                    <a:gd name="connsiteY12" fmla="*/ 140103 h 562365"/>
                    <a:gd name="connsiteX13" fmla="*/ 35921 w 644541"/>
                    <a:gd name="connsiteY13" fmla="*/ 150285 h 562365"/>
                    <a:gd name="connsiteX14" fmla="*/ 26071 w 644541"/>
                    <a:gd name="connsiteY14" fmla="*/ 183291 h 562365"/>
                    <a:gd name="connsiteX15" fmla="*/ 265449 w 644541"/>
                    <a:gd name="connsiteY15" fmla="*/ 536318 h 562365"/>
                    <a:gd name="connsiteX16" fmla="*/ 460757 w 644541"/>
                    <a:gd name="connsiteY16" fmla="*/ 506573 h 562365"/>
                    <a:gd name="connsiteX17" fmla="*/ 476970 w 644541"/>
                    <a:gd name="connsiteY17" fmla="*/ 521091 h 562365"/>
                    <a:gd name="connsiteX18" fmla="*/ 261565 w 644541"/>
                    <a:gd name="connsiteY18" fmla="*/ 556559 h 562365"/>
                    <a:gd name="connsiteX19" fmla="*/ 5830 w 644541"/>
                    <a:gd name="connsiteY19" fmla="*/ 179407 h 562365"/>
                    <a:gd name="connsiteX0" fmla="*/ 535323 w 644541"/>
                    <a:gd name="connsiteY0" fmla="*/ 0 h 562365"/>
                    <a:gd name="connsiteX1" fmla="*/ 476970 w 644541"/>
                    <a:gd name="connsiteY1" fmla="*/ 521091 h 562365"/>
                    <a:gd name="connsiteX2" fmla="*/ 638716 w 644541"/>
                    <a:gd name="connsiteY2" fmla="*/ 300825 h 562365"/>
                    <a:gd name="connsiteX3" fmla="*/ 535323 w 644541"/>
                    <a:gd name="connsiteY3" fmla="*/ 0 h 562365"/>
                    <a:gd name="connsiteX4" fmla="*/ 460757 w 644541"/>
                    <a:gd name="connsiteY4" fmla="*/ 506573 h 562365"/>
                    <a:gd name="connsiteX5" fmla="*/ 523273 w 644541"/>
                    <a:gd name="connsiteY5" fmla="*/ 16652 h 562365"/>
                    <a:gd name="connsiteX6" fmla="*/ 618476 w 644541"/>
                    <a:gd name="connsiteY6" fmla="*/ 296942 h 562365"/>
                    <a:gd name="connsiteX7" fmla="*/ 460757 w 644541"/>
                    <a:gd name="connsiteY7" fmla="*/ 506573 h 562365"/>
                    <a:gd name="connsiteX8" fmla="*/ 5830 w 644541"/>
                    <a:gd name="connsiteY8" fmla="*/ 179407 h 562365"/>
                    <a:gd name="connsiteX9" fmla="*/ 17560 w 644541"/>
                    <a:gd name="connsiteY9" fmla="*/ 140103 h 562365"/>
                    <a:gd name="connsiteX10" fmla="*/ 35921 w 644541"/>
                    <a:gd name="connsiteY10" fmla="*/ 150285 h 562365"/>
                    <a:gd name="connsiteX11" fmla="*/ 26071 w 644541"/>
                    <a:gd name="connsiteY11" fmla="*/ 183291 h 562365"/>
                    <a:gd name="connsiteX12" fmla="*/ 265449 w 644541"/>
                    <a:gd name="connsiteY12" fmla="*/ 536318 h 562365"/>
                    <a:gd name="connsiteX13" fmla="*/ 460757 w 644541"/>
                    <a:gd name="connsiteY13" fmla="*/ 506573 h 562365"/>
                    <a:gd name="connsiteX14" fmla="*/ 476970 w 644541"/>
                    <a:gd name="connsiteY14" fmla="*/ 521091 h 562365"/>
                    <a:gd name="connsiteX15" fmla="*/ 261565 w 644541"/>
                    <a:gd name="connsiteY15" fmla="*/ 556559 h 562365"/>
                    <a:gd name="connsiteX16" fmla="*/ 5830 w 644541"/>
                    <a:gd name="connsiteY16" fmla="*/ 179407 h 562365"/>
                    <a:gd name="connsiteX0" fmla="*/ 638716 w 638716"/>
                    <a:gd name="connsiteY0" fmla="*/ 284173 h 545713"/>
                    <a:gd name="connsiteX1" fmla="*/ 476970 w 638716"/>
                    <a:gd name="connsiteY1" fmla="*/ 504439 h 545713"/>
                    <a:gd name="connsiteX2" fmla="*/ 638716 w 638716"/>
                    <a:gd name="connsiteY2" fmla="*/ 284173 h 545713"/>
                    <a:gd name="connsiteX3" fmla="*/ 460757 w 638716"/>
                    <a:gd name="connsiteY3" fmla="*/ 489921 h 545713"/>
                    <a:gd name="connsiteX4" fmla="*/ 523273 w 638716"/>
                    <a:gd name="connsiteY4" fmla="*/ 0 h 545713"/>
                    <a:gd name="connsiteX5" fmla="*/ 618476 w 638716"/>
                    <a:gd name="connsiteY5" fmla="*/ 280290 h 545713"/>
                    <a:gd name="connsiteX6" fmla="*/ 460757 w 638716"/>
                    <a:gd name="connsiteY6" fmla="*/ 489921 h 545713"/>
                    <a:gd name="connsiteX7" fmla="*/ 5830 w 638716"/>
                    <a:gd name="connsiteY7" fmla="*/ 162755 h 545713"/>
                    <a:gd name="connsiteX8" fmla="*/ 17560 w 638716"/>
                    <a:gd name="connsiteY8" fmla="*/ 123451 h 545713"/>
                    <a:gd name="connsiteX9" fmla="*/ 35921 w 638716"/>
                    <a:gd name="connsiteY9" fmla="*/ 133633 h 545713"/>
                    <a:gd name="connsiteX10" fmla="*/ 26071 w 638716"/>
                    <a:gd name="connsiteY10" fmla="*/ 166639 h 545713"/>
                    <a:gd name="connsiteX11" fmla="*/ 265449 w 638716"/>
                    <a:gd name="connsiteY11" fmla="*/ 519666 h 545713"/>
                    <a:gd name="connsiteX12" fmla="*/ 460757 w 638716"/>
                    <a:gd name="connsiteY12" fmla="*/ 489921 h 545713"/>
                    <a:gd name="connsiteX13" fmla="*/ 476970 w 638716"/>
                    <a:gd name="connsiteY13" fmla="*/ 504439 h 545713"/>
                    <a:gd name="connsiteX14" fmla="*/ 261565 w 638716"/>
                    <a:gd name="connsiteY14" fmla="*/ 539907 h 545713"/>
                    <a:gd name="connsiteX15" fmla="*/ 5830 w 638716"/>
                    <a:gd name="connsiteY15" fmla="*/ 162755 h 545713"/>
                    <a:gd name="connsiteX0" fmla="*/ 638716 w 638716"/>
                    <a:gd name="connsiteY0" fmla="*/ 160722 h 422262"/>
                    <a:gd name="connsiteX1" fmla="*/ 476970 w 638716"/>
                    <a:gd name="connsiteY1" fmla="*/ 380988 h 422262"/>
                    <a:gd name="connsiteX2" fmla="*/ 638716 w 638716"/>
                    <a:gd name="connsiteY2" fmla="*/ 160722 h 422262"/>
                    <a:gd name="connsiteX3" fmla="*/ 460757 w 638716"/>
                    <a:gd name="connsiteY3" fmla="*/ 366470 h 422262"/>
                    <a:gd name="connsiteX4" fmla="*/ 618476 w 638716"/>
                    <a:gd name="connsiteY4" fmla="*/ 156839 h 422262"/>
                    <a:gd name="connsiteX5" fmla="*/ 460757 w 638716"/>
                    <a:gd name="connsiteY5" fmla="*/ 366470 h 422262"/>
                    <a:gd name="connsiteX6" fmla="*/ 5830 w 638716"/>
                    <a:gd name="connsiteY6" fmla="*/ 39304 h 422262"/>
                    <a:gd name="connsiteX7" fmla="*/ 17560 w 638716"/>
                    <a:gd name="connsiteY7" fmla="*/ 0 h 422262"/>
                    <a:gd name="connsiteX8" fmla="*/ 35921 w 638716"/>
                    <a:gd name="connsiteY8" fmla="*/ 10182 h 422262"/>
                    <a:gd name="connsiteX9" fmla="*/ 26071 w 638716"/>
                    <a:gd name="connsiteY9" fmla="*/ 43188 h 422262"/>
                    <a:gd name="connsiteX10" fmla="*/ 265449 w 638716"/>
                    <a:gd name="connsiteY10" fmla="*/ 396215 h 422262"/>
                    <a:gd name="connsiteX11" fmla="*/ 460757 w 638716"/>
                    <a:gd name="connsiteY11" fmla="*/ 366470 h 422262"/>
                    <a:gd name="connsiteX12" fmla="*/ 476970 w 638716"/>
                    <a:gd name="connsiteY12" fmla="*/ 380988 h 422262"/>
                    <a:gd name="connsiteX13" fmla="*/ 261565 w 638716"/>
                    <a:gd name="connsiteY13" fmla="*/ 416456 h 422262"/>
                    <a:gd name="connsiteX14" fmla="*/ 5830 w 638716"/>
                    <a:gd name="connsiteY14" fmla="*/ 39304 h 422262"/>
                    <a:gd name="connsiteX0" fmla="*/ 460757 w 618476"/>
                    <a:gd name="connsiteY0" fmla="*/ 366470 h 422262"/>
                    <a:gd name="connsiteX1" fmla="*/ 618476 w 618476"/>
                    <a:gd name="connsiteY1" fmla="*/ 156839 h 422262"/>
                    <a:gd name="connsiteX2" fmla="*/ 460757 w 618476"/>
                    <a:gd name="connsiteY2" fmla="*/ 366470 h 422262"/>
                    <a:gd name="connsiteX3" fmla="*/ 5830 w 618476"/>
                    <a:gd name="connsiteY3" fmla="*/ 39304 h 422262"/>
                    <a:gd name="connsiteX4" fmla="*/ 17560 w 618476"/>
                    <a:gd name="connsiteY4" fmla="*/ 0 h 422262"/>
                    <a:gd name="connsiteX5" fmla="*/ 35921 w 618476"/>
                    <a:gd name="connsiteY5" fmla="*/ 10182 h 422262"/>
                    <a:gd name="connsiteX6" fmla="*/ 26071 w 618476"/>
                    <a:gd name="connsiteY6" fmla="*/ 43188 h 422262"/>
                    <a:gd name="connsiteX7" fmla="*/ 265449 w 618476"/>
                    <a:gd name="connsiteY7" fmla="*/ 396215 h 422262"/>
                    <a:gd name="connsiteX8" fmla="*/ 460757 w 618476"/>
                    <a:gd name="connsiteY8" fmla="*/ 366470 h 422262"/>
                    <a:gd name="connsiteX9" fmla="*/ 476970 w 618476"/>
                    <a:gd name="connsiteY9" fmla="*/ 380988 h 422262"/>
                    <a:gd name="connsiteX10" fmla="*/ 261565 w 618476"/>
                    <a:gd name="connsiteY10" fmla="*/ 416456 h 422262"/>
                    <a:gd name="connsiteX11" fmla="*/ 5830 w 618476"/>
                    <a:gd name="connsiteY11" fmla="*/ 39304 h 422262"/>
                    <a:gd name="connsiteX0" fmla="*/ 5830 w 476970"/>
                    <a:gd name="connsiteY0" fmla="*/ 39304 h 422262"/>
                    <a:gd name="connsiteX1" fmla="*/ 17560 w 476970"/>
                    <a:gd name="connsiteY1" fmla="*/ 0 h 422262"/>
                    <a:gd name="connsiteX2" fmla="*/ 35921 w 476970"/>
                    <a:gd name="connsiteY2" fmla="*/ 10182 h 422262"/>
                    <a:gd name="connsiteX3" fmla="*/ 26071 w 476970"/>
                    <a:gd name="connsiteY3" fmla="*/ 43188 h 422262"/>
                    <a:gd name="connsiteX4" fmla="*/ 265449 w 476970"/>
                    <a:gd name="connsiteY4" fmla="*/ 396215 h 422262"/>
                    <a:gd name="connsiteX5" fmla="*/ 460757 w 476970"/>
                    <a:gd name="connsiteY5" fmla="*/ 366470 h 422262"/>
                    <a:gd name="connsiteX6" fmla="*/ 476970 w 476970"/>
                    <a:gd name="connsiteY6" fmla="*/ 380988 h 422262"/>
                    <a:gd name="connsiteX7" fmla="*/ 261565 w 476970"/>
                    <a:gd name="connsiteY7" fmla="*/ 416456 h 422262"/>
                    <a:gd name="connsiteX8" fmla="*/ 5830 w 476970"/>
                    <a:gd name="connsiteY8" fmla="*/ 39304 h 422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970" h="422262">
                      <a:close/>
                      <a:moveTo>
                        <a:pt x="5830" y="39304"/>
                      </a:moveTo>
                      <a:lnTo>
                        <a:pt x="17560" y="0"/>
                      </a:lnTo>
                      <a:lnTo>
                        <a:pt x="35921" y="10182"/>
                      </a:lnTo>
                      <a:cubicBezTo>
                        <a:pt x="31079" y="20588"/>
                        <a:pt x="28266" y="31750"/>
                        <a:pt x="26071" y="43188"/>
                      </a:cubicBezTo>
                      <a:cubicBezTo>
                        <a:pt x="-5312" y="206776"/>
                        <a:pt x="101860" y="364831"/>
                        <a:pt x="265449" y="396215"/>
                      </a:cubicBezTo>
                      <a:cubicBezTo>
                        <a:pt x="334831" y="409526"/>
                        <a:pt x="403217" y="397913"/>
                        <a:pt x="460757" y="366470"/>
                      </a:cubicBezTo>
                      <a:lnTo>
                        <a:pt x="476970" y="380988"/>
                      </a:lnTo>
                      <a:cubicBezTo>
                        <a:pt x="414123" y="417321"/>
                        <a:pt x="338416" y="431200"/>
                        <a:pt x="261565" y="416456"/>
                      </a:cubicBezTo>
                      <a:cubicBezTo>
                        <a:pt x="86798" y="382928"/>
                        <a:pt x="-27698" y="214071"/>
                        <a:pt x="5830" y="39304"/>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32" name="Round Same Side Corner Rectangle 230"/>
                <p:cNvSpPr/>
                <p:nvPr/>
              </p:nvSpPr>
              <p:spPr>
                <a:xfrm rot="7404624">
                  <a:off x="2162677" y="2258854"/>
                  <a:ext cx="89607" cy="40246"/>
                </a:xfrm>
                <a:prstGeom prst="round2Same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33" name="Freeform 231"/>
                <p:cNvSpPr/>
                <p:nvPr/>
              </p:nvSpPr>
              <p:spPr>
                <a:xfrm rot="7545572">
                  <a:off x="1966449" y="2079438"/>
                  <a:ext cx="163317" cy="273279"/>
                </a:xfrm>
                <a:custGeom>
                  <a:avLst/>
                  <a:gdLst>
                    <a:gd name="connsiteX0" fmla="*/ 387437 w 582827"/>
                    <a:gd name="connsiteY0" fmla="*/ 591873 h 591873"/>
                    <a:gd name="connsiteX1" fmla="*/ 372577 w 582827"/>
                    <a:gd name="connsiteY1" fmla="*/ 571238 h 591873"/>
                    <a:gd name="connsiteX2" fmla="*/ 376053 w 582827"/>
                    <a:gd name="connsiteY2" fmla="*/ 518426 h 591873"/>
                    <a:gd name="connsiteX3" fmla="*/ 309345 w 582827"/>
                    <a:gd name="connsiteY3" fmla="*/ 322181 h 591873"/>
                    <a:gd name="connsiteX4" fmla="*/ 144365 w 582827"/>
                    <a:gd name="connsiteY4" fmla="*/ 196705 h 591873"/>
                    <a:gd name="connsiteX5" fmla="*/ 93175 w 582827"/>
                    <a:gd name="connsiteY5" fmla="*/ 183261 h 591873"/>
                    <a:gd name="connsiteX6" fmla="*/ 0 w 582827"/>
                    <a:gd name="connsiteY6" fmla="*/ 53878 h 591873"/>
                    <a:gd name="connsiteX7" fmla="*/ 65102 w 582827"/>
                    <a:gd name="connsiteY7" fmla="*/ 6995 h 591873"/>
                    <a:gd name="connsiteX8" fmla="*/ 65102 w 582827"/>
                    <a:gd name="connsiteY8" fmla="*/ 13674 h 591873"/>
                    <a:gd name="connsiteX9" fmla="*/ 257922 w 582827"/>
                    <a:gd name="connsiteY9" fmla="*/ 13674 h 591873"/>
                    <a:gd name="connsiteX10" fmla="*/ 257922 w 582827"/>
                    <a:gd name="connsiteY10" fmla="*/ 0 h 591873"/>
                    <a:gd name="connsiteX11" fmla="*/ 582827 w 582827"/>
                    <a:gd name="connsiteY11" fmla="*/ 451163 h 591873"/>
                    <a:gd name="connsiteX12" fmla="*/ 387437 w 582827"/>
                    <a:gd name="connsiteY12" fmla="*/ 591873 h 591873"/>
                    <a:gd name="connsiteX0" fmla="*/ 322335 w 517725"/>
                    <a:gd name="connsiteY0" fmla="*/ 591873 h 591873"/>
                    <a:gd name="connsiteX1" fmla="*/ 307475 w 517725"/>
                    <a:gd name="connsiteY1" fmla="*/ 571238 h 591873"/>
                    <a:gd name="connsiteX2" fmla="*/ 310951 w 517725"/>
                    <a:gd name="connsiteY2" fmla="*/ 518426 h 591873"/>
                    <a:gd name="connsiteX3" fmla="*/ 244243 w 517725"/>
                    <a:gd name="connsiteY3" fmla="*/ 322181 h 591873"/>
                    <a:gd name="connsiteX4" fmla="*/ 79263 w 517725"/>
                    <a:gd name="connsiteY4" fmla="*/ 196705 h 591873"/>
                    <a:gd name="connsiteX5" fmla="*/ 28073 w 517725"/>
                    <a:gd name="connsiteY5" fmla="*/ 183261 h 591873"/>
                    <a:gd name="connsiteX6" fmla="*/ 0 w 517725"/>
                    <a:gd name="connsiteY6" fmla="*/ 6995 h 591873"/>
                    <a:gd name="connsiteX7" fmla="*/ 0 w 517725"/>
                    <a:gd name="connsiteY7" fmla="*/ 13674 h 591873"/>
                    <a:gd name="connsiteX8" fmla="*/ 192820 w 517725"/>
                    <a:gd name="connsiteY8" fmla="*/ 13674 h 591873"/>
                    <a:gd name="connsiteX9" fmla="*/ 192820 w 517725"/>
                    <a:gd name="connsiteY9" fmla="*/ 0 h 591873"/>
                    <a:gd name="connsiteX10" fmla="*/ 517725 w 517725"/>
                    <a:gd name="connsiteY10" fmla="*/ 451163 h 591873"/>
                    <a:gd name="connsiteX11" fmla="*/ 322335 w 517725"/>
                    <a:gd name="connsiteY11" fmla="*/ 591873 h 591873"/>
                    <a:gd name="connsiteX0" fmla="*/ 322335 w 517725"/>
                    <a:gd name="connsiteY0" fmla="*/ 591873 h 591873"/>
                    <a:gd name="connsiteX1" fmla="*/ 307475 w 517725"/>
                    <a:gd name="connsiteY1" fmla="*/ 571238 h 591873"/>
                    <a:gd name="connsiteX2" fmla="*/ 310951 w 517725"/>
                    <a:gd name="connsiteY2" fmla="*/ 518426 h 591873"/>
                    <a:gd name="connsiteX3" fmla="*/ 244243 w 517725"/>
                    <a:gd name="connsiteY3" fmla="*/ 322181 h 591873"/>
                    <a:gd name="connsiteX4" fmla="*/ 79263 w 517725"/>
                    <a:gd name="connsiteY4" fmla="*/ 196705 h 591873"/>
                    <a:gd name="connsiteX5" fmla="*/ 28073 w 517725"/>
                    <a:gd name="connsiteY5" fmla="*/ 183261 h 591873"/>
                    <a:gd name="connsiteX6" fmla="*/ 0 w 517725"/>
                    <a:gd name="connsiteY6" fmla="*/ 6995 h 591873"/>
                    <a:gd name="connsiteX7" fmla="*/ 192820 w 517725"/>
                    <a:gd name="connsiteY7" fmla="*/ 13674 h 591873"/>
                    <a:gd name="connsiteX8" fmla="*/ 192820 w 517725"/>
                    <a:gd name="connsiteY8" fmla="*/ 0 h 591873"/>
                    <a:gd name="connsiteX9" fmla="*/ 517725 w 517725"/>
                    <a:gd name="connsiteY9" fmla="*/ 451163 h 591873"/>
                    <a:gd name="connsiteX10" fmla="*/ 322335 w 517725"/>
                    <a:gd name="connsiteY10" fmla="*/ 591873 h 591873"/>
                    <a:gd name="connsiteX0" fmla="*/ 297676 w 493066"/>
                    <a:gd name="connsiteY0" fmla="*/ 591873 h 591873"/>
                    <a:gd name="connsiteX1" fmla="*/ 282816 w 493066"/>
                    <a:gd name="connsiteY1" fmla="*/ 571238 h 591873"/>
                    <a:gd name="connsiteX2" fmla="*/ 286292 w 493066"/>
                    <a:gd name="connsiteY2" fmla="*/ 518426 h 591873"/>
                    <a:gd name="connsiteX3" fmla="*/ 219584 w 493066"/>
                    <a:gd name="connsiteY3" fmla="*/ 322181 h 591873"/>
                    <a:gd name="connsiteX4" fmla="*/ 54604 w 493066"/>
                    <a:gd name="connsiteY4" fmla="*/ 196705 h 591873"/>
                    <a:gd name="connsiteX5" fmla="*/ 3414 w 493066"/>
                    <a:gd name="connsiteY5" fmla="*/ 183261 h 591873"/>
                    <a:gd name="connsiteX6" fmla="*/ 0 w 493066"/>
                    <a:gd name="connsiteY6" fmla="*/ 12713 h 591873"/>
                    <a:gd name="connsiteX7" fmla="*/ 168161 w 493066"/>
                    <a:gd name="connsiteY7" fmla="*/ 13674 h 591873"/>
                    <a:gd name="connsiteX8" fmla="*/ 168161 w 493066"/>
                    <a:gd name="connsiteY8" fmla="*/ 0 h 591873"/>
                    <a:gd name="connsiteX9" fmla="*/ 493066 w 493066"/>
                    <a:gd name="connsiteY9" fmla="*/ 451163 h 591873"/>
                    <a:gd name="connsiteX10" fmla="*/ 297676 w 493066"/>
                    <a:gd name="connsiteY10" fmla="*/ 591873 h 591873"/>
                    <a:gd name="connsiteX0" fmla="*/ 297676 w 493066"/>
                    <a:gd name="connsiteY0" fmla="*/ 579160 h 579160"/>
                    <a:gd name="connsiteX1" fmla="*/ 282816 w 493066"/>
                    <a:gd name="connsiteY1" fmla="*/ 558525 h 579160"/>
                    <a:gd name="connsiteX2" fmla="*/ 286292 w 493066"/>
                    <a:gd name="connsiteY2" fmla="*/ 505713 h 579160"/>
                    <a:gd name="connsiteX3" fmla="*/ 219584 w 493066"/>
                    <a:gd name="connsiteY3" fmla="*/ 309468 h 579160"/>
                    <a:gd name="connsiteX4" fmla="*/ 54604 w 493066"/>
                    <a:gd name="connsiteY4" fmla="*/ 183992 h 579160"/>
                    <a:gd name="connsiteX5" fmla="*/ 3414 w 493066"/>
                    <a:gd name="connsiteY5" fmla="*/ 170548 h 579160"/>
                    <a:gd name="connsiteX6" fmla="*/ 0 w 493066"/>
                    <a:gd name="connsiteY6" fmla="*/ 0 h 579160"/>
                    <a:gd name="connsiteX7" fmla="*/ 168161 w 493066"/>
                    <a:gd name="connsiteY7" fmla="*/ 961 h 579160"/>
                    <a:gd name="connsiteX8" fmla="*/ 493066 w 493066"/>
                    <a:gd name="connsiteY8" fmla="*/ 438450 h 579160"/>
                    <a:gd name="connsiteX9" fmla="*/ 297676 w 493066"/>
                    <a:gd name="connsiteY9" fmla="*/ 579160 h 579160"/>
                    <a:gd name="connsiteX0" fmla="*/ 297676 w 493066"/>
                    <a:gd name="connsiteY0" fmla="*/ 579160 h 579160"/>
                    <a:gd name="connsiteX1" fmla="*/ 282816 w 493066"/>
                    <a:gd name="connsiteY1" fmla="*/ 558525 h 579160"/>
                    <a:gd name="connsiteX2" fmla="*/ 286292 w 493066"/>
                    <a:gd name="connsiteY2" fmla="*/ 505713 h 579160"/>
                    <a:gd name="connsiteX3" fmla="*/ 219584 w 493066"/>
                    <a:gd name="connsiteY3" fmla="*/ 309468 h 579160"/>
                    <a:gd name="connsiteX4" fmla="*/ 54604 w 493066"/>
                    <a:gd name="connsiteY4" fmla="*/ 183992 h 579160"/>
                    <a:gd name="connsiteX5" fmla="*/ 3414 w 493066"/>
                    <a:gd name="connsiteY5" fmla="*/ 170548 h 579160"/>
                    <a:gd name="connsiteX6" fmla="*/ 0 w 493066"/>
                    <a:gd name="connsiteY6" fmla="*/ 0 h 579160"/>
                    <a:gd name="connsiteX7" fmla="*/ 168161 w 493066"/>
                    <a:gd name="connsiteY7" fmla="*/ 961 h 579160"/>
                    <a:gd name="connsiteX8" fmla="*/ 152116 w 493066"/>
                    <a:gd name="connsiteY8" fmla="*/ 64926 h 579160"/>
                    <a:gd name="connsiteX9" fmla="*/ 493066 w 493066"/>
                    <a:gd name="connsiteY9" fmla="*/ 438450 h 579160"/>
                    <a:gd name="connsiteX10" fmla="*/ 297676 w 493066"/>
                    <a:gd name="connsiteY10" fmla="*/ 579160 h 579160"/>
                    <a:gd name="connsiteX0" fmla="*/ 297676 w 309307"/>
                    <a:gd name="connsiteY0" fmla="*/ 579160 h 579160"/>
                    <a:gd name="connsiteX1" fmla="*/ 282816 w 309307"/>
                    <a:gd name="connsiteY1" fmla="*/ 558525 h 579160"/>
                    <a:gd name="connsiteX2" fmla="*/ 286292 w 309307"/>
                    <a:gd name="connsiteY2" fmla="*/ 505713 h 579160"/>
                    <a:gd name="connsiteX3" fmla="*/ 219584 w 309307"/>
                    <a:gd name="connsiteY3" fmla="*/ 309468 h 579160"/>
                    <a:gd name="connsiteX4" fmla="*/ 54604 w 309307"/>
                    <a:gd name="connsiteY4" fmla="*/ 183992 h 579160"/>
                    <a:gd name="connsiteX5" fmla="*/ 3414 w 309307"/>
                    <a:gd name="connsiteY5" fmla="*/ 170548 h 579160"/>
                    <a:gd name="connsiteX6" fmla="*/ 0 w 309307"/>
                    <a:gd name="connsiteY6" fmla="*/ 0 h 579160"/>
                    <a:gd name="connsiteX7" fmla="*/ 168161 w 309307"/>
                    <a:gd name="connsiteY7" fmla="*/ 961 h 579160"/>
                    <a:gd name="connsiteX8" fmla="*/ 152116 w 309307"/>
                    <a:gd name="connsiteY8" fmla="*/ 64926 h 579160"/>
                    <a:gd name="connsiteX9" fmla="*/ 309307 w 309307"/>
                    <a:gd name="connsiteY9" fmla="*/ 236255 h 579160"/>
                    <a:gd name="connsiteX10" fmla="*/ 297676 w 309307"/>
                    <a:gd name="connsiteY10" fmla="*/ 579160 h 579160"/>
                    <a:gd name="connsiteX0" fmla="*/ 297676 w 323733"/>
                    <a:gd name="connsiteY0" fmla="*/ 579160 h 579160"/>
                    <a:gd name="connsiteX1" fmla="*/ 282816 w 323733"/>
                    <a:gd name="connsiteY1" fmla="*/ 558525 h 579160"/>
                    <a:gd name="connsiteX2" fmla="*/ 286292 w 323733"/>
                    <a:gd name="connsiteY2" fmla="*/ 505713 h 579160"/>
                    <a:gd name="connsiteX3" fmla="*/ 219584 w 323733"/>
                    <a:gd name="connsiteY3" fmla="*/ 309468 h 579160"/>
                    <a:gd name="connsiteX4" fmla="*/ 54604 w 323733"/>
                    <a:gd name="connsiteY4" fmla="*/ 183992 h 579160"/>
                    <a:gd name="connsiteX5" fmla="*/ 3414 w 323733"/>
                    <a:gd name="connsiteY5" fmla="*/ 170548 h 579160"/>
                    <a:gd name="connsiteX6" fmla="*/ 0 w 323733"/>
                    <a:gd name="connsiteY6" fmla="*/ 0 h 579160"/>
                    <a:gd name="connsiteX7" fmla="*/ 168161 w 323733"/>
                    <a:gd name="connsiteY7" fmla="*/ 961 h 579160"/>
                    <a:gd name="connsiteX8" fmla="*/ 152116 w 323733"/>
                    <a:gd name="connsiteY8" fmla="*/ 64926 h 579160"/>
                    <a:gd name="connsiteX9" fmla="*/ 309307 w 323733"/>
                    <a:gd name="connsiteY9" fmla="*/ 236255 h 579160"/>
                    <a:gd name="connsiteX10" fmla="*/ 297676 w 323733"/>
                    <a:gd name="connsiteY10" fmla="*/ 579160 h 579160"/>
                    <a:gd name="connsiteX0" fmla="*/ 337714 w 340238"/>
                    <a:gd name="connsiteY0" fmla="*/ 553261 h 558525"/>
                    <a:gd name="connsiteX1" fmla="*/ 282816 w 340238"/>
                    <a:gd name="connsiteY1" fmla="*/ 558525 h 558525"/>
                    <a:gd name="connsiteX2" fmla="*/ 286292 w 340238"/>
                    <a:gd name="connsiteY2" fmla="*/ 505713 h 558525"/>
                    <a:gd name="connsiteX3" fmla="*/ 219584 w 340238"/>
                    <a:gd name="connsiteY3" fmla="*/ 309468 h 558525"/>
                    <a:gd name="connsiteX4" fmla="*/ 54604 w 340238"/>
                    <a:gd name="connsiteY4" fmla="*/ 183992 h 558525"/>
                    <a:gd name="connsiteX5" fmla="*/ 3414 w 340238"/>
                    <a:gd name="connsiteY5" fmla="*/ 170548 h 558525"/>
                    <a:gd name="connsiteX6" fmla="*/ 0 w 340238"/>
                    <a:gd name="connsiteY6" fmla="*/ 0 h 558525"/>
                    <a:gd name="connsiteX7" fmla="*/ 168161 w 340238"/>
                    <a:gd name="connsiteY7" fmla="*/ 961 h 558525"/>
                    <a:gd name="connsiteX8" fmla="*/ 152116 w 340238"/>
                    <a:gd name="connsiteY8" fmla="*/ 64926 h 558525"/>
                    <a:gd name="connsiteX9" fmla="*/ 309307 w 340238"/>
                    <a:gd name="connsiteY9" fmla="*/ 236255 h 558525"/>
                    <a:gd name="connsiteX10" fmla="*/ 337714 w 340238"/>
                    <a:gd name="connsiteY10" fmla="*/ 553261 h 558525"/>
                    <a:gd name="connsiteX0" fmla="*/ 337714 w 340238"/>
                    <a:gd name="connsiteY0" fmla="*/ 553261 h 553261"/>
                    <a:gd name="connsiteX1" fmla="*/ 299666 w 340238"/>
                    <a:gd name="connsiteY1" fmla="*/ 549324 h 553261"/>
                    <a:gd name="connsiteX2" fmla="*/ 286292 w 340238"/>
                    <a:gd name="connsiteY2" fmla="*/ 505713 h 553261"/>
                    <a:gd name="connsiteX3" fmla="*/ 219584 w 340238"/>
                    <a:gd name="connsiteY3" fmla="*/ 309468 h 553261"/>
                    <a:gd name="connsiteX4" fmla="*/ 54604 w 340238"/>
                    <a:gd name="connsiteY4" fmla="*/ 183992 h 553261"/>
                    <a:gd name="connsiteX5" fmla="*/ 3414 w 340238"/>
                    <a:gd name="connsiteY5" fmla="*/ 170548 h 553261"/>
                    <a:gd name="connsiteX6" fmla="*/ 0 w 340238"/>
                    <a:gd name="connsiteY6" fmla="*/ 0 h 553261"/>
                    <a:gd name="connsiteX7" fmla="*/ 168161 w 340238"/>
                    <a:gd name="connsiteY7" fmla="*/ 961 h 553261"/>
                    <a:gd name="connsiteX8" fmla="*/ 152116 w 340238"/>
                    <a:gd name="connsiteY8" fmla="*/ 64926 h 553261"/>
                    <a:gd name="connsiteX9" fmla="*/ 309307 w 340238"/>
                    <a:gd name="connsiteY9" fmla="*/ 236255 h 553261"/>
                    <a:gd name="connsiteX10" fmla="*/ 337714 w 340238"/>
                    <a:gd name="connsiteY10" fmla="*/ 553261 h 553261"/>
                    <a:gd name="connsiteX0" fmla="*/ 337714 w 340238"/>
                    <a:gd name="connsiteY0" fmla="*/ 553261 h 553261"/>
                    <a:gd name="connsiteX1" fmla="*/ 299666 w 340238"/>
                    <a:gd name="connsiteY1" fmla="*/ 549324 h 553261"/>
                    <a:gd name="connsiteX2" fmla="*/ 286292 w 340238"/>
                    <a:gd name="connsiteY2" fmla="*/ 505713 h 553261"/>
                    <a:gd name="connsiteX3" fmla="*/ 219584 w 340238"/>
                    <a:gd name="connsiteY3" fmla="*/ 309468 h 553261"/>
                    <a:gd name="connsiteX4" fmla="*/ 54604 w 340238"/>
                    <a:gd name="connsiteY4" fmla="*/ 183992 h 553261"/>
                    <a:gd name="connsiteX5" fmla="*/ 3414 w 340238"/>
                    <a:gd name="connsiteY5" fmla="*/ 170548 h 553261"/>
                    <a:gd name="connsiteX6" fmla="*/ 0 w 340238"/>
                    <a:gd name="connsiteY6" fmla="*/ 0 h 553261"/>
                    <a:gd name="connsiteX7" fmla="*/ 168161 w 340238"/>
                    <a:gd name="connsiteY7" fmla="*/ 961 h 553261"/>
                    <a:gd name="connsiteX8" fmla="*/ 152116 w 340238"/>
                    <a:gd name="connsiteY8" fmla="*/ 64926 h 553261"/>
                    <a:gd name="connsiteX9" fmla="*/ 309307 w 340238"/>
                    <a:gd name="connsiteY9" fmla="*/ 236255 h 553261"/>
                    <a:gd name="connsiteX10" fmla="*/ 337714 w 340238"/>
                    <a:gd name="connsiteY10" fmla="*/ 553261 h 553261"/>
                    <a:gd name="connsiteX0" fmla="*/ 337714 w 340238"/>
                    <a:gd name="connsiteY0" fmla="*/ 553261 h 553261"/>
                    <a:gd name="connsiteX1" fmla="*/ 299666 w 340238"/>
                    <a:gd name="connsiteY1" fmla="*/ 549324 h 553261"/>
                    <a:gd name="connsiteX2" fmla="*/ 279485 w 340238"/>
                    <a:gd name="connsiteY2" fmla="*/ 463662 h 553261"/>
                    <a:gd name="connsiteX3" fmla="*/ 219584 w 340238"/>
                    <a:gd name="connsiteY3" fmla="*/ 309468 h 553261"/>
                    <a:gd name="connsiteX4" fmla="*/ 54604 w 340238"/>
                    <a:gd name="connsiteY4" fmla="*/ 183992 h 553261"/>
                    <a:gd name="connsiteX5" fmla="*/ 3414 w 340238"/>
                    <a:gd name="connsiteY5" fmla="*/ 170548 h 553261"/>
                    <a:gd name="connsiteX6" fmla="*/ 0 w 340238"/>
                    <a:gd name="connsiteY6" fmla="*/ 0 h 553261"/>
                    <a:gd name="connsiteX7" fmla="*/ 168161 w 340238"/>
                    <a:gd name="connsiteY7" fmla="*/ 961 h 553261"/>
                    <a:gd name="connsiteX8" fmla="*/ 152116 w 340238"/>
                    <a:gd name="connsiteY8" fmla="*/ 64926 h 553261"/>
                    <a:gd name="connsiteX9" fmla="*/ 309307 w 340238"/>
                    <a:gd name="connsiteY9" fmla="*/ 236255 h 553261"/>
                    <a:gd name="connsiteX10" fmla="*/ 337714 w 340238"/>
                    <a:gd name="connsiteY10" fmla="*/ 553261 h 553261"/>
                    <a:gd name="connsiteX0" fmla="*/ 337714 w 340238"/>
                    <a:gd name="connsiteY0" fmla="*/ 553261 h 553261"/>
                    <a:gd name="connsiteX1" fmla="*/ 299666 w 340238"/>
                    <a:gd name="connsiteY1" fmla="*/ 549324 h 553261"/>
                    <a:gd name="connsiteX2" fmla="*/ 219584 w 340238"/>
                    <a:gd name="connsiteY2" fmla="*/ 309468 h 553261"/>
                    <a:gd name="connsiteX3" fmla="*/ 54604 w 340238"/>
                    <a:gd name="connsiteY3" fmla="*/ 183992 h 553261"/>
                    <a:gd name="connsiteX4" fmla="*/ 3414 w 340238"/>
                    <a:gd name="connsiteY4" fmla="*/ 170548 h 553261"/>
                    <a:gd name="connsiteX5" fmla="*/ 0 w 340238"/>
                    <a:gd name="connsiteY5" fmla="*/ 0 h 553261"/>
                    <a:gd name="connsiteX6" fmla="*/ 168161 w 340238"/>
                    <a:gd name="connsiteY6" fmla="*/ 961 h 553261"/>
                    <a:gd name="connsiteX7" fmla="*/ 152116 w 340238"/>
                    <a:gd name="connsiteY7" fmla="*/ 64926 h 553261"/>
                    <a:gd name="connsiteX8" fmla="*/ 309307 w 340238"/>
                    <a:gd name="connsiteY8" fmla="*/ 236255 h 553261"/>
                    <a:gd name="connsiteX9" fmla="*/ 337714 w 340238"/>
                    <a:gd name="connsiteY9" fmla="*/ 553261 h 553261"/>
                    <a:gd name="connsiteX0" fmla="*/ 337714 w 340238"/>
                    <a:gd name="connsiteY0" fmla="*/ 553261 h 553261"/>
                    <a:gd name="connsiteX1" fmla="*/ 299666 w 340238"/>
                    <a:gd name="connsiteY1" fmla="*/ 549324 h 553261"/>
                    <a:gd name="connsiteX2" fmla="*/ 219584 w 340238"/>
                    <a:gd name="connsiteY2" fmla="*/ 309468 h 553261"/>
                    <a:gd name="connsiteX3" fmla="*/ 54604 w 340238"/>
                    <a:gd name="connsiteY3" fmla="*/ 183992 h 553261"/>
                    <a:gd name="connsiteX4" fmla="*/ 3414 w 340238"/>
                    <a:gd name="connsiteY4" fmla="*/ 170548 h 553261"/>
                    <a:gd name="connsiteX5" fmla="*/ 0 w 340238"/>
                    <a:gd name="connsiteY5" fmla="*/ 0 h 553261"/>
                    <a:gd name="connsiteX6" fmla="*/ 168161 w 340238"/>
                    <a:gd name="connsiteY6" fmla="*/ 961 h 553261"/>
                    <a:gd name="connsiteX7" fmla="*/ 152116 w 340238"/>
                    <a:gd name="connsiteY7" fmla="*/ 64926 h 553261"/>
                    <a:gd name="connsiteX8" fmla="*/ 309307 w 340238"/>
                    <a:gd name="connsiteY8" fmla="*/ 236255 h 553261"/>
                    <a:gd name="connsiteX9" fmla="*/ 337714 w 340238"/>
                    <a:gd name="connsiteY9" fmla="*/ 553261 h 553261"/>
                    <a:gd name="connsiteX0" fmla="*/ 337714 w 340238"/>
                    <a:gd name="connsiteY0" fmla="*/ 553261 h 553261"/>
                    <a:gd name="connsiteX1" fmla="*/ 299666 w 340238"/>
                    <a:gd name="connsiteY1" fmla="*/ 549324 h 553261"/>
                    <a:gd name="connsiteX2" fmla="*/ 219584 w 340238"/>
                    <a:gd name="connsiteY2" fmla="*/ 309468 h 553261"/>
                    <a:gd name="connsiteX3" fmla="*/ 54604 w 340238"/>
                    <a:gd name="connsiteY3" fmla="*/ 183992 h 553261"/>
                    <a:gd name="connsiteX4" fmla="*/ 3414 w 340238"/>
                    <a:gd name="connsiteY4" fmla="*/ 170548 h 553261"/>
                    <a:gd name="connsiteX5" fmla="*/ 0 w 340238"/>
                    <a:gd name="connsiteY5" fmla="*/ 0 h 553261"/>
                    <a:gd name="connsiteX6" fmla="*/ 168161 w 340238"/>
                    <a:gd name="connsiteY6" fmla="*/ 961 h 553261"/>
                    <a:gd name="connsiteX7" fmla="*/ 152116 w 340238"/>
                    <a:gd name="connsiteY7" fmla="*/ 64926 h 553261"/>
                    <a:gd name="connsiteX8" fmla="*/ 309307 w 340238"/>
                    <a:gd name="connsiteY8" fmla="*/ 236255 h 553261"/>
                    <a:gd name="connsiteX9" fmla="*/ 337714 w 340238"/>
                    <a:gd name="connsiteY9" fmla="*/ 553261 h 553261"/>
                    <a:gd name="connsiteX0" fmla="*/ 345684 w 348208"/>
                    <a:gd name="connsiteY0" fmla="*/ 553261 h 553261"/>
                    <a:gd name="connsiteX1" fmla="*/ 307636 w 348208"/>
                    <a:gd name="connsiteY1" fmla="*/ 549324 h 553261"/>
                    <a:gd name="connsiteX2" fmla="*/ 227554 w 348208"/>
                    <a:gd name="connsiteY2" fmla="*/ 309468 h 553261"/>
                    <a:gd name="connsiteX3" fmla="*/ 62574 w 348208"/>
                    <a:gd name="connsiteY3" fmla="*/ 183992 h 553261"/>
                    <a:gd name="connsiteX4" fmla="*/ 11384 w 348208"/>
                    <a:gd name="connsiteY4" fmla="*/ 170548 h 553261"/>
                    <a:gd name="connsiteX5" fmla="*/ 7970 w 348208"/>
                    <a:gd name="connsiteY5" fmla="*/ 0 h 553261"/>
                    <a:gd name="connsiteX6" fmla="*/ 176131 w 348208"/>
                    <a:gd name="connsiteY6" fmla="*/ 961 h 553261"/>
                    <a:gd name="connsiteX7" fmla="*/ 160086 w 348208"/>
                    <a:gd name="connsiteY7" fmla="*/ 64926 h 553261"/>
                    <a:gd name="connsiteX8" fmla="*/ 317277 w 348208"/>
                    <a:gd name="connsiteY8" fmla="*/ 236255 h 553261"/>
                    <a:gd name="connsiteX9" fmla="*/ 345684 w 348208"/>
                    <a:gd name="connsiteY9" fmla="*/ 553261 h 553261"/>
                    <a:gd name="connsiteX0" fmla="*/ 349348 w 351872"/>
                    <a:gd name="connsiteY0" fmla="*/ 553261 h 553261"/>
                    <a:gd name="connsiteX1" fmla="*/ 311300 w 351872"/>
                    <a:gd name="connsiteY1" fmla="*/ 549324 h 553261"/>
                    <a:gd name="connsiteX2" fmla="*/ 231218 w 351872"/>
                    <a:gd name="connsiteY2" fmla="*/ 309468 h 553261"/>
                    <a:gd name="connsiteX3" fmla="*/ 66238 w 351872"/>
                    <a:gd name="connsiteY3" fmla="*/ 183992 h 553261"/>
                    <a:gd name="connsiteX4" fmla="*/ 15048 w 351872"/>
                    <a:gd name="connsiteY4" fmla="*/ 170548 h 553261"/>
                    <a:gd name="connsiteX5" fmla="*/ 11634 w 351872"/>
                    <a:gd name="connsiteY5" fmla="*/ 0 h 553261"/>
                    <a:gd name="connsiteX6" fmla="*/ 179795 w 351872"/>
                    <a:gd name="connsiteY6" fmla="*/ 961 h 553261"/>
                    <a:gd name="connsiteX7" fmla="*/ 163750 w 351872"/>
                    <a:gd name="connsiteY7" fmla="*/ 64926 h 553261"/>
                    <a:gd name="connsiteX8" fmla="*/ 320941 w 351872"/>
                    <a:gd name="connsiteY8" fmla="*/ 236255 h 553261"/>
                    <a:gd name="connsiteX9" fmla="*/ 349348 w 351872"/>
                    <a:gd name="connsiteY9" fmla="*/ 553261 h 553261"/>
                    <a:gd name="connsiteX0" fmla="*/ 351678 w 354202"/>
                    <a:gd name="connsiteY0" fmla="*/ 553261 h 553261"/>
                    <a:gd name="connsiteX1" fmla="*/ 313630 w 354202"/>
                    <a:gd name="connsiteY1" fmla="*/ 549324 h 553261"/>
                    <a:gd name="connsiteX2" fmla="*/ 233548 w 354202"/>
                    <a:gd name="connsiteY2" fmla="*/ 309468 h 553261"/>
                    <a:gd name="connsiteX3" fmla="*/ 68568 w 354202"/>
                    <a:gd name="connsiteY3" fmla="*/ 183992 h 553261"/>
                    <a:gd name="connsiteX4" fmla="*/ 17378 w 354202"/>
                    <a:gd name="connsiteY4" fmla="*/ 170548 h 553261"/>
                    <a:gd name="connsiteX5" fmla="*/ 13964 w 354202"/>
                    <a:gd name="connsiteY5" fmla="*/ 0 h 553261"/>
                    <a:gd name="connsiteX6" fmla="*/ 182125 w 354202"/>
                    <a:gd name="connsiteY6" fmla="*/ 961 h 553261"/>
                    <a:gd name="connsiteX7" fmla="*/ 166080 w 354202"/>
                    <a:gd name="connsiteY7" fmla="*/ 64926 h 553261"/>
                    <a:gd name="connsiteX8" fmla="*/ 323271 w 354202"/>
                    <a:gd name="connsiteY8" fmla="*/ 236255 h 553261"/>
                    <a:gd name="connsiteX9" fmla="*/ 351678 w 354202"/>
                    <a:gd name="connsiteY9" fmla="*/ 553261 h 553261"/>
                    <a:gd name="connsiteX0" fmla="*/ 351678 w 354202"/>
                    <a:gd name="connsiteY0" fmla="*/ 553261 h 553261"/>
                    <a:gd name="connsiteX1" fmla="*/ 313630 w 354202"/>
                    <a:gd name="connsiteY1" fmla="*/ 549324 h 553261"/>
                    <a:gd name="connsiteX2" fmla="*/ 233548 w 354202"/>
                    <a:gd name="connsiteY2" fmla="*/ 309468 h 553261"/>
                    <a:gd name="connsiteX3" fmla="*/ 68568 w 354202"/>
                    <a:gd name="connsiteY3" fmla="*/ 183992 h 553261"/>
                    <a:gd name="connsiteX4" fmla="*/ 17378 w 354202"/>
                    <a:gd name="connsiteY4" fmla="*/ 170548 h 553261"/>
                    <a:gd name="connsiteX5" fmla="*/ 13964 w 354202"/>
                    <a:gd name="connsiteY5" fmla="*/ 0 h 553261"/>
                    <a:gd name="connsiteX6" fmla="*/ 182125 w 354202"/>
                    <a:gd name="connsiteY6" fmla="*/ 961 h 553261"/>
                    <a:gd name="connsiteX7" fmla="*/ 166080 w 354202"/>
                    <a:gd name="connsiteY7" fmla="*/ 64926 h 553261"/>
                    <a:gd name="connsiteX8" fmla="*/ 323271 w 354202"/>
                    <a:gd name="connsiteY8" fmla="*/ 236255 h 553261"/>
                    <a:gd name="connsiteX9" fmla="*/ 351678 w 354202"/>
                    <a:gd name="connsiteY9" fmla="*/ 553261 h 553261"/>
                    <a:gd name="connsiteX0" fmla="*/ 351678 w 354202"/>
                    <a:gd name="connsiteY0" fmla="*/ 553261 h 553261"/>
                    <a:gd name="connsiteX1" fmla="*/ 306132 w 354202"/>
                    <a:gd name="connsiteY1" fmla="*/ 542986 h 553261"/>
                    <a:gd name="connsiteX2" fmla="*/ 233548 w 354202"/>
                    <a:gd name="connsiteY2" fmla="*/ 309468 h 553261"/>
                    <a:gd name="connsiteX3" fmla="*/ 68568 w 354202"/>
                    <a:gd name="connsiteY3" fmla="*/ 183992 h 553261"/>
                    <a:gd name="connsiteX4" fmla="*/ 17378 w 354202"/>
                    <a:gd name="connsiteY4" fmla="*/ 170548 h 553261"/>
                    <a:gd name="connsiteX5" fmla="*/ 13964 w 354202"/>
                    <a:gd name="connsiteY5" fmla="*/ 0 h 553261"/>
                    <a:gd name="connsiteX6" fmla="*/ 182125 w 354202"/>
                    <a:gd name="connsiteY6" fmla="*/ 961 h 553261"/>
                    <a:gd name="connsiteX7" fmla="*/ 166080 w 354202"/>
                    <a:gd name="connsiteY7" fmla="*/ 64926 h 553261"/>
                    <a:gd name="connsiteX8" fmla="*/ 323271 w 354202"/>
                    <a:gd name="connsiteY8" fmla="*/ 236255 h 553261"/>
                    <a:gd name="connsiteX9" fmla="*/ 351678 w 354202"/>
                    <a:gd name="connsiteY9" fmla="*/ 553261 h 553261"/>
                    <a:gd name="connsiteX0" fmla="*/ 347813 w 351433"/>
                    <a:gd name="connsiteY0" fmla="*/ 556045 h 556045"/>
                    <a:gd name="connsiteX1" fmla="*/ 306132 w 351433"/>
                    <a:gd name="connsiteY1" fmla="*/ 542986 h 556045"/>
                    <a:gd name="connsiteX2" fmla="*/ 233548 w 351433"/>
                    <a:gd name="connsiteY2" fmla="*/ 309468 h 556045"/>
                    <a:gd name="connsiteX3" fmla="*/ 68568 w 351433"/>
                    <a:gd name="connsiteY3" fmla="*/ 183992 h 556045"/>
                    <a:gd name="connsiteX4" fmla="*/ 17378 w 351433"/>
                    <a:gd name="connsiteY4" fmla="*/ 170548 h 556045"/>
                    <a:gd name="connsiteX5" fmla="*/ 13964 w 351433"/>
                    <a:gd name="connsiteY5" fmla="*/ 0 h 556045"/>
                    <a:gd name="connsiteX6" fmla="*/ 182125 w 351433"/>
                    <a:gd name="connsiteY6" fmla="*/ 961 h 556045"/>
                    <a:gd name="connsiteX7" fmla="*/ 166080 w 351433"/>
                    <a:gd name="connsiteY7" fmla="*/ 64926 h 556045"/>
                    <a:gd name="connsiteX8" fmla="*/ 323271 w 351433"/>
                    <a:gd name="connsiteY8" fmla="*/ 236255 h 556045"/>
                    <a:gd name="connsiteX9" fmla="*/ 347813 w 351433"/>
                    <a:gd name="connsiteY9" fmla="*/ 556045 h 556045"/>
                    <a:gd name="connsiteX0" fmla="*/ 347813 w 351433"/>
                    <a:gd name="connsiteY0" fmla="*/ 556045 h 559504"/>
                    <a:gd name="connsiteX1" fmla="*/ 306132 w 351433"/>
                    <a:gd name="connsiteY1" fmla="*/ 542986 h 559504"/>
                    <a:gd name="connsiteX2" fmla="*/ 233548 w 351433"/>
                    <a:gd name="connsiteY2" fmla="*/ 309468 h 559504"/>
                    <a:gd name="connsiteX3" fmla="*/ 68568 w 351433"/>
                    <a:gd name="connsiteY3" fmla="*/ 183992 h 559504"/>
                    <a:gd name="connsiteX4" fmla="*/ 17378 w 351433"/>
                    <a:gd name="connsiteY4" fmla="*/ 170548 h 559504"/>
                    <a:gd name="connsiteX5" fmla="*/ 13964 w 351433"/>
                    <a:gd name="connsiteY5" fmla="*/ 0 h 559504"/>
                    <a:gd name="connsiteX6" fmla="*/ 182125 w 351433"/>
                    <a:gd name="connsiteY6" fmla="*/ 961 h 559504"/>
                    <a:gd name="connsiteX7" fmla="*/ 166080 w 351433"/>
                    <a:gd name="connsiteY7" fmla="*/ 64926 h 559504"/>
                    <a:gd name="connsiteX8" fmla="*/ 323271 w 351433"/>
                    <a:gd name="connsiteY8" fmla="*/ 236255 h 559504"/>
                    <a:gd name="connsiteX9" fmla="*/ 347813 w 351433"/>
                    <a:gd name="connsiteY9" fmla="*/ 556045 h 559504"/>
                    <a:gd name="connsiteX0" fmla="*/ 347813 w 351433"/>
                    <a:gd name="connsiteY0" fmla="*/ 556045 h 562746"/>
                    <a:gd name="connsiteX1" fmla="*/ 306132 w 351433"/>
                    <a:gd name="connsiteY1" fmla="*/ 542986 h 562746"/>
                    <a:gd name="connsiteX2" fmla="*/ 233548 w 351433"/>
                    <a:gd name="connsiteY2" fmla="*/ 309468 h 562746"/>
                    <a:gd name="connsiteX3" fmla="*/ 68568 w 351433"/>
                    <a:gd name="connsiteY3" fmla="*/ 183992 h 562746"/>
                    <a:gd name="connsiteX4" fmla="*/ 17378 w 351433"/>
                    <a:gd name="connsiteY4" fmla="*/ 170548 h 562746"/>
                    <a:gd name="connsiteX5" fmla="*/ 13964 w 351433"/>
                    <a:gd name="connsiteY5" fmla="*/ 0 h 562746"/>
                    <a:gd name="connsiteX6" fmla="*/ 182125 w 351433"/>
                    <a:gd name="connsiteY6" fmla="*/ 961 h 562746"/>
                    <a:gd name="connsiteX7" fmla="*/ 166080 w 351433"/>
                    <a:gd name="connsiteY7" fmla="*/ 64926 h 562746"/>
                    <a:gd name="connsiteX8" fmla="*/ 323271 w 351433"/>
                    <a:gd name="connsiteY8" fmla="*/ 236255 h 562746"/>
                    <a:gd name="connsiteX9" fmla="*/ 347813 w 351433"/>
                    <a:gd name="connsiteY9" fmla="*/ 556045 h 562746"/>
                    <a:gd name="connsiteX0" fmla="*/ 347813 w 351433"/>
                    <a:gd name="connsiteY0" fmla="*/ 556045 h 562746"/>
                    <a:gd name="connsiteX1" fmla="*/ 306132 w 351433"/>
                    <a:gd name="connsiteY1" fmla="*/ 542986 h 562746"/>
                    <a:gd name="connsiteX2" fmla="*/ 233548 w 351433"/>
                    <a:gd name="connsiteY2" fmla="*/ 309468 h 562746"/>
                    <a:gd name="connsiteX3" fmla="*/ 68568 w 351433"/>
                    <a:gd name="connsiteY3" fmla="*/ 183992 h 562746"/>
                    <a:gd name="connsiteX4" fmla="*/ 17378 w 351433"/>
                    <a:gd name="connsiteY4" fmla="*/ 170548 h 562746"/>
                    <a:gd name="connsiteX5" fmla="*/ 13964 w 351433"/>
                    <a:gd name="connsiteY5" fmla="*/ 0 h 562746"/>
                    <a:gd name="connsiteX6" fmla="*/ 182125 w 351433"/>
                    <a:gd name="connsiteY6" fmla="*/ 961 h 562746"/>
                    <a:gd name="connsiteX7" fmla="*/ 166080 w 351433"/>
                    <a:gd name="connsiteY7" fmla="*/ 64926 h 562746"/>
                    <a:gd name="connsiteX8" fmla="*/ 323271 w 351433"/>
                    <a:gd name="connsiteY8" fmla="*/ 236255 h 562746"/>
                    <a:gd name="connsiteX9" fmla="*/ 347813 w 351433"/>
                    <a:gd name="connsiteY9" fmla="*/ 556045 h 562746"/>
                    <a:gd name="connsiteX0" fmla="*/ 347813 w 351433"/>
                    <a:gd name="connsiteY0" fmla="*/ 556045 h 562746"/>
                    <a:gd name="connsiteX1" fmla="*/ 306132 w 351433"/>
                    <a:gd name="connsiteY1" fmla="*/ 542986 h 562746"/>
                    <a:gd name="connsiteX2" fmla="*/ 233548 w 351433"/>
                    <a:gd name="connsiteY2" fmla="*/ 309468 h 562746"/>
                    <a:gd name="connsiteX3" fmla="*/ 68568 w 351433"/>
                    <a:gd name="connsiteY3" fmla="*/ 183992 h 562746"/>
                    <a:gd name="connsiteX4" fmla="*/ 17378 w 351433"/>
                    <a:gd name="connsiteY4" fmla="*/ 170548 h 562746"/>
                    <a:gd name="connsiteX5" fmla="*/ 13964 w 351433"/>
                    <a:gd name="connsiteY5" fmla="*/ 0 h 562746"/>
                    <a:gd name="connsiteX6" fmla="*/ 182125 w 351433"/>
                    <a:gd name="connsiteY6" fmla="*/ 961 h 562746"/>
                    <a:gd name="connsiteX7" fmla="*/ 166080 w 351433"/>
                    <a:gd name="connsiteY7" fmla="*/ 64926 h 562746"/>
                    <a:gd name="connsiteX8" fmla="*/ 323271 w 351433"/>
                    <a:gd name="connsiteY8" fmla="*/ 236255 h 562746"/>
                    <a:gd name="connsiteX9" fmla="*/ 347813 w 351433"/>
                    <a:gd name="connsiteY9" fmla="*/ 556045 h 56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1433" h="562746">
                      <a:moveTo>
                        <a:pt x="347813" y="556045"/>
                      </a:moveTo>
                      <a:cubicBezTo>
                        <a:pt x="336472" y="567460"/>
                        <a:pt x="323970" y="565040"/>
                        <a:pt x="306132" y="542986"/>
                      </a:cubicBezTo>
                      <a:cubicBezTo>
                        <a:pt x="293505" y="449969"/>
                        <a:pt x="273142" y="369300"/>
                        <a:pt x="233548" y="309468"/>
                      </a:cubicBezTo>
                      <a:cubicBezTo>
                        <a:pt x="193954" y="249636"/>
                        <a:pt x="132658" y="207570"/>
                        <a:pt x="68568" y="183992"/>
                      </a:cubicBezTo>
                      <a:cubicBezTo>
                        <a:pt x="51505" y="179511"/>
                        <a:pt x="41089" y="176111"/>
                        <a:pt x="17378" y="170548"/>
                      </a:cubicBezTo>
                      <a:cubicBezTo>
                        <a:pt x="-20241" y="128234"/>
                        <a:pt x="15102" y="56849"/>
                        <a:pt x="13964" y="0"/>
                      </a:cubicBezTo>
                      <a:lnTo>
                        <a:pt x="182125" y="961"/>
                      </a:lnTo>
                      <a:cubicBezTo>
                        <a:pt x="211537" y="39311"/>
                        <a:pt x="136668" y="26576"/>
                        <a:pt x="166080" y="64926"/>
                      </a:cubicBezTo>
                      <a:cubicBezTo>
                        <a:pt x="237880" y="128604"/>
                        <a:pt x="283009" y="167471"/>
                        <a:pt x="323271" y="236255"/>
                      </a:cubicBezTo>
                      <a:cubicBezTo>
                        <a:pt x="359979" y="394690"/>
                        <a:pt x="351690" y="441743"/>
                        <a:pt x="347813" y="556045"/>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grpSp>
          <p:grpSp>
            <p:nvGrpSpPr>
              <p:cNvPr id="24" name="Group 222"/>
              <p:cNvGrpSpPr/>
              <p:nvPr/>
            </p:nvGrpSpPr>
            <p:grpSpPr>
              <a:xfrm>
                <a:off x="680589" y="2151819"/>
                <a:ext cx="2691679" cy="1216768"/>
                <a:chOff x="76579" y="3885773"/>
                <a:chExt cx="2342948" cy="1072818"/>
              </a:xfrm>
            </p:grpSpPr>
            <p:sp>
              <p:nvSpPr>
                <p:cNvPr id="25" name="Rectangle 223"/>
                <p:cNvSpPr/>
                <p:nvPr/>
              </p:nvSpPr>
              <p:spPr>
                <a:xfrm>
                  <a:off x="76579" y="3885773"/>
                  <a:ext cx="2342948" cy="259498"/>
                </a:xfrm>
                <a:prstGeom prst="rect">
                  <a:avLst/>
                </a:prstGeom>
              </p:spPr>
              <p:txBody>
                <a:bodyPr wrap="square">
                  <a:spAutoFit/>
                </a:bodyPr>
                <a:lstStyle/>
                <a:p>
                  <a:pPr algn="ctr" defTabSz="685800"/>
                  <a:r>
                    <a:rPr lang="en-US" sz="1200" b="1" u="sng">
                      <a:solidFill>
                        <a:srgbClr val="0091DA">
                          <a:lumMod val="20000"/>
                          <a:lumOff val="80000"/>
                        </a:srgbClr>
                      </a:solidFill>
                      <a:latin typeface="Univers for KPMG" panose="020B0603020202020204" pitchFamily="34" charset="0"/>
                    </a:rPr>
                    <a:t>Identify subpopulations</a:t>
                  </a:r>
                  <a:endParaRPr lang="en-US" sz="1050" u="sng">
                    <a:solidFill>
                      <a:srgbClr val="0091DA">
                        <a:lumMod val="20000"/>
                        <a:lumOff val="80000"/>
                      </a:srgbClr>
                    </a:solidFill>
                    <a:latin typeface="Univers for KPMG" panose="020B0603020202020204" pitchFamily="34" charset="0"/>
                  </a:endParaRPr>
                </a:p>
              </p:txBody>
            </p:sp>
            <p:sp>
              <p:nvSpPr>
                <p:cNvPr id="26" name="TextBox 224"/>
                <p:cNvSpPr txBox="1"/>
                <p:nvPr/>
              </p:nvSpPr>
              <p:spPr>
                <a:xfrm>
                  <a:off x="107399" y="4115223"/>
                  <a:ext cx="2151474" cy="843368"/>
                </a:xfrm>
                <a:prstGeom prst="rect">
                  <a:avLst/>
                </a:prstGeom>
                <a:noFill/>
              </p:spPr>
              <p:txBody>
                <a:bodyPr wrap="square" rtlCol="0">
                  <a:spAutoFit/>
                </a:bodyPr>
                <a:lstStyle/>
                <a:p>
                  <a:pPr defTabSz="685800"/>
                  <a:r>
                    <a:rPr lang="en-US" sz="1050" dirty="0">
                      <a:solidFill>
                        <a:prstClr val="white"/>
                      </a:solidFill>
                      <a:latin typeface="Univers for KPMG" panose="020B0603020202020204" pitchFamily="34" charset="0"/>
                      <a:cs typeface="Arial" panose="020B0604020202020204" pitchFamily="34" charset="0"/>
                    </a:rPr>
                    <a:t>Create a more specific set of target populations within the current broad definitions to allow for more precise targeting and impact measurement </a:t>
                  </a:r>
                </a:p>
                <a:p>
                  <a:pPr defTabSz="685800"/>
                  <a:r>
                    <a:rPr lang="en-US" sz="1050" dirty="0">
                      <a:solidFill>
                        <a:prstClr val="white"/>
                      </a:solidFill>
                      <a:latin typeface="Univers for KPMG" panose="020B0603020202020204" pitchFamily="34" charset="0"/>
                      <a:cs typeface="Arial" panose="020B0604020202020204" pitchFamily="34" charset="0"/>
                    </a:rPr>
                    <a:t>e.g., Native Americans and older adults.</a:t>
                  </a:r>
                </a:p>
              </p:txBody>
            </p:sp>
          </p:grpSp>
        </p:grpSp>
        <p:grpSp>
          <p:nvGrpSpPr>
            <p:cNvPr id="34" name="Group 25"/>
            <p:cNvGrpSpPr/>
            <p:nvPr/>
          </p:nvGrpSpPr>
          <p:grpSpPr>
            <a:xfrm>
              <a:off x="5236419" y="1651454"/>
              <a:ext cx="2346045" cy="1851667"/>
              <a:chOff x="3712419" y="1651454"/>
              <a:chExt cx="2346045" cy="1851667"/>
            </a:xfrm>
          </p:grpSpPr>
          <p:grpSp>
            <p:nvGrpSpPr>
              <p:cNvPr id="35" name="Group 233"/>
              <p:cNvGrpSpPr/>
              <p:nvPr/>
            </p:nvGrpSpPr>
            <p:grpSpPr>
              <a:xfrm>
                <a:off x="4408239" y="1651454"/>
                <a:ext cx="661286" cy="434666"/>
                <a:chOff x="3306418" y="832084"/>
                <a:chExt cx="411383" cy="270405"/>
              </a:xfrm>
            </p:grpSpPr>
            <p:sp>
              <p:nvSpPr>
                <p:cNvPr id="39" name="Rectangle 237"/>
                <p:cNvSpPr>
                  <a:spLocks noChangeArrowheads="1"/>
                </p:cNvSpPr>
                <p:nvPr/>
              </p:nvSpPr>
              <p:spPr bwMode="auto">
                <a:xfrm>
                  <a:off x="3348503" y="938352"/>
                  <a:ext cx="97848" cy="10522"/>
                </a:xfrm>
                <a:prstGeom prst="rect">
                  <a:avLst/>
                </a:prstGeom>
                <a:solidFill>
                  <a:schemeClr val="bg1"/>
                </a:solidFill>
                <a:ln w="0">
                  <a:noFill/>
                  <a:prstDash val="solid"/>
                  <a:miter lim="800000"/>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prstClr val="black"/>
                    </a:solidFill>
                    <a:latin typeface="Univers for KPMG" panose="020B0603020202020204" pitchFamily="34" charset="0"/>
                  </a:endParaRPr>
                </a:p>
              </p:txBody>
            </p:sp>
            <p:sp>
              <p:nvSpPr>
                <p:cNvPr id="40" name="Rectangle 238"/>
                <p:cNvSpPr>
                  <a:spLocks noChangeArrowheads="1"/>
                </p:cNvSpPr>
                <p:nvPr/>
              </p:nvSpPr>
              <p:spPr bwMode="auto">
                <a:xfrm>
                  <a:off x="3348503" y="970969"/>
                  <a:ext cx="155715" cy="9470"/>
                </a:xfrm>
                <a:prstGeom prst="rect">
                  <a:avLst/>
                </a:prstGeom>
                <a:solidFill>
                  <a:schemeClr val="bg1"/>
                </a:solidFill>
                <a:ln w="0">
                  <a:noFill/>
                  <a:prstDash val="solid"/>
                  <a:miter lim="800000"/>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prstClr val="black"/>
                    </a:solidFill>
                    <a:latin typeface="Univers for KPMG" panose="020B0603020202020204" pitchFamily="34" charset="0"/>
                  </a:endParaRPr>
                </a:p>
              </p:txBody>
            </p:sp>
            <p:sp>
              <p:nvSpPr>
                <p:cNvPr id="41" name="Rectangle 239"/>
                <p:cNvSpPr>
                  <a:spLocks noChangeArrowheads="1"/>
                </p:cNvSpPr>
                <p:nvPr/>
              </p:nvSpPr>
              <p:spPr bwMode="auto">
                <a:xfrm>
                  <a:off x="3348503" y="1002534"/>
                  <a:ext cx="155715" cy="10522"/>
                </a:xfrm>
                <a:prstGeom prst="rect">
                  <a:avLst/>
                </a:prstGeom>
                <a:solidFill>
                  <a:schemeClr val="bg1"/>
                </a:solidFill>
                <a:ln w="0">
                  <a:noFill/>
                  <a:prstDash val="solid"/>
                  <a:miter lim="800000"/>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prstClr val="black"/>
                    </a:solidFill>
                    <a:latin typeface="Univers for KPMG" panose="020B0603020202020204" pitchFamily="34" charset="0"/>
                  </a:endParaRPr>
                </a:p>
              </p:txBody>
            </p:sp>
            <p:sp>
              <p:nvSpPr>
                <p:cNvPr id="42" name="Rectangle 240"/>
                <p:cNvSpPr>
                  <a:spLocks noChangeArrowheads="1"/>
                </p:cNvSpPr>
                <p:nvPr/>
              </p:nvSpPr>
              <p:spPr bwMode="auto">
                <a:xfrm>
                  <a:off x="3348503" y="1035150"/>
                  <a:ext cx="155715" cy="10522"/>
                </a:xfrm>
                <a:prstGeom prst="rect">
                  <a:avLst/>
                </a:prstGeom>
                <a:solidFill>
                  <a:schemeClr val="bg1"/>
                </a:solidFill>
                <a:ln w="0">
                  <a:noFill/>
                  <a:prstDash val="solid"/>
                  <a:miter lim="800000"/>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prstClr val="black"/>
                    </a:solidFill>
                    <a:latin typeface="Univers for KPMG" panose="020B0603020202020204" pitchFamily="34" charset="0"/>
                  </a:endParaRPr>
                </a:p>
              </p:txBody>
            </p:sp>
            <p:sp>
              <p:nvSpPr>
                <p:cNvPr id="43" name="Freeform 241"/>
                <p:cNvSpPr>
                  <a:spLocks/>
                </p:cNvSpPr>
                <p:nvPr/>
              </p:nvSpPr>
              <p:spPr bwMode="auto">
                <a:xfrm>
                  <a:off x="3591545" y="970969"/>
                  <a:ext cx="18938" cy="55765"/>
                </a:xfrm>
                <a:custGeom>
                  <a:avLst/>
                  <a:gdLst>
                    <a:gd name="T0" fmla="*/ 7 w 18"/>
                    <a:gd name="T1" fmla="*/ 53 h 53"/>
                    <a:gd name="T2" fmla="*/ 13 w 18"/>
                    <a:gd name="T3" fmla="*/ 51 h 53"/>
                    <a:gd name="T4" fmla="*/ 18 w 18"/>
                    <a:gd name="T5" fmla="*/ 48 h 53"/>
                    <a:gd name="T6" fmla="*/ 18 w 18"/>
                    <a:gd name="T7" fmla="*/ 6 h 53"/>
                    <a:gd name="T8" fmla="*/ 13 w 18"/>
                    <a:gd name="T9" fmla="*/ 3 h 53"/>
                    <a:gd name="T10" fmla="*/ 7 w 18"/>
                    <a:gd name="T11" fmla="*/ 1 h 53"/>
                    <a:gd name="T12" fmla="*/ 2 w 18"/>
                    <a:gd name="T13" fmla="*/ 0 h 53"/>
                    <a:gd name="T14" fmla="*/ 0 w 18"/>
                    <a:gd name="T15" fmla="*/ 0 h 53"/>
                    <a:gd name="T16" fmla="*/ 0 w 18"/>
                    <a:gd name="T17" fmla="*/ 53 h 53"/>
                    <a:gd name="T18" fmla="*/ 2 w 18"/>
                    <a:gd name="T19" fmla="*/ 53 h 53"/>
                    <a:gd name="T20" fmla="*/ 7 w 18"/>
                    <a:gd name="T21"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53">
                      <a:moveTo>
                        <a:pt x="7" y="53"/>
                      </a:moveTo>
                      <a:lnTo>
                        <a:pt x="13" y="51"/>
                      </a:lnTo>
                      <a:lnTo>
                        <a:pt x="18" y="48"/>
                      </a:lnTo>
                      <a:lnTo>
                        <a:pt x="18" y="6"/>
                      </a:lnTo>
                      <a:lnTo>
                        <a:pt x="13" y="3"/>
                      </a:lnTo>
                      <a:lnTo>
                        <a:pt x="7" y="1"/>
                      </a:lnTo>
                      <a:lnTo>
                        <a:pt x="2" y="0"/>
                      </a:lnTo>
                      <a:lnTo>
                        <a:pt x="0" y="0"/>
                      </a:lnTo>
                      <a:lnTo>
                        <a:pt x="0" y="53"/>
                      </a:lnTo>
                      <a:lnTo>
                        <a:pt x="2" y="53"/>
                      </a:lnTo>
                      <a:lnTo>
                        <a:pt x="7" y="53"/>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prstClr val="black"/>
                    </a:solidFill>
                    <a:latin typeface="Univers for KPMG" panose="020B0603020202020204" pitchFamily="34" charset="0"/>
                  </a:endParaRPr>
                </a:p>
              </p:txBody>
            </p:sp>
            <p:sp>
              <p:nvSpPr>
                <p:cNvPr id="44" name="Freeform 242"/>
                <p:cNvSpPr>
                  <a:spLocks noEditPoints="1"/>
                </p:cNvSpPr>
                <p:nvPr/>
              </p:nvSpPr>
              <p:spPr bwMode="auto">
                <a:xfrm>
                  <a:off x="3306418" y="832084"/>
                  <a:ext cx="304066" cy="270405"/>
                </a:xfrm>
                <a:custGeom>
                  <a:avLst/>
                  <a:gdLst>
                    <a:gd name="T0" fmla="*/ 271 w 289"/>
                    <a:gd name="T1" fmla="*/ 236 h 257"/>
                    <a:gd name="T2" fmla="*/ 17 w 289"/>
                    <a:gd name="T3" fmla="*/ 240 h 257"/>
                    <a:gd name="T4" fmla="*/ 271 w 289"/>
                    <a:gd name="T5" fmla="*/ 64 h 257"/>
                    <a:gd name="T6" fmla="*/ 273 w 289"/>
                    <a:gd name="T7" fmla="*/ 82 h 257"/>
                    <a:gd name="T8" fmla="*/ 289 w 289"/>
                    <a:gd name="T9" fmla="*/ 84 h 257"/>
                    <a:gd name="T10" fmla="*/ 289 w 289"/>
                    <a:gd name="T11" fmla="*/ 6 h 257"/>
                    <a:gd name="T12" fmla="*/ 284 w 289"/>
                    <a:gd name="T13" fmla="*/ 2 h 257"/>
                    <a:gd name="T14" fmla="*/ 9 w 289"/>
                    <a:gd name="T15" fmla="*/ 0 h 257"/>
                    <a:gd name="T16" fmla="*/ 3 w 289"/>
                    <a:gd name="T17" fmla="*/ 3 h 257"/>
                    <a:gd name="T18" fmla="*/ 0 w 289"/>
                    <a:gd name="T19" fmla="*/ 10 h 257"/>
                    <a:gd name="T20" fmla="*/ 0 w 289"/>
                    <a:gd name="T21" fmla="*/ 252 h 257"/>
                    <a:gd name="T22" fmla="*/ 4 w 289"/>
                    <a:gd name="T23" fmla="*/ 257 h 257"/>
                    <a:gd name="T24" fmla="*/ 280 w 289"/>
                    <a:gd name="T25" fmla="*/ 257 h 257"/>
                    <a:gd name="T26" fmla="*/ 286 w 289"/>
                    <a:gd name="T27" fmla="*/ 256 h 257"/>
                    <a:gd name="T28" fmla="*/ 289 w 289"/>
                    <a:gd name="T29" fmla="*/ 249 h 257"/>
                    <a:gd name="T30" fmla="*/ 281 w 289"/>
                    <a:gd name="T31" fmla="*/ 235 h 257"/>
                    <a:gd name="T32" fmla="*/ 259 w 289"/>
                    <a:gd name="T33" fmla="*/ 21 h 257"/>
                    <a:gd name="T34" fmla="*/ 267 w 289"/>
                    <a:gd name="T35" fmla="*/ 24 h 257"/>
                    <a:gd name="T36" fmla="*/ 271 w 289"/>
                    <a:gd name="T37" fmla="*/ 32 h 257"/>
                    <a:gd name="T38" fmla="*/ 267 w 289"/>
                    <a:gd name="T39" fmla="*/ 42 h 257"/>
                    <a:gd name="T40" fmla="*/ 259 w 289"/>
                    <a:gd name="T41" fmla="*/ 45 h 257"/>
                    <a:gd name="T42" fmla="*/ 251 w 289"/>
                    <a:gd name="T43" fmla="*/ 42 h 257"/>
                    <a:gd name="T44" fmla="*/ 246 w 289"/>
                    <a:gd name="T45" fmla="*/ 32 h 257"/>
                    <a:gd name="T46" fmla="*/ 251 w 289"/>
                    <a:gd name="T47" fmla="*/ 24 h 257"/>
                    <a:gd name="T48" fmla="*/ 259 w 289"/>
                    <a:gd name="T49" fmla="*/ 21 h 257"/>
                    <a:gd name="T50" fmla="*/ 228 w 289"/>
                    <a:gd name="T51" fmla="*/ 21 h 257"/>
                    <a:gd name="T52" fmla="*/ 234 w 289"/>
                    <a:gd name="T53" fmla="*/ 27 h 257"/>
                    <a:gd name="T54" fmla="*/ 234 w 289"/>
                    <a:gd name="T55" fmla="*/ 37 h 257"/>
                    <a:gd name="T56" fmla="*/ 228 w 289"/>
                    <a:gd name="T57" fmla="*/ 43 h 257"/>
                    <a:gd name="T58" fmla="*/ 218 w 289"/>
                    <a:gd name="T59" fmla="*/ 43 h 257"/>
                    <a:gd name="T60" fmla="*/ 212 w 289"/>
                    <a:gd name="T61" fmla="*/ 37 h 257"/>
                    <a:gd name="T62" fmla="*/ 212 w 289"/>
                    <a:gd name="T63" fmla="*/ 27 h 257"/>
                    <a:gd name="T64" fmla="*/ 218 w 289"/>
                    <a:gd name="T65" fmla="*/ 21 h 257"/>
                    <a:gd name="T66" fmla="*/ 186 w 289"/>
                    <a:gd name="T67" fmla="*/ 21 h 257"/>
                    <a:gd name="T68" fmla="*/ 196 w 289"/>
                    <a:gd name="T69" fmla="*/ 24 h 257"/>
                    <a:gd name="T70" fmla="*/ 199 w 289"/>
                    <a:gd name="T71" fmla="*/ 32 h 257"/>
                    <a:gd name="T72" fmla="*/ 196 w 289"/>
                    <a:gd name="T73" fmla="*/ 42 h 257"/>
                    <a:gd name="T74" fmla="*/ 186 w 289"/>
                    <a:gd name="T75" fmla="*/ 45 h 257"/>
                    <a:gd name="T76" fmla="*/ 178 w 289"/>
                    <a:gd name="T77" fmla="*/ 42 h 257"/>
                    <a:gd name="T78" fmla="*/ 175 w 289"/>
                    <a:gd name="T79" fmla="*/ 32 h 257"/>
                    <a:gd name="T80" fmla="*/ 178 w 289"/>
                    <a:gd name="T81" fmla="*/ 24 h 257"/>
                    <a:gd name="T82" fmla="*/ 186 w 289"/>
                    <a:gd name="T83" fmla="*/ 21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9" h="257">
                      <a:moveTo>
                        <a:pt x="273" y="236"/>
                      </a:moveTo>
                      <a:lnTo>
                        <a:pt x="271" y="236"/>
                      </a:lnTo>
                      <a:lnTo>
                        <a:pt x="271" y="240"/>
                      </a:lnTo>
                      <a:lnTo>
                        <a:pt x="17" y="240"/>
                      </a:lnTo>
                      <a:lnTo>
                        <a:pt x="17" y="64"/>
                      </a:lnTo>
                      <a:lnTo>
                        <a:pt x="271" y="64"/>
                      </a:lnTo>
                      <a:lnTo>
                        <a:pt x="271" y="82"/>
                      </a:lnTo>
                      <a:lnTo>
                        <a:pt x="273" y="82"/>
                      </a:lnTo>
                      <a:lnTo>
                        <a:pt x="281" y="82"/>
                      </a:lnTo>
                      <a:lnTo>
                        <a:pt x="289" y="84"/>
                      </a:lnTo>
                      <a:lnTo>
                        <a:pt x="289" y="10"/>
                      </a:lnTo>
                      <a:lnTo>
                        <a:pt x="289" y="6"/>
                      </a:lnTo>
                      <a:lnTo>
                        <a:pt x="286" y="3"/>
                      </a:lnTo>
                      <a:lnTo>
                        <a:pt x="284" y="2"/>
                      </a:lnTo>
                      <a:lnTo>
                        <a:pt x="280" y="0"/>
                      </a:lnTo>
                      <a:lnTo>
                        <a:pt x="9" y="0"/>
                      </a:lnTo>
                      <a:lnTo>
                        <a:pt x="4" y="2"/>
                      </a:lnTo>
                      <a:lnTo>
                        <a:pt x="3" y="3"/>
                      </a:lnTo>
                      <a:lnTo>
                        <a:pt x="0" y="6"/>
                      </a:lnTo>
                      <a:lnTo>
                        <a:pt x="0" y="10"/>
                      </a:lnTo>
                      <a:lnTo>
                        <a:pt x="0" y="249"/>
                      </a:lnTo>
                      <a:lnTo>
                        <a:pt x="0" y="252"/>
                      </a:lnTo>
                      <a:lnTo>
                        <a:pt x="3" y="256"/>
                      </a:lnTo>
                      <a:lnTo>
                        <a:pt x="4" y="257"/>
                      </a:lnTo>
                      <a:lnTo>
                        <a:pt x="9" y="257"/>
                      </a:lnTo>
                      <a:lnTo>
                        <a:pt x="280" y="257"/>
                      </a:lnTo>
                      <a:lnTo>
                        <a:pt x="284" y="257"/>
                      </a:lnTo>
                      <a:lnTo>
                        <a:pt x="286" y="256"/>
                      </a:lnTo>
                      <a:lnTo>
                        <a:pt x="289" y="252"/>
                      </a:lnTo>
                      <a:lnTo>
                        <a:pt x="289" y="249"/>
                      </a:lnTo>
                      <a:lnTo>
                        <a:pt x="289" y="235"/>
                      </a:lnTo>
                      <a:lnTo>
                        <a:pt x="281" y="235"/>
                      </a:lnTo>
                      <a:lnTo>
                        <a:pt x="273" y="236"/>
                      </a:lnTo>
                      <a:close/>
                      <a:moveTo>
                        <a:pt x="259" y="21"/>
                      </a:moveTo>
                      <a:lnTo>
                        <a:pt x="263" y="21"/>
                      </a:lnTo>
                      <a:lnTo>
                        <a:pt x="267" y="24"/>
                      </a:lnTo>
                      <a:lnTo>
                        <a:pt x="270" y="27"/>
                      </a:lnTo>
                      <a:lnTo>
                        <a:pt x="271" y="32"/>
                      </a:lnTo>
                      <a:lnTo>
                        <a:pt x="270" y="37"/>
                      </a:lnTo>
                      <a:lnTo>
                        <a:pt x="267" y="42"/>
                      </a:lnTo>
                      <a:lnTo>
                        <a:pt x="263" y="43"/>
                      </a:lnTo>
                      <a:lnTo>
                        <a:pt x="259" y="45"/>
                      </a:lnTo>
                      <a:lnTo>
                        <a:pt x="254" y="43"/>
                      </a:lnTo>
                      <a:lnTo>
                        <a:pt x="251" y="42"/>
                      </a:lnTo>
                      <a:lnTo>
                        <a:pt x="247" y="37"/>
                      </a:lnTo>
                      <a:lnTo>
                        <a:pt x="246" y="32"/>
                      </a:lnTo>
                      <a:lnTo>
                        <a:pt x="247" y="27"/>
                      </a:lnTo>
                      <a:lnTo>
                        <a:pt x="251" y="24"/>
                      </a:lnTo>
                      <a:lnTo>
                        <a:pt x="254" y="21"/>
                      </a:lnTo>
                      <a:lnTo>
                        <a:pt x="259" y="21"/>
                      </a:lnTo>
                      <a:close/>
                      <a:moveTo>
                        <a:pt x="223" y="21"/>
                      </a:moveTo>
                      <a:lnTo>
                        <a:pt x="228" y="21"/>
                      </a:lnTo>
                      <a:lnTo>
                        <a:pt x="231" y="24"/>
                      </a:lnTo>
                      <a:lnTo>
                        <a:pt x="234" y="27"/>
                      </a:lnTo>
                      <a:lnTo>
                        <a:pt x="234" y="32"/>
                      </a:lnTo>
                      <a:lnTo>
                        <a:pt x="234" y="37"/>
                      </a:lnTo>
                      <a:lnTo>
                        <a:pt x="231" y="42"/>
                      </a:lnTo>
                      <a:lnTo>
                        <a:pt x="228" y="43"/>
                      </a:lnTo>
                      <a:lnTo>
                        <a:pt x="223" y="45"/>
                      </a:lnTo>
                      <a:lnTo>
                        <a:pt x="218" y="43"/>
                      </a:lnTo>
                      <a:lnTo>
                        <a:pt x="214" y="42"/>
                      </a:lnTo>
                      <a:lnTo>
                        <a:pt x="212" y="37"/>
                      </a:lnTo>
                      <a:lnTo>
                        <a:pt x="210" y="32"/>
                      </a:lnTo>
                      <a:lnTo>
                        <a:pt x="212" y="27"/>
                      </a:lnTo>
                      <a:lnTo>
                        <a:pt x="214" y="24"/>
                      </a:lnTo>
                      <a:lnTo>
                        <a:pt x="218" y="21"/>
                      </a:lnTo>
                      <a:lnTo>
                        <a:pt x="223" y="21"/>
                      </a:lnTo>
                      <a:close/>
                      <a:moveTo>
                        <a:pt x="186" y="21"/>
                      </a:moveTo>
                      <a:lnTo>
                        <a:pt x="191" y="21"/>
                      </a:lnTo>
                      <a:lnTo>
                        <a:pt x="196" y="24"/>
                      </a:lnTo>
                      <a:lnTo>
                        <a:pt x="198" y="27"/>
                      </a:lnTo>
                      <a:lnTo>
                        <a:pt x="199" y="32"/>
                      </a:lnTo>
                      <a:lnTo>
                        <a:pt x="198" y="37"/>
                      </a:lnTo>
                      <a:lnTo>
                        <a:pt x="196" y="42"/>
                      </a:lnTo>
                      <a:lnTo>
                        <a:pt x="191" y="43"/>
                      </a:lnTo>
                      <a:lnTo>
                        <a:pt x="186" y="45"/>
                      </a:lnTo>
                      <a:lnTo>
                        <a:pt x="181" y="43"/>
                      </a:lnTo>
                      <a:lnTo>
                        <a:pt x="178" y="42"/>
                      </a:lnTo>
                      <a:lnTo>
                        <a:pt x="175" y="37"/>
                      </a:lnTo>
                      <a:lnTo>
                        <a:pt x="175" y="32"/>
                      </a:lnTo>
                      <a:lnTo>
                        <a:pt x="175" y="27"/>
                      </a:lnTo>
                      <a:lnTo>
                        <a:pt x="178" y="24"/>
                      </a:lnTo>
                      <a:lnTo>
                        <a:pt x="181" y="21"/>
                      </a:lnTo>
                      <a:lnTo>
                        <a:pt x="186" y="21"/>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prstClr val="black"/>
                    </a:solidFill>
                    <a:latin typeface="Univers for KPMG" panose="020B0603020202020204" pitchFamily="34" charset="0"/>
                  </a:endParaRPr>
                </a:p>
              </p:txBody>
            </p:sp>
            <p:sp>
              <p:nvSpPr>
                <p:cNvPr id="45" name="Freeform 243"/>
                <p:cNvSpPr>
                  <a:spLocks noEditPoints="1"/>
                </p:cNvSpPr>
                <p:nvPr/>
              </p:nvSpPr>
              <p:spPr bwMode="auto">
                <a:xfrm>
                  <a:off x="3526313" y="933091"/>
                  <a:ext cx="191488" cy="154668"/>
                </a:xfrm>
                <a:custGeom>
                  <a:avLst/>
                  <a:gdLst>
                    <a:gd name="T0" fmla="*/ 175 w 182"/>
                    <a:gd name="T1" fmla="*/ 121 h 147"/>
                    <a:gd name="T2" fmla="*/ 138 w 182"/>
                    <a:gd name="T3" fmla="*/ 97 h 147"/>
                    <a:gd name="T4" fmla="*/ 133 w 182"/>
                    <a:gd name="T5" fmla="*/ 95 h 147"/>
                    <a:gd name="T6" fmla="*/ 128 w 182"/>
                    <a:gd name="T7" fmla="*/ 95 h 147"/>
                    <a:gd name="T8" fmla="*/ 125 w 182"/>
                    <a:gd name="T9" fmla="*/ 97 h 147"/>
                    <a:gd name="T10" fmla="*/ 119 w 182"/>
                    <a:gd name="T11" fmla="*/ 94 h 147"/>
                    <a:gd name="T12" fmla="*/ 127 w 182"/>
                    <a:gd name="T13" fmla="*/ 71 h 147"/>
                    <a:gd name="T14" fmla="*/ 125 w 182"/>
                    <a:gd name="T15" fmla="*/ 49 h 147"/>
                    <a:gd name="T16" fmla="*/ 117 w 182"/>
                    <a:gd name="T17" fmla="*/ 29 h 147"/>
                    <a:gd name="T18" fmla="*/ 104 w 182"/>
                    <a:gd name="T19" fmla="*/ 15 h 147"/>
                    <a:gd name="T20" fmla="*/ 88 w 182"/>
                    <a:gd name="T21" fmla="*/ 5 h 147"/>
                    <a:gd name="T22" fmla="*/ 69 w 182"/>
                    <a:gd name="T23" fmla="*/ 0 h 147"/>
                    <a:gd name="T24" fmla="*/ 48 w 182"/>
                    <a:gd name="T25" fmla="*/ 2 h 147"/>
                    <a:gd name="T26" fmla="*/ 30 w 182"/>
                    <a:gd name="T27" fmla="*/ 10 h 147"/>
                    <a:gd name="T28" fmla="*/ 16 w 182"/>
                    <a:gd name="T29" fmla="*/ 21 h 147"/>
                    <a:gd name="T30" fmla="*/ 5 w 182"/>
                    <a:gd name="T31" fmla="*/ 39 h 147"/>
                    <a:gd name="T32" fmla="*/ 0 w 182"/>
                    <a:gd name="T33" fmla="*/ 58 h 147"/>
                    <a:gd name="T34" fmla="*/ 1 w 182"/>
                    <a:gd name="T35" fmla="*/ 78 h 147"/>
                    <a:gd name="T36" fmla="*/ 9 w 182"/>
                    <a:gd name="T37" fmla="*/ 97 h 147"/>
                    <a:gd name="T38" fmla="*/ 22 w 182"/>
                    <a:gd name="T39" fmla="*/ 111 h 147"/>
                    <a:gd name="T40" fmla="*/ 38 w 182"/>
                    <a:gd name="T41" fmla="*/ 121 h 147"/>
                    <a:gd name="T42" fmla="*/ 58 w 182"/>
                    <a:gd name="T43" fmla="*/ 126 h 147"/>
                    <a:gd name="T44" fmla="*/ 79 w 182"/>
                    <a:gd name="T45" fmla="*/ 124 h 147"/>
                    <a:gd name="T46" fmla="*/ 96 w 182"/>
                    <a:gd name="T47" fmla="*/ 116 h 147"/>
                    <a:gd name="T48" fmla="*/ 111 w 182"/>
                    <a:gd name="T49" fmla="*/ 103 h 147"/>
                    <a:gd name="T50" fmla="*/ 117 w 182"/>
                    <a:gd name="T51" fmla="*/ 108 h 147"/>
                    <a:gd name="T52" fmla="*/ 119 w 182"/>
                    <a:gd name="T53" fmla="*/ 113 h 147"/>
                    <a:gd name="T54" fmla="*/ 120 w 182"/>
                    <a:gd name="T55" fmla="*/ 118 h 147"/>
                    <a:gd name="T56" fmla="*/ 124 w 182"/>
                    <a:gd name="T57" fmla="*/ 121 h 147"/>
                    <a:gd name="T58" fmla="*/ 161 w 182"/>
                    <a:gd name="T59" fmla="*/ 145 h 147"/>
                    <a:gd name="T60" fmla="*/ 164 w 182"/>
                    <a:gd name="T61" fmla="*/ 147 h 147"/>
                    <a:gd name="T62" fmla="*/ 169 w 182"/>
                    <a:gd name="T63" fmla="*/ 147 h 147"/>
                    <a:gd name="T64" fmla="*/ 172 w 182"/>
                    <a:gd name="T65" fmla="*/ 147 h 147"/>
                    <a:gd name="T66" fmla="*/ 177 w 182"/>
                    <a:gd name="T67" fmla="*/ 144 h 147"/>
                    <a:gd name="T68" fmla="*/ 180 w 182"/>
                    <a:gd name="T69" fmla="*/ 140 h 147"/>
                    <a:gd name="T70" fmla="*/ 182 w 182"/>
                    <a:gd name="T71" fmla="*/ 136 h 147"/>
                    <a:gd name="T72" fmla="*/ 182 w 182"/>
                    <a:gd name="T73" fmla="*/ 132 h 147"/>
                    <a:gd name="T74" fmla="*/ 182 w 182"/>
                    <a:gd name="T75" fmla="*/ 127 h 147"/>
                    <a:gd name="T76" fmla="*/ 178 w 182"/>
                    <a:gd name="T77" fmla="*/ 124 h 147"/>
                    <a:gd name="T78" fmla="*/ 175 w 182"/>
                    <a:gd name="T79" fmla="*/ 121 h 147"/>
                    <a:gd name="T80" fmla="*/ 74 w 182"/>
                    <a:gd name="T81" fmla="*/ 102 h 147"/>
                    <a:gd name="T82" fmla="*/ 58 w 182"/>
                    <a:gd name="T83" fmla="*/ 103 h 147"/>
                    <a:gd name="T84" fmla="*/ 42 w 182"/>
                    <a:gd name="T85" fmla="*/ 97 h 147"/>
                    <a:gd name="T86" fmla="*/ 30 w 182"/>
                    <a:gd name="T87" fmla="*/ 87 h 147"/>
                    <a:gd name="T88" fmla="*/ 24 w 182"/>
                    <a:gd name="T89" fmla="*/ 73 h 147"/>
                    <a:gd name="T90" fmla="*/ 24 w 182"/>
                    <a:gd name="T91" fmla="*/ 57 h 147"/>
                    <a:gd name="T92" fmla="*/ 29 w 182"/>
                    <a:gd name="T93" fmla="*/ 42 h 147"/>
                    <a:gd name="T94" fmla="*/ 40 w 182"/>
                    <a:gd name="T95" fmla="*/ 31 h 147"/>
                    <a:gd name="T96" fmla="*/ 54 w 182"/>
                    <a:gd name="T97" fmla="*/ 23 h 147"/>
                    <a:gd name="T98" fmla="*/ 71 w 182"/>
                    <a:gd name="T99" fmla="*/ 23 h 147"/>
                    <a:gd name="T100" fmla="*/ 85 w 182"/>
                    <a:gd name="T101" fmla="*/ 28 h 147"/>
                    <a:gd name="T102" fmla="*/ 96 w 182"/>
                    <a:gd name="T103" fmla="*/ 39 h 147"/>
                    <a:gd name="T104" fmla="*/ 103 w 182"/>
                    <a:gd name="T105" fmla="*/ 53 h 147"/>
                    <a:gd name="T106" fmla="*/ 103 w 182"/>
                    <a:gd name="T107" fmla="*/ 70 h 147"/>
                    <a:gd name="T108" fmla="*/ 98 w 182"/>
                    <a:gd name="T109" fmla="*/ 84 h 147"/>
                    <a:gd name="T110" fmla="*/ 88 w 182"/>
                    <a:gd name="T111" fmla="*/ 95 h 147"/>
                    <a:gd name="T112" fmla="*/ 74 w 182"/>
                    <a:gd name="T113" fmla="*/ 10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2" h="147">
                      <a:moveTo>
                        <a:pt x="175" y="121"/>
                      </a:moveTo>
                      <a:lnTo>
                        <a:pt x="138" y="97"/>
                      </a:lnTo>
                      <a:lnTo>
                        <a:pt x="133" y="95"/>
                      </a:lnTo>
                      <a:lnTo>
                        <a:pt x="128" y="95"/>
                      </a:lnTo>
                      <a:lnTo>
                        <a:pt x="125" y="97"/>
                      </a:lnTo>
                      <a:lnTo>
                        <a:pt x="119" y="94"/>
                      </a:lnTo>
                      <a:lnTo>
                        <a:pt x="127" y="71"/>
                      </a:lnTo>
                      <a:lnTo>
                        <a:pt x="125" y="49"/>
                      </a:lnTo>
                      <a:lnTo>
                        <a:pt x="117" y="29"/>
                      </a:lnTo>
                      <a:lnTo>
                        <a:pt x="104" y="15"/>
                      </a:lnTo>
                      <a:lnTo>
                        <a:pt x="88" y="5"/>
                      </a:lnTo>
                      <a:lnTo>
                        <a:pt x="69" y="0"/>
                      </a:lnTo>
                      <a:lnTo>
                        <a:pt x="48" y="2"/>
                      </a:lnTo>
                      <a:lnTo>
                        <a:pt x="30" y="10"/>
                      </a:lnTo>
                      <a:lnTo>
                        <a:pt x="16" y="21"/>
                      </a:lnTo>
                      <a:lnTo>
                        <a:pt x="5" y="39"/>
                      </a:lnTo>
                      <a:lnTo>
                        <a:pt x="0" y="58"/>
                      </a:lnTo>
                      <a:lnTo>
                        <a:pt x="1" y="78"/>
                      </a:lnTo>
                      <a:lnTo>
                        <a:pt x="9" y="97"/>
                      </a:lnTo>
                      <a:lnTo>
                        <a:pt x="22" y="111"/>
                      </a:lnTo>
                      <a:lnTo>
                        <a:pt x="38" y="121"/>
                      </a:lnTo>
                      <a:lnTo>
                        <a:pt x="58" y="126"/>
                      </a:lnTo>
                      <a:lnTo>
                        <a:pt x="79" y="124"/>
                      </a:lnTo>
                      <a:lnTo>
                        <a:pt x="96" y="116"/>
                      </a:lnTo>
                      <a:lnTo>
                        <a:pt x="111" y="103"/>
                      </a:lnTo>
                      <a:lnTo>
                        <a:pt x="117" y="108"/>
                      </a:lnTo>
                      <a:lnTo>
                        <a:pt x="119" y="113"/>
                      </a:lnTo>
                      <a:lnTo>
                        <a:pt x="120" y="118"/>
                      </a:lnTo>
                      <a:lnTo>
                        <a:pt x="124" y="121"/>
                      </a:lnTo>
                      <a:lnTo>
                        <a:pt x="161" y="145"/>
                      </a:lnTo>
                      <a:lnTo>
                        <a:pt x="164" y="147"/>
                      </a:lnTo>
                      <a:lnTo>
                        <a:pt x="169" y="147"/>
                      </a:lnTo>
                      <a:lnTo>
                        <a:pt x="172" y="147"/>
                      </a:lnTo>
                      <a:lnTo>
                        <a:pt x="177" y="144"/>
                      </a:lnTo>
                      <a:lnTo>
                        <a:pt x="180" y="140"/>
                      </a:lnTo>
                      <a:lnTo>
                        <a:pt x="182" y="136"/>
                      </a:lnTo>
                      <a:lnTo>
                        <a:pt x="182" y="132"/>
                      </a:lnTo>
                      <a:lnTo>
                        <a:pt x="182" y="127"/>
                      </a:lnTo>
                      <a:lnTo>
                        <a:pt x="178" y="124"/>
                      </a:lnTo>
                      <a:lnTo>
                        <a:pt x="175" y="121"/>
                      </a:lnTo>
                      <a:close/>
                      <a:moveTo>
                        <a:pt x="74" y="102"/>
                      </a:moveTo>
                      <a:lnTo>
                        <a:pt x="58" y="103"/>
                      </a:lnTo>
                      <a:lnTo>
                        <a:pt x="42" y="97"/>
                      </a:lnTo>
                      <a:lnTo>
                        <a:pt x="30" y="87"/>
                      </a:lnTo>
                      <a:lnTo>
                        <a:pt x="24" y="73"/>
                      </a:lnTo>
                      <a:lnTo>
                        <a:pt x="24" y="57"/>
                      </a:lnTo>
                      <a:lnTo>
                        <a:pt x="29" y="42"/>
                      </a:lnTo>
                      <a:lnTo>
                        <a:pt x="40" y="31"/>
                      </a:lnTo>
                      <a:lnTo>
                        <a:pt x="54" y="23"/>
                      </a:lnTo>
                      <a:lnTo>
                        <a:pt x="71" y="23"/>
                      </a:lnTo>
                      <a:lnTo>
                        <a:pt x="85" y="28"/>
                      </a:lnTo>
                      <a:lnTo>
                        <a:pt x="96" y="39"/>
                      </a:lnTo>
                      <a:lnTo>
                        <a:pt x="103" y="53"/>
                      </a:lnTo>
                      <a:lnTo>
                        <a:pt x="103" y="70"/>
                      </a:lnTo>
                      <a:lnTo>
                        <a:pt x="98" y="84"/>
                      </a:lnTo>
                      <a:lnTo>
                        <a:pt x="88" y="95"/>
                      </a:lnTo>
                      <a:lnTo>
                        <a:pt x="74" y="102"/>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prstClr val="black"/>
                    </a:solidFill>
                    <a:latin typeface="Univers for KPMG" panose="020B0603020202020204" pitchFamily="34" charset="0"/>
                  </a:endParaRPr>
                </a:p>
              </p:txBody>
            </p:sp>
          </p:grpSp>
          <p:grpSp>
            <p:nvGrpSpPr>
              <p:cNvPr id="36" name="Group 234"/>
              <p:cNvGrpSpPr/>
              <p:nvPr/>
            </p:nvGrpSpPr>
            <p:grpSpPr>
              <a:xfrm>
                <a:off x="3712419" y="2146472"/>
                <a:ext cx="2346045" cy="1356649"/>
                <a:chOff x="427305" y="3903678"/>
                <a:chExt cx="2042094" cy="1196150"/>
              </a:xfrm>
            </p:grpSpPr>
            <p:sp>
              <p:nvSpPr>
                <p:cNvPr id="37" name="Rectangle 235"/>
                <p:cNvSpPr/>
                <p:nvPr/>
              </p:nvSpPr>
              <p:spPr>
                <a:xfrm>
                  <a:off x="427305" y="3903678"/>
                  <a:ext cx="1779694" cy="259498"/>
                </a:xfrm>
                <a:prstGeom prst="rect">
                  <a:avLst/>
                </a:prstGeom>
              </p:spPr>
              <p:txBody>
                <a:bodyPr wrap="square">
                  <a:spAutoFit/>
                </a:bodyPr>
                <a:lstStyle/>
                <a:p>
                  <a:pPr algn="ctr" defTabSz="685800"/>
                  <a:r>
                    <a:rPr lang="en-US" sz="1200" b="1" u="sng">
                      <a:solidFill>
                        <a:srgbClr val="6D2077">
                          <a:lumMod val="20000"/>
                          <a:lumOff val="80000"/>
                        </a:srgbClr>
                      </a:solidFill>
                      <a:latin typeface="Univers for KPMG" panose="020B0603020202020204" pitchFamily="34" charset="0"/>
                    </a:rPr>
                    <a:t>Fund non-programmatic areas</a:t>
                  </a:r>
                  <a:endParaRPr lang="en-US" sz="1050" u="sng">
                    <a:solidFill>
                      <a:srgbClr val="6D2077">
                        <a:lumMod val="20000"/>
                        <a:lumOff val="80000"/>
                      </a:srgbClr>
                    </a:solidFill>
                    <a:latin typeface="Univers for KPMG" panose="020B0603020202020204" pitchFamily="34" charset="0"/>
                  </a:endParaRPr>
                </a:p>
              </p:txBody>
            </p:sp>
            <p:sp>
              <p:nvSpPr>
                <p:cNvPr id="38" name="TextBox 236"/>
                <p:cNvSpPr txBox="1"/>
                <p:nvPr/>
              </p:nvSpPr>
              <p:spPr>
                <a:xfrm>
                  <a:off x="462353" y="4105085"/>
                  <a:ext cx="2007046" cy="994743"/>
                </a:xfrm>
                <a:prstGeom prst="rect">
                  <a:avLst/>
                </a:prstGeom>
                <a:noFill/>
              </p:spPr>
              <p:txBody>
                <a:bodyPr wrap="square" rtlCol="0">
                  <a:spAutoFit/>
                </a:bodyPr>
                <a:lstStyle/>
                <a:p>
                  <a:pPr defTabSz="685800"/>
                  <a:r>
                    <a:rPr lang="en-US" sz="1050" dirty="0">
                      <a:solidFill>
                        <a:prstClr val="white"/>
                      </a:solidFill>
                      <a:latin typeface="Univers for KPMG" panose="020B0603020202020204" pitchFamily="34" charset="0"/>
                      <a:cs typeface="Arial" panose="020B0604020202020204" pitchFamily="34" charset="0"/>
                    </a:rPr>
                    <a:t>Allocate percentage of funds toward non-programmatic efforts.</a:t>
                  </a:r>
                </a:p>
                <a:p>
                  <a:pPr defTabSz="685800"/>
                  <a:r>
                    <a:rPr lang="en-US" sz="1050" dirty="0">
                      <a:solidFill>
                        <a:prstClr val="white"/>
                      </a:solidFill>
                      <a:latin typeface="Univers for KPMG" panose="020B0603020202020204" pitchFamily="34" charset="0"/>
                      <a:cs typeface="Arial" panose="020B0604020202020204" pitchFamily="34" charset="0"/>
                    </a:rPr>
                    <a:t>e.g., workforce development, increasing wages and paying community members for their expertise, data collection, and new technology concepts. </a:t>
                  </a:r>
                </a:p>
              </p:txBody>
            </p:sp>
          </p:grpSp>
        </p:grpSp>
        <p:grpSp>
          <p:nvGrpSpPr>
            <p:cNvPr id="46" name="Group 26"/>
            <p:cNvGrpSpPr/>
            <p:nvPr/>
          </p:nvGrpSpPr>
          <p:grpSpPr>
            <a:xfrm>
              <a:off x="8024674" y="1599947"/>
              <a:ext cx="2046787" cy="2067651"/>
              <a:chOff x="6500674" y="1599946"/>
              <a:chExt cx="2046787" cy="2067651"/>
            </a:xfrm>
          </p:grpSpPr>
          <p:grpSp>
            <p:nvGrpSpPr>
              <p:cNvPr id="47" name="Group 245"/>
              <p:cNvGrpSpPr/>
              <p:nvPr/>
            </p:nvGrpSpPr>
            <p:grpSpPr>
              <a:xfrm>
                <a:off x="7156792" y="1599946"/>
                <a:ext cx="574380" cy="589252"/>
                <a:chOff x="5394351" y="1018689"/>
                <a:chExt cx="357320" cy="366572"/>
              </a:xfrm>
              <a:solidFill>
                <a:schemeClr val="bg1"/>
              </a:solidFill>
            </p:grpSpPr>
            <p:sp>
              <p:nvSpPr>
                <p:cNvPr id="51" name="Freeform 249"/>
                <p:cNvSpPr>
                  <a:spLocks noEditPoints="1"/>
                </p:cNvSpPr>
                <p:nvPr/>
              </p:nvSpPr>
              <p:spPr bwMode="auto">
                <a:xfrm>
                  <a:off x="5394351" y="1158611"/>
                  <a:ext cx="158424" cy="226650"/>
                </a:xfrm>
                <a:custGeom>
                  <a:avLst/>
                  <a:gdLst>
                    <a:gd name="T0" fmla="*/ 76 w 137"/>
                    <a:gd name="T1" fmla="*/ 17 h 196"/>
                    <a:gd name="T2" fmla="*/ 118 w 137"/>
                    <a:gd name="T3" fmla="*/ 160 h 196"/>
                    <a:gd name="T4" fmla="*/ 62 w 137"/>
                    <a:gd name="T5" fmla="*/ 177 h 196"/>
                    <a:gd name="T6" fmla="*/ 20 w 137"/>
                    <a:gd name="T7" fmla="*/ 35 h 196"/>
                    <a:gd name="T8" fmla="*/ 76 w 137"/>
                    <a:gd name="T9" fmla="*/ 17 h 196"/>
                    <a:gd name="T10" fmla="*/ 87 w 137"/>
                    <a:gd name="T11" fmla="*/ 0 h 196"/>
                    <a:gd name="T12" fmla="*/ 73 w 137"/>
                    <a:gd name="T13" fmla="*/ 3 h 196"/>
                    <a:gd name="T14" fmla="*/ 15 w 137"/>
                    <a:gd name="T15" fmla="*/ 21 h 196"/>
                    <a:gd name="T16" fmla="*/ 0 w 137"/>
                    <a:gd name="T17" fmla="*/ 24 h 196"/>
                    <a:gd name="T18" fmla="*/ 5 w 137"/>
                    <a:gd name="T19" fmla="*/ 38 h 196"/>
                    <a:gd name="T20" fmla="*/ 47 w 137"/>
                    <a:gd name="T21" fmla="*/ 181 h 196"/>
                    <a:gd name="T22" fmla="*/ 52 w 137"/>
                    <a:gd name="T23" fmla="*/ 196 h 196"/>
                    <a:gd name="T24" fmla="*/ 66 w 137"/>
                    <a:gd name="T25" fmla="*/ 191 h 196"/>
                    <a:gd name="T26" fmla="*/ 123 w 137"/>
                    <a:gd name="T27" fmla="*/ 175 h 196"/>
                    <a:gd name="T28" fmla="*/ 137 w 137"/>
                    <a:gd name="T29" fmla="*/ 170 h 196"/>
                    <a:gd name="T30" fmla="*/ 132 w 137"/>
                    <a:gd name="T31" fmla="*/ 156 h 196"/>
                    <a:gd name="T32" fmla="*/ 90 w 137"/>
                    <a:gd name="T33" fmla="*/ 14 h 196"/>
                    <a:gd name="T34" fmla="*/ 87 w 137"/>
                    <a:gd name="T35"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7" h="196">
                      <a:moveTo>
                        <a:pt x="76" y="17"/>
                      </a:moveTo>
                      <a:lnTo>
                        <a:pt x="118" y="160"/>
                      </a:lnTo>
                      <a:lnTo>
                        <a:pt x="62" y="177"/>
                      </a:lnTo>
                      <a:lnTo>
                        <a:pt x="20" y="35"/>
                      </a:lnTo>
                      <a:lnTo>
                        <a:pt x="76" y="17"/>
                      </a:lnTo>
                      <a:close/>
                      <a:moveTo>
                        <a:pt x="87" y="0"/>
                      </a:moveTo>
                      <a:lnTo>
                        <a:pt x="73" y="3"/>
                      </a:lnTo>
                      <a:lnTo>
                        <a:pt x="15" y="21"/>
                      </a:lnTo>
                      <a:lnTo>
                        <a:pt x="0" y="24"/>
                      </a:lnTo>
                      <a:lnTo>
                        <a:pt x="5" y="38"/>
                      </a:lnTo>
                      <a:lnTo>
                        <a:pt x="47" y="181"/>
                      </a:lnTo>
                      <a:lnTo>
                        <a:pt x="52" y="196"/>
                      </a:lnTo>
                      <a:lnTo>
                        <a:pt x="66" y="191"/>
                      </a:lnTo>
                      <a:lnTo>
                        <a:pt x="123" y="175"/>
                      </a:lnTo>
                      <a:lnTo>
                        <a:pt x="137" y="170"/>
                      </a:lnTo>
                      <a:lnTo>
                        <a:pt x="132" y="156"/>
                      </a:lnTo>
                      <a:lnTo>
                        <a:pt x="90" y="14"/>
                      </a:lnTo>
                      <a:lnTo>
                        <a:pt x="87" y="0"/>
                      </a:ln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52" name="Freeform 250"/>
                <p:cNvSpPr>
                  <a:spLocks/>
                </p:cNvSpPr>
                <p:nvPr/>
              </p:nvSpPr>
              <p:spPr bwMode="auto">
                <a:xfrm>
                  <a:off x="5500737" y="1018689"/>
                  <a:ext cx="250934" cy="287939"/>
                </a:xfrm>
                <a:custGeom>
                  <a:avLst/>
                  <a:gdLst>
                    <a:gd name="T0" fmla="*/ 208 w 217"/>
                    <a:gd name="T1" fmla="*/ 182 h 249"/>
                    <a:gd name="T2" fmla="*/ 201 w 217"/>
                    <a:gd name="T3" fmla="*/ 193 h 249"/>
                    <a:gd name="T4" fmla="*/ 196 w 217"/>
                    <a:gd name="T5" fmla="*/ 204 h 249"/>
                    <a:gd name="T6" fmla="*/ 191 w 217"/>
                    <a:gd name="T7" fmla="*/ 217 h 249"/>
                    <a:gd name="T8" fmla="*/ 183 w 217"/>
                    <a:gd name="T9" fmla="*/ 225 h 249"/>
                    <a:gd name="T10" fmla="*/ 177 w 217"/>
                    <a:gd name="T11" fmla="*/ 233 h 249"/>
                    <a:gd name="T12" fmla="*/ 169 w 217"/>
                    <a:gd name="T13" fmla="*/ 244 h 249"/>
                    <a:gd name="T14" fmla="*/ 148 w 217"/>
                    <a:gd name="T15" fmla="*/ 249 h 249"/>
                    <a:gd name="T16" fmla="*/ 122 w 217"/>
                    <a:gd name="T17" fmla="*/ 246 h 249"/>
                    <a:gd name="T18" fmla="*/ 79 w 217"/>
                    <a:gd name="T19" fmla="*/ 243 h 249"/>
                    <a:gd name="T20" fmla="*/ 58 w 217"/>
                    <a:gd name="T21" fmla="*/ 241 h 249"/>
                    <a:gd name="T22" fmla="*/ 31 w 217"/>
                    <a:gd name="T23" fmla="*/ 244 h 249"/>
                    <a:gd name="T24" fmla="*/ 13 w 217"/>
                    <a:gd name="T25" fmla="*/ 129 h 249"/>
                    <a:gd name="T26" fmla="*/ 44 w 217"/>
                    <a:gd name="T27" fmla="*/ 97 h 249"/>
                    <a:gd name="T28" fmla="*/ 64 w 217"/>
                    <a:gd name="T29" fmla="*/ 66 h 249"/>
                    <a:gd name="T30" fmla="*/ 69 w 217"/>
                    <a:gd name="T31" fmla="*/ 32 h 249"/>
                    <a:gd name="T32" fmla="*/ 69 w 217"/>
                    <a:gd name="T33" fmla="*/ 13 h 249"/>
                    <a:gd name="T34" fmla="*/ 71 w 217"/>
                    <a:gd name="T35" fmla="*/ 6 h 249"/>
                    <a:gd name="T36" fmla="*/ 79 w 217"/>
                    <a:gd name="T37" fmla="*/ 2 h 249"/>
                    <a:gd name="T38" fmla="*/ 87 w 217"/>
                    <a:gd name="T39" fmla="*/ 0 h 249"/>
                    <a:gd name="T40" fmla="*/ 90 w 217"/>
                    <a:gd name="T41" fmla="*/ 0 h 249"/>
                    <a:gd name="T42" fmla="*/ 106 w 217"/>
                    <a:gd name="T43" fmla="*/ 14 h 249"/>
                    <a:gd name="T44" fmla="*/ 113 w 217"/>
                    <a:gd name="T45" fmla="*/ 58 h 249"/>
                    <a:gd name="T46" fmla="*/ 109 w 217"/>
                    <a:gd name="T47" fmla="*/ 76 h 249"/>
                    <a:gd name="T48" fmla="*/ 109 w 217"/>
                    <a:gd name="T49" fmla="*/ 90 h 249"/>
                    <a:gd name="T50" fmla="*/ 122 w 217"/>
                    <a:gd name="T51" fmla="*/ 100 h 249"/>
                    <a:gd name="T52" fmla="*/ 153 w 217"/>
                    <a:gd name="T53" fmla="*/ 105 h 249"/>
                    <a:gd name="T54" fmla="*/ 179 w 217"/>
                    <a:gd name="T55" fmla="*/ 106 h 249"/>
                    <a:gd name="T56" fmla="*/ 183 w 217"/>
                    <a:gd name="T57" fmla="*/ 106 h 249"/>
                    <a:gd name="T58" fmla="*/ 201 w 217"/>
                    <a:gd name="T59" fmla="*/ 109 h 249"/>
                    <a:gd name="T60" fmla="*/ 217 w 217"/>
                    <a:gd name="T61" fmla="*/ 138 h 249"/>
                    <a:gd name="T62" fmla="*/ 216 w 217"/>
                    <a:gd name="T63" fmla="*/ 153 h 249"/>
                    <a:gd name="T64" fmla="*/ 208 w 217"/>
                    <a:gd name="T65" fmla="*/ 162 h 249"/>
                    <a:gd name="T66" fmla="*/ 209 w 217"/>
                    <a:gd name="T67" fmla="*/ 17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7" h="249">
                      <a:moveTo>
                        <a:pt x="209" y="175"/>
                      </a:moveTo>
                      <a:lnTo>
                        <a:pt x="208" y="182"/>
                      </a:lnTo>
                      <a:lnTo>
                        <a:pt x="204" y="188"/>
                      </a:lnTo>
                      <a:lnTo>
                        <a:pt x="201" y="193"/>
                      </a:lnTo>
                      <a:lnTo>
                        <a:pt x="195" y="198"/>
                      </a:lnTo>
                      <a:lnTo>
                        <a:pt x="196" y="204"/>
                      </a:lnTo>
                      <a:lnTo>
                        <a:pt x="195" y="211"/>
                      </a:lnTo>
                      <a:lnTo>
                        <a:pt x="191" y="217"/>
                      </a:lnTo>
                      <a:lnTo>
                        <a:pt x="188" y="222"/>
                      </a:lnTo>
                      <a:lnTo>
                        <a:pt x="183" y="225"/>
                      </a:lnTo>
                      <a:lnTo>
                        <a:pt x="177" y="228"/>
                      </a:lnTo>
                      <a:lnTo>
                        <a:pt x="177" y="233"/>
                      </a:lnTo>
                      <a:lnTo>
                        <a:pt x="175" y="236"/>
                      </a:lnTo>
                      <a:lnTo>
                        <a:pt x="169" y="244"/>
                      </a:lnTo>
                      <a:lnTo>
                        <a:pt x="159" y="248"/>
                      </a:lnTo>
                      <a:lnTo>
                        <a:pt x="148" y="249"/>
                      </a:lnTo>
                      <a:lnTo>
                        <a:pt x="138" y="248"/>
                      </a:lnTo>
                      <a:lnTo>
                        <a:pt x="122" y="246"/>
                      </a:lnTo>
                      <a:lnTo>
                        <a:pt x="101" y="244"/>
                      </a:lnTo>
                      <a:lnTo>
                        <a:pt x="79" y="243"/>
                      </a:lnTo>
                      <a:lnTo>
                        <a:pt x="68" y="241"/>
                      </a:lnTo>
                      <a:lnTo>
                        <a:pt x="58" y="241"/>
                      </a:lnTo>
                      <a:lnTo>
                        <a:pt x="40" y="243"/>
                      </a:lnTo>
                      <a:lnTo>
                        <a:pt x="31" y="244"/>
                      </a:lnTo>
                      <a:lnTo>
                        <a:pt x="0" y="140"/>
                      </a:lnTo>
                      <a:lnTo>
                        <a:pt x="13" y="129"/>
                      </a:lnTo>
                      <a:lnTo>
                        <a:pt x="27" y="113"/>
                      </a:lnTo>
                      <a:lnTo>
                        <a:pt x="44" y="97"/>
                      </a:lnTo>
                      <a:lnTo>
                        <a:pt x="56" y="80"/>
                      </a:lnTo>
                      <a:lnTo>
                        <a:pt x="64" y="66"/>
                      </a:lnTo>
                      <a:lnTo>
                        <a:pt x="68" y="50"/>
                      </a:lnTo>
                      <a:lnTo>
                        <a:pt x="69" y="32"/>
                      </a:lnTo>
                      <a:lnTo>
                        <a:pt x="69" y="19"/>
                      </a:lnTo>
                      <a:lnTo>
                        <a:pt x="69" y="13"/>
                      </a:lnTo>
                      <a:lnTo>
                        <a:pt x="69" y="8"/>
                      </a:lnTo>
                      <a:lnTo>
                        <a:pt x="71" y="6"/>
                      </a:lnTo>
                      <a:lnTo>
                        <a:pt x="74" y="3"/>
                      </a:lnTo>
                      <a:lnTo>
                        <a:pt x="79" y="2"/>
                      </a:lnTo>
                      <a:lnTo>
                        <a:pt x="82" y="2"/>
                      </a:lnTo>
                      <a:lnTo>
                        <a:pt x="87" y="0"/>
                      </a:lnTo>
                      <a:lnTo>
                        <a:pt x="89" y="0"/>
                      </a:lnTo>
                      <a:lnTo>
                        <a:pt x="90" y="0"/>
                      </a:lnTo>
                      <a:lnTo>
                        <a:pt x="100" y="3"/>
                      </a:lnTo>
                      <a:lnTo>
                        <a:pt x="106" y="14"/>
                      </a:lnTo>
                      <a:lnTo>
                        <a:pt x="111" y="34"/>
                      </a:lnTo>
                      <a:lnTo>
                        <a:pt x="113" y="58"/>
                      </a:lnTo>
                      <a:lnTo>
                        <a:pt x="111" y="66"/>
                      </a:lnTo>
                      <a:lnTo>
                        <a:pt x="109" y="76"/>
                      </a:lnTo>
                      <a:lnTo>
                        <a:pt x="109" y="84"/>
                      </a:lnTo>
                      <a:lnTo>
                        <a:pt x="109" y="90"/>
                      </a:lnTo>
                      <a:lnTo>
                        <a:pt x="113" y="97"/>
                      </a:lnTo>
                      <a:lnTo>
                        <a:pt x="122" y="100"/>
                      </a:lnTo>
                      <a:lnTo>
                        <a:pt x="137" y="103"/>
                      </a:lnTo>
                      <a:lnTo>
                        <a:pt x="153" y="105"/>
                      </a:lnTo>
                      <a:lnTo>
                        <a:pt x="167" y="106"/>
                      </a:lnTo>
                      <a:lnTo>
                        <a:pt x="179" y="106"/>
                      </a:lnTo>
                      <a:lnTo>
                        <a:pt x="182" y="106"/>
                      </a:lnTo>
                      <a:lnTo>
                        <a:pt x="183" y="106"/>
                      </a:lnTo>
                      <a:lnTo>
                        <a:pt x="185" y="106"/>
                      </a:lnTo>
                      <a:lnTo>
                        <a:pt x="201" y="109"/>
                      </a:lnTo>
                      <a:lnTo>
                        <a:pt x="214" y="122"/>
                      </a:lnTo>
                      <a:lnTo>
                        <a:pt x="217" y="138"/>
                      </a:lnTo>
                      <a:lnTo>
                        <a:pt x="217" y="146"/>
                      </a:lnTo>
                      <a:lnTo>
                        <a:pt x="216" y="153"/>
                      </a:lnTo>
                      <a:lnTo>
                        <a:pt x="211" y="158"/>
                      </a:lnTo>
                      <a:lnTo>
                        <a:pt x="208" y="162"/>
                      </a:lnTo>
                      <a:lnTo>
                        <a:pt x="209" y="169"/>
                      </a:lnTo>
                      <a:lnTo>
                        <a:pt x="209" y="175"/>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grpSp>
          <p:grpSp>
            <p:nvGrpSpPr>
              <p:cNvPr id="48" name="Group 246"/>
              <p:cNvGrpSpPr/>
              <p:nvPr/>
            </p:nvGrpSpPr>
            <p:grpSpPr>
              <a:xfrm>
                <a:off x="6500674" y="2143653"/>
                <a:ext cx="2046787" cy="1523944"/>
                <a:chOff x="499687" y="3878462"/>
                <a:chExt cx="1781607" cy="1343654"/>
              </a:xfrm>
            </p:grpSpPr>
            <p:sp>
              <p:nvSpPr>
                <p:cNvPr id="49" name="Rectangle 247"/>
                <p:cNvSpPr/>
                <p:nvPr/>
              </p:nvSpPr>
              <p:spPr>
                <a:xfrm>
                  <a:off x="506577" y="3878462"/>
                  <a:ext cx="1679927" cy="259498"/>
                </a:xfrm>
                <a:prstGeom prst="rect">
                  <a:avLst/>
                </a:prstGeom>
              </p:spPr>
              <p:txBody>
                <a:bodyPr wrap="square">
                  <a:spAutoFit/>
                </a:bodyPr>
                <a:lstStyle/>
                <a:p>
                  <a:pPr algn="ctr" defTabSz="685800"/>
                  <a:r>
                    <a:rPr lang="en-US" sz="1200" b="1" u="sng" dirty="0">
                      <a:solidFill>
                        <a:srgbClr val="43B02A">
                          <a:lumMod val="20000"/>
                          <a:lumOff val="80000"/>
                        </a:srgbClr>
                      </a:solidFill>
                      <a:latin typeface="Univers for KPMG" panose="020B0603020202020204" pitchFamily="34" charset="0"/>
                    </a:rPr>
                    <a:t>Redefine success</a:t>
                  </a:r>
                  <a:endParaRPr lang="en-US" sz="1050" u="sng" dirty="0">
                    <a:solidFill>
                      <a:srgbClr val="43B02A">
                        <a:lumMod val="20000"/>
                        <a:lumOff val="80000"/>
                      </a:srgbClr>
                    </a:solidFill>
                    <a:latin typeface="Univers for KPMG" panose="020B0603020202020204" pitchFamily="34" charset="0"/>
                  </a:endParaRPr>
                </a:p>
              </p:txBody>
            </p:sp>
            <p:sp>
              <p:nvSpPr>
                <p:cNvPr id="50" name="TextBox 248"/>
                <p:cNvSpPr txBox="1"/>
                <p:nvPr/>
              </p:nvSpPr>
              <p:spPr>
                <a:xfrm>
                  <a:off x="499687" y="4075999"/>
                  <a:ext cx="1781607" cy="1146117"/>
                </a:xfrm>
                <a:prstGeom prst="rect">
                  <a:avLst/>
                </a:prstGeom>
                <a:noFill/>
              </p:spPr>
              <p:txBody>
                <a:bodyPr wrap="square" rtlCol="0">
                  <a:spAutoFit/>
                </a:bodyPr>
                <a:lstStyle/>
                <a:p>
                  <a:pPr defTabSz="685800"/>
                  <a:r>
                    <a:rPr lang="en-US" sz="1050" dirty="0">
                      <a:solidFill>
                        <a:prstClr val="white"/>
                      </a:solidFill>
                      <a:latin typeface="Univers for KPMG" panose="020B0603020202020204" pitchFamily="34" charset="0"/>
                      <a:cs typeface="Arial" panose="020B0604020202020204" pitchFamily="34" charset="0"/>
                    </a:rPr>
                    <a:t>Create definitions of success (e.g. by program type) to help streamline data collection and evaluation. Consider including (new) upstream, positive, data-driven KPIs rooted in the social determinants and equity incorporating qualitative data.</a:t>
                  </a:r>
                </a:p>
              </p:txBody>
            </p:sp>
          </p:grpSp>
        </p:grpSp>
        <p:grpSp>
          <p:nvGrpSpPr>
            <p:cNvPr id="53" name="Group 23"/>
            <p:cNvGrpSpPr/>
            <p:nvPr/>
          </p:nvGrpSpPr>
          <p:grpSpPr>
            <a:xfrm>
              <a:off x="2134292" y="4140200"/>
              <a:ext cx="2475317" cy="1792657"/>
              <a:chOff x="610292" y="4140200"/>
              <a:chExt cx="2475317" cy="1792657"/>
            </a:xfrm>
          </p:grpSpPr>
          <p:grpSp>
            <p:nvGrpSpPr>
              <p:cNvPr id="54" name="Group 252"/>
              <p:cNvGrpSpPr/>
              <p:nvPr/>
            </p:nvGrpSpPr>
            <p:grpSpPr>
              <a:xfrm>
                <a:off x="1657712" y="4140200"/>
                <a:ext cx="463188" cy="560318"/>
                <a:chOff x="2612674" y="5549356"/>
                <a:chExt cx="288147" cy="348573"/>
              </a:xfrm>
            </p:grpSpPr>
            <p:sp>
              <p:nvSpPr>
                <p:cNvPr id="58" name="Oval 256"/>
                <p:cNvSpPr/>
                <p:nvPr/>
              </p:nvSpPr>
              <p:spPr>
                <a:xfrm>
                  <a:off x="2613301" y="5549498"/>
                  <a:ext cx="66430" cy="6844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59" name="Oval 257"/>
                <p:cNvSpPr/>
                <p:nvPr/>
              </p:nvSpPr>
              <p:spPr>
                <a:xfrm>
                  <a:off x="2812673" y="5549356"/>
                  <a:ext cx="66430" cy="6844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60" name="Rounded Rectangle 258"/>
                <p:cNvSpPr/>
                <p:nvPr/>
              </p:nvSpPr>
              <p:spPr>
                <a:xfrm rot="18614750">
                  <a:off x="2674489" y="5620871"/>
                  <a:ext cx="26337" cy="144420"/>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61" name="Rectangle 2"/>
                <p:cNvSpPr/>
                <p:nvPr/>
              </p:nvSpPr>
              <p:spPr>
                <a:xfrm rot="19282856">
                  <a:off x="2717891" y="5693299"/>
                  <a:ext cx="106339" cy="35506"/>
                </a:xfrm>
                <a:custGeom>
                  <a:avLst/>
                  <a:gdLst>
                    <a:gd name="connsiteX0" fmla="*/ 0 w 363489"/>
                    <a:gd name="connsiteY0" fmla="*/ 0 h 155357"/>
                    <a:gd name="connsiteX1" fmla="*/ 363489 w 363489"/>
                    <a:gd name="connsiteY1" fmla="*/ 0 h 155357"/>
                    <a:gd name="connsiteX2" fmla="*/ 363489 w 363489"/>
                    <a:gd name="connsiteY2" fmla="*/ 155357 h 155357"/>
                    <a:gd name="connsiteX3" fmla="*/ 0 w 363489"/>
                    <a:gd name="connsiteY3" fmla="*/ 155357 h 155357"/>
                    <a:gd name="connsiteX4" fmla="*/ 0 w 363489"/>
                    <a:gd name="connsiteY4" fmla="*/ 0 h 155357"/>
                    <a:gd name="connsiteX0" fmla="*/ 0 w 407008"/>
                    <a:gd name="connsiteY0" fmla="*/ 0 h 155357"/>
                    <a:gd name="connsiteX1" fmla="*/ 407008 w 407008"/>
                    <a:gd name="connsiteY1" fmla="*/ 10382 h 155357"/>
                    <a:gd name="connsiteX2" fmla="*/ 363489 w 407008"/>
                    <a:gd name="connsiteY2" fmla="*/ 155357 h 155357"/>
                    <a:gd name="connsiteX3" fmla="*/ 0 w 407008"/>
                    <a:gd name="connsiteY3" fmla="*/ 155357 h 155357"/>
                    <a:gd name="connsiteX4" fmla="*/ 0 w 407008"/>
                    <a:gd name="connsiteY4" fmla="*/ 0 h 155357"/>
                    <a:gd name="connsiteX0" fmla="*/ 0 w 407008"/>
                    <a:gd name="connsiteY0" fmla="*/ 0 h 155357"/>
                    <a:gd name="connsiteX1" fmla="*/ 407008 w 407008"/>
                    <a:gd name="connsiteY1" fmla="*/ 10382 h 155357"/>
                    <a:gd name="connsiteX2" fmla="*/ 305472 w 407008"/>
                    <a:gd name="connsiteY2" fmla="*/ 151679 h 155357"/>
                    <a:gd name="connsiteX3" fmla="*/ 0 w 407008"/>
                    <a:gd name="connsiteY3" fmla="*/ 155357 h 155357"/>
                    <a:gd name="connsiteX4" fmla="*/ 0 w 407008"/>
                    <a:gd name="connsiteY4" fmla="*/ 0 h 155357"/>
                    <a:gd name="connsiteX0" fmla="*/ 0 w 410729"/>
                    <a:gd name="connsiteY0" fmla="*/ 0 h 155357"/>
                    <a:gd name="connsiteX1" fmla="*/ 410729 w 410729"/>
                    <a:gd name="connsiteY1" fmla="*/ 13354 h 155357"/>
                    <a:gd name="connsiteX2" fmla="*/ 305472 w 410729"/>
                    <a:gd name="connsiteY2" fmla="*/ 151679 h 155357"/>
                    <a:gd name="connsiteX3" fmla="*/ 0 w 410729"/>
                    <a:gd name="connsiteY3" fmla="*/ 155357 h 155357"/>
                    <a:gd name="connsiteX4" fmla="*/ 0 w 410729"/>
                    <a:gd name="connsiteY4" fmla="*/ 0 h 155357"/>
                    <a:gd name="connsiteX0" fmla="*/ 0 w 414450"/>
                    <a:gd name="connsiteY0" fmla="*/ 0 h 155357"/>
                    <a:gd name="connsiteX1" fmla="*/ 414450 w 414450"/>
                    <a:gd name="connsiteY1" fmla="*/ 16326 h 155357"/>
                    <a:gd name="connsiteX2" fmla="*/ 305472 w 414450"/>
                    <a:gd name="connsiteY2" fmla="*/ 151679 h 155357"/>
                    <a:gd name="connsiteX3" fmla="*/ 0 w 414450"/>
                    <a:gd name="connsiteY3" fmla="*/ 155357 h 155357"/>
                    <a:gd name="connsiteX4" fmla="*/ 0 w 414450"/>
                    <a:gd name="connsiteY4" fmla="*/ 0 h 155357"/>
                    <a:gd name="connsiteX0" fmla="*/ 0 w 414450"/>
                    <a:gd name="connsiteY0" fmla="*/ 0 h 155357"/>
                    <a:gd name="connsiteX1" fmla="*/ 414450 w 414450"/>
                    <a:gd name="connsiteY1" fmla="*/ 16326 h 155357"/>
                    <a:gd name="connsiteX2" fmla="*/ 310305 w 414450"/>
                    <a:gd name="connsiteY2" fmla="*/ 149443 h 155357"/>
                    <a:gd name="connsiteX3" fmla="*/ 0 w 414450"/>
                    <a:gd name="connsiteY3" fmla="*/ 155357 h 155357"/>
                    <a:gd name="connsiteX4" fmla="*/ 0 w 414450"/>
                    <a:gd name="connsiteY4" fmla="*/ 0 h 155357"/>
                    <a:gd name="connsiteX0" fmla="*/ 0 w 409243"/>
                    <a:gd name="connsiteY0" fmla="*/ 0 h 155357"/>
                    <a:gd name="connsiteX1" fmla="*/ 409243 w 409243"/>
                    <a:gd name="connsiteY1" fmla="*/ 15213 h 155357"/>
                    <a:gd name="connsiteX2" fmla="*/ 310305 w 409243"/>
                    <a:gd name="connsiteY2" fmla="*/ 149443 h 155357"/>
                    <a:gd name="connsiteX3" fmla="*/ 0 w 409243"/>
                    <a:gd name="connsiteY3" fmla="*/ 155357 h 155357"/>
                    <a:gd name="connsiteX4" fmla="*/ 0 w 409243"/>
                    <a:gd name="connsiteY4" fmla="*/ 0 h 155357"/>
                    <a:gd name="connsiteX0" fmla="*/ 109352 w 409243"/>
                    <a:gd name="connsiteY0" fmla="*/ 8138 h 140144"/>
                    <a:gd name="connsiteX1" fmla="*/ 409243 w 409243"/>
                    <a:gd name="connsiteY1" fmla="*/ 0 h 140144"/>
                    <a:gd name="connsiteX2" fmla="*/ 310305 w 409243"/>
                    <a:gd name="connsiteY2" fmla="*/ 134230 h 140144"/>
                    <a:gd name="connsiteX3" fmla="*/ 0 w 409243"/>
                    <a:gd name="connsiteY3" fmla="*/ 140144 h 140144"/>
                    <a:gd name="connsiteX4" fmla="*/ 109352 w 409243"/>
                    <a:gd name="connsiteY4" fmla="*/ 8138 h 140144"/>
                    <a:gd name="connsiteX0" fmla="*/ 129464 w 429355"/>
                    <a:gd name="connsiteY0" fmla="*/ 8138 h 134230"/>
                    <a:gd name="connsiteX1" fmla="*/ 429355 w 429355"/>
                    <a:gd name="connsiteY1" fmla="*/ 0 h 134230"/>
                    <a:gd name="connsiteX2" fmla="*/ 330417 w 429355"/>
                    <a:gd name="connsiteY2" fmla="*/ 134230 h 134230"/>
                    <a:gd name="connsiteX3" fmla="*/ 0 w 429355"/>
                    <a:gd name="connsiteY3" fmla="*/ 96647 h 134230"/>
                    <a:gd name="connsiteX4" fmla="*/ 129464 w 429355"/>
                    <a:gd name="connsiteY4" fmla="*/ 8138 h 134230"/>
                    <a:gd name="connsiteX0" fmla="*/ 129464 w 429355"/>
                    <a:gd name="connsiteY0" fmla="*/ 8138 h 141375"/>
                    <a:gd name="connsiteX1" fmla="*/ 429355 w 429355"/>
                    <a:gd name="connsiteY1" fmla="*/ 0 h 141375"/>
                    <a:gd name="connsiteX2" fmla="*/ 330417 w 429355"/>
                    <a:gd name="connsiteY2" fmla="*/ 134230 h 141375"/>
                    <a:gd name="connsiteX3" fmla="*/ 0 w 429355"/>
                    <a:gd name="connsiteY3" fmla="*/ 96647 h 141375"/>
                    <a:gd name="connsiteX4" fmla="*/ 129464 w 429355"/>
                    <a:gd name="connsiteY4" fmla="*/ 8138 h 141375"/>
                    <a:gd name="connsiteX0" fmla="*/ 129464 w 429355"/>
                    <a:gd name="connsiteY0" fmla="*/ 8138 h 151387"/>
                    <a:gd name="connsiteX1" fmla="*/ 429355 w 429355"/>
                    <a:gd name="connsiteY1" fmla="*/ 0 h 151387"/>
                    <a:gd name="connsiteX2" fmla="*/ 330417 w 429355"/>
                    <a:gd name="connsiteY2" fmla="*/ 134230 h 151387"/>
                    <a:gd name="connsiteX3" fmla="*/ 0 w 429355"/>
                    <a:gd name="connsiteY3" fmla="*/ 96647 h 151387"/>
                    <a:gd name="connsiteX4" fmla="*/ 129464 w 429355"/>
                    <a:gd name="connsiteY4" fmla="*/ 8138 h 151387"/>
                    <a:gd name="connsiteX0" fmla="*/ 129464 w 429355"/>
                    <a:gd name="connsiteY0" fmla="*/ 8138 h 143253"/>
                    <a:gd name="connsiteX1" fmla="*/ 429355 w 429355"/>
                    <a:gd name="connsiteY1" fmla="*/ 0 h 143253"/>
                    <a:gd name="connsiteX2" fmla="*/ 330417 w 429355"/>
                    <a:gd name="connsiteY2" fmla="*/ 134230 h 143253"/>
                    <a:gd name="connsiteX3" fmla="*/ 0 w 429355"/>
                    <a:gd name="connsiteY3" fmla="*/ 96647 h 143253"/>
                    <a:gd name="connsiteX4" fmla="*/ 129464 w 429355"/>
                    <a:gd name="connsiteY4" fmla="*/ 8138 h 143253"/>
                    <a:gd name="connsiteX0" fmla="*/ 129464 w 429355"/>
                    <a:gd name="connsiteY0" fmla="*/ 8138 h 143253"/>
                    <a:gd name="connsiteX1" fmla="*/ 429355 w 429355"/>
                    <a:gd name="connsiteY1" fmla="*/ 0 h 143253"/>
                    <a:gd name="connsiteX2" fmla="*/ 330417 w 429355"/>
                    <a:gd name="connsiteY2" fmla="*/ 134230 h 143253"/>
                    <a:gd name="connsiteX3" fmla="*/ 0 w 429355"/>
                    <a:gd name="connsiteY3" fmla="*/ 96647 h 143253"/>
                    <a:gd name="connsiteX4" fmla="*/ 129464 w 429355"/>
                    <a:gd name="connsiteY4" fmla="*/ 8138 h 143253"/>
                    <a:gd name="connsiteX0" fmla="*/ 129464 w 429355"/>
                    <a:gd name="connsiteY0" fmla="*/ 8138 h 143253"/>
                    <a:gd name="connsiteX1" fmla="*/ 429355 w 429355"/>
                    <a:gd name="connsiteY1" fmla="*/ 0 h 143253"/>
                    <a:gd name="connsiteX2" fmla="*/ 330417 w 429355"/>
                    <a:gd name="connsiteY2" fmla="*/ 134230 h 143253"/>
                    <a:gd name="connsiteX3" fmla="*/ 0 w 429355"/>
                    <a:gd name="connsiteY3" fmla="*/ 96647 h 143253"/>
                    <a:gd name="connsiteX4" fmla="*/ 129464 w 429355"/>
                    <a:gd name="connsiteY4" fmla="*/ 8138 h 143253"/>
                    <a:gd name="connsiteX0" fmla="*/ 129464 w 429355"/>
                    <a:gd name="connsiteY0" fmla="*/ 8138 h 143253"/>
                    <a:gd name="connsiteX1" fmla="*/ 429355 w 429355"/>
                    <a:gd name="connsiteY1" fmla="*/ 0 h 143253"/>
                    <a:gd name="connsiteX2" fmla="*/ 330417 w 429355"/>
                    <a:gd name="connsiteY2" fmla="*/ 134230 h 143253"/>
                    <a:gd name="connsiteX3" fmla="*/ 0 w 429355"/>
                    <a:gd name="connsiteY3" fmla="*/ 96647 h 143253"/>
                    <a:gd name="connsiteX4" fmla="*/ 129464 w 429355"/>
                    <a:gd name="connsiteY4" fmla="*/ 8138 h 143253"/>
                    <a:gd name="connsiteX0" fmla="*/ 129464 w 429355"/>
                    <a:gd name="connsiteY0" fmla="*/ 8138 h 143253"/>
                    <a:gd name="connsiteX1" fmla="*/ 429355 w 429355"/>
                    <a:gd name="connsiteY1" fmla="*/ 0 h 143253"/>
                    <a:gd name="connsiteX2" fmla="*/ 330417 w 429355"/>
                    <a:gd name="connsiteY2" fmla="*/ 134230 h 143253"/>
                    <a:gd name="connsiteX3" fmla="*/ 0 w 429355"/>
                    <a:gd name="connsiteY3" fmla="*/ 96647 h 143253"/>
                    <a:gd name="connsiteX4" fmla="*/ 129464 w 429355"/>
                    <a:gd name="connsiteY4" fmla="*/ 8138 h 143253"/>
                    <a:gd name="connsiteX0" fmla="*/ 129464 w 429355"/>
                    <a:gd name="connsiteY0" fmla="*/ 8138 h 143253"/>
                    <a:gd name="connsiteX1" fmla="*/ 429355 w 429355"/>
                    <a:gd name="connsiteY1" fmla="*/ 0 h 143253"/>
                    <a:gd name="connsiteX2" fmla="*/ 330417 w 429355"/>
                    <a:gd name="connsiteY2" fmla="*/ 134230 h 143253"/>
                    <a:gd name="connsiteX3" fmla="*/ 0 w 429355"/>
                    <a:gd name="connsiteY3" fmla="*/ 96647 h 143253"/>
                    <a:gd name="connsiteX4" fmla="*/ 129464 w 429355"/>
                    <a:gd name="connsiteY4" fmla="*/ 8138 h 143253"/>
                    <a:gd name="connsiteX0" fmla="*/ 129464 w 429355"/>
                    <a:gd name="connsiteY0" fmla="*/ 8138 h 143253"/>
                    <a:gd name="connsiteX1" fmla="*/ 429355 w 429355"/>
                    <a:gd name="connsiteY1" fmla="*/ 0 h 143253"/>
                    <a:gd name="connsiteX2" fmla="*/ 330417 w 429355"/>
                    <a:gd name="connsiteY2" fmla="*/ 134230 h 143253"/>
                    <a:gd name="connsiteX3" fmla="*/ 0 w 429355"/>
                    <a:gd name="connsiteY3" fmla="*/ 96647 h 143253"/>
                    <a:gd name="connsiteX4" fmla="*/ 129464 w 429355"/>
                    <a:gd name="connsiteY4" fmla="*/ 8138 h 143253"/>
                    <a:gd name="connsiteX0" fmla="*/ 129464 w 429355"/>
                    <a:gd name="connsiteY0" fmla="*/ 8138 h 143253"/>
                    <a:gd name="connsiteX1" fmla="*/ 429355 w 429355"/>
                    <a:gd name="connsiteY1" fmla="*/ 0 h 143253"/>
                    <a:gd name="connsiteX2" fmla="*/ 330417 w 429355"/>
                    <a:gd name="connsiteY2" fmla="*/ 134230 h 143253"/>
                    <a:gd name="connsiteX3" fmla="*/ 0 w 429355"/>
                    <a:gd name="connsiteY3" fmla="*/ 96647 h 143253"/>
                    <a:gd name="connsiteX4" fmla="*/ 129464 w 429355"/>
                    <a:gd name="connsiteY4" fmla="*/ 8138 h 143253"/>
                    <a:gd name="connsiteX0" fmla="*/ 129464 w 429355"/>
                    <a:gd name="connsiteY0" fmla="*/ 8138 h 143700"/>
                    <a:gd name="connsiteX1" fmla="*/ 429355 w 429355"/>
                    <a:gd name="connsiteY1" fmla="*/ 0 h 143700"/>
                    <a:gd name="connsiteX2" fmla="*/ 330417 w 429355"/>
                    <a:gd name="connsiteY2" fmla="*/ 134230 h 143700"/>
                    <a:gd name="connsiteX3" fmla="*/ 0 w 429355"/>
                    <a:gd name="connsiteY3" fmla="*/ 96647 h 143700"/>
                    <a:gd name="connsiteX4" fmla="*/ 129464 w 429355"/>
                    <a:gd name="connsiteY4" fmla="*/ 8138 h 143700"/>
                    <a:gd name="connsiteX0" fmla="*/ 129464 w 431217"/>
                    <a:gd name="connsiteY0" fmla="*/ 6652 h 142214"/>
                    <a:gd name="connsiteX1" fmla="*/ 431217 w 431217"/>
                    <a:gd name="connsiteY1" fmla="*/ 0 h 142214"/>
                    <a:gd name="connsiteX2" fmla="*/ 330417 w 431217"/>
                    <a:gd name="connsiteY2" fmla="*/ 132744 h 142214"/>
                    <a:gd name="connsiteX3" fmla="*/ 0 w 431217"/>
                    <a:gd name="connsiteY3" fmla="*/ 95161 h 142214"/>
                    <a:gd name="connsiteX4" fmla="*/ 129464 w 431217"/>
                    <a:gd name="connsiteY4" fmla="*/ 6652 h 142214"/>
                    <a:gd name="connsiteX0" fmla="*/ 129464 w 433077"/>
                    <a:gd name="connsiteY0" fmla="*/ 5166 h 140728"/>
                    <a:gd name="connsiteX1" fmla="*/ 433077 w 433077"/>
                    <a:gd name="connsiteY1" fmla="*/ 0 h 140728"/>
                    <a:gd name="connsiteX2" fmla="*/ 330417 w 433077"/>
                    <a:gd name="connsiteY2" fmla="*/ 131258 h 140728"/>
                    <a:gd name="connsiteX3" fmla="*/ 0 w 433077"/>
                    <a:gd name="connsiteY3" fmla="*/ 93675 h 140728"/>
                    <a:gd name="connsiteX4" fmla="*/ 129464 w 433077"/>
                    <a:gd name="connsiteY4" fmla="*/ 5166 h 140728"/>
                    <a:gd name="connsiteX0" fmla="*/ 129464 w 432329"/>
                    <a:gd name="connsiteY0" fmla="*/ 11860 h 147422"/>
                    <a:gd name="connsiteX1" fmla="*/ 432329 w 432329"/>
                    <a:gd name="connsiteY1" fmla="*/ 0 h 147422"/>
                    <a:gd name="connsiteX2" fmla="*/ 330417 w 432329"/>
                    <a:gd name="connsiteY2" fmla="*/ 137952 h 147422"/>
                    <a:gd name="connsiteX3" fmla="*/ 0 w 432329"/>
                    <a:gd name="connsiteY3" fmla="*/ 100369 h 147422"/>
                    <a:gd name="connsiteX4" fmla="*/ 129464 w 432329"/>
                    <a:gd name="connsiteY4" fmla="*/ 11860 h 147422"/>
                    <a:gd name="connsiteX0" fmla="*/ 129464 w 431218"/>
                    <a:gd name="connsiteY0" fmla="*/ 6652 h 142214"/>
                    <a:gd name="connsiteX1" fmla="*/ 431218 w 431218"/>
                    <a:gd name="connsiteY1" fmla="*/ 0 h 142214"/>
                    <a:gd name="connsiteX2" fmla="*/ 330417 w 431218"/>
                    <a:gd name="connsiteY2" fmla="*/ 132744 h 142214"/>
                    <a:gd name="connsiteX3" fmla="*/ 0 w 431218"/>
                    <a:gd name="connsiteY3" fmla="*/ 95161 h 142214"/>
                    <a:gd name="connsiteX4" fmla="*/ 129464 w 431218"/>
                    <a:gd name="connsiteY4" fmla="*/ 6652 h 142214"/>
                    <a:gd name="connsiteX0" fmla="*/ 129464 w 433453"/>
                    <a:gd name="connsiteY0" fmla="*/ 1819 h 137381"/>
                    <a:gd name="connsiteX1" fmla="*/ 433453 w 433453"/>
                    <a:gd name="connsiteY1" fmla="*/ 0 h 137381"/>
                    <a:gd name="connsiteX2" fmla="*/ 330417 w 433453"/>
                    <a:gd name="connsiteY2" fmla="*/ 127911 h 137381"/>
                    <a:gd name="connsiteX3" fmla="*/ 0 w 433453"/>
                    <a:gd name="connsiteY3" fmla="*/ 90328 h 137381"/>
                    <a:gd name="connsiteX4" fmla="*/ 129464 w 433453"/>
                    <a:gd name="connsiteY4" fmla="*/ 1819 h 137381"/>
                    <a:gd name="connsiteX0" fmla="*/ 129464 w 435677"/>
                    <a:gd name="connsiteY0" fmla="*/ 12233 h 147795"/>
                    <a:gd name="connsiteX1" fmla="*/ 435677 w 435677"/>
                    <a:gd name="connsiteY1" fmla="*/ 0 h 147795"/>
                    <a:gd name="connsiteX2" fmla="*/ 330417 w 435677"/>
                    <a:gd name="connsiteY2" fmla="*/ 138325 h 147795"/>
                    <a:gd name="connsiteX3" fmla="*/ 0 w 435677"/>
                    <a:gd name="connsiteY3" fmla="*/ 100742 h 147795"/>
                    <a:gd name="connsiteX4" fmla="*/ 129464 w 435677"/>
                    <a:gd name="connsiteY4" fmla="*/ 12233 h 147795"/>
                    <a:gd name="connsiteX0" fmla="*/ 129464 w 435677"/>
                    <a:gd name="connsiteY0" fmla="*/ 12233 h 148456"/>
                    <a:gd name="connsiteX1" fmla="*/ 435677 w 435677"/>
                    <a:gd name="connsiteY1" fmla="*/ 0 h 148456"/>
                    <a:gd name="connsiteX2" fmla="*/ 332278 w 435677"/>
                    <a:gd name="connsiteY2" fmla="*/ 139811 h 148456"/>
                    <a:gd name="connsiteX3" fmla="*/ 0 w 435677"/>
                    <a:gd name="connsiteY3" fmla="*/ 100742 h 148456"/>
                    <a:gd name="connsiteX4" fmla="*/ 129464 w 435677"/>
                    <a:gd name="connsiteY4" fmla="*/ 12233 h 148456"/>
                    <a:gd name="connsiteX0" fmla="*/ 129464 w 434565"/>
                    <a:gd name="connsiteY0" fmla="*/ 7027 h 143250"/>
                    <a:gd name="connsiteX1" fmla="*/ 434565 w 434565"/>
                    <a:gd name="connsiteY1" fmla="*/ 0 h 143250"/>
                    <a:gd name="connsiteX2" fmla="*/ 332278 w 434565"/>
                    <a:gd name="connsiteY2" fmla="*/ 134605 h 143250"/>
                    <a:gd name="connsiteX3" fmla="*/ 0 w 434565"/>
                    <a:gd name="connsiteY3" fmla="*/ 95536 h 143250"/>
                    <a:gd name="connsiteX4" fmla="*/ 129464 w 434565"/>
                    <a:gd name="connsiteY4" fmla="*/ 7027 h 143250"/>
                    <a:gd name="connsiteX0" fmla="*/ 129464 w 434565"/>
                    <a:gd name="connsiteY0" fmla="*/ 7027 h 143250"/>
                    <a:gd name="connsiteX1" fmla="*/ 434565 w 434565"/>
                    <a:gd name="connsiteY1" fmla="*/ 0 h 143250"/>
                    <a:gd name="connsiteX2" fmla="*/ 332278 w 434565"/>
                    <a:gd name="connsiteY2" fmla="*/ 134605 h 143250"/>
                    <a:gd name="connsiteX3" fmla="*/ 0 w 434565"/>
                    <a:gd name="connsiteY3" fmla="*/ 95536 h 143250"/>
                    <a:gd name="connsiteX4" fmla="*/ 129464 w 434565"/>
                    <a:gd name="connsiteY4" fmla="*/ 7027 h 143250"/>
                    <a:gd name="connsiteX0" fmla="*/ 129464 w 436051"/>
                    <a:gd name="connsiteY0" fmla="*/ 8887 h 145110"/>
                    <a:gd name="connsiteX1" fmla="*/ 436051 w 436051"/>
                    <a:gd name="connsiteY1" fmla="*/ 0 h 145110"/>
                    <a:gd name="connsiteX2" fmla="*/ 332278 w 436051"/>
                    <a:gd name="connsiteY2" fmla="*/ 136465 h 145110"/>
                    <a:gd name="connsiteX3" fmla="*/ 0 w 436051"/>
                    <a:gd name="connsiteY3" fmla="*/ 97396 h 145110"/>
                    <a:gd name="connsiteX4" fmla="*/ 129464 w 436051"/>
                    <a:gd name="connsiteY4" fmla="*/ 8887 h 145110"/>
                    <a:gd name="connsiteX0" fmla="*/ 129464 w 439771"/>
                    <a:gd name="connsiteY0" fmla="*/ 5914 h 142137"/>
                    <a:gd name="connsiteX1" fmla="*/ 439771 w 439771"/>
                    <a:gd name="connsiteY1" fmla="*/ 0 h 142137"/>
                    <a:gd name="connsiteX2" fmla="*/ 332278 w 439771"/>
                    <a:gd name="connsiteY2" fmla="*/ 133492 h 142137"/>
                    <a:gd name="connsiteX3" fmla="*/ 0 w 439771"/>
                    <a:gd name="connsiteY3" fmla="*/ 94423 h 142137"/>
                    <a:gd name="connsiteX4" fmla="*/ 129464 w 439771"/>
                    <a:gd name="connsiteY4" fmla="*/ 5914 h 142137"/>
                    <a:gd name="connsiteX0" fmla="*/ 129464 w 445716"/>
                    <a:gd name="connsiteY0" fmla="*/ 13357 h 149580"/>
                    <a:gd name="connsiteX1" fmla="*/ 445716 w 445716"/>
                    <a:gd name="connsiteY1" fmla="*/ 0 h 149580"/>
                    <a:gd name="connsiteX2" fmla="*/ 332278 w 445716"/>
                    <a:gd name="connsiteY2" fmla="*/ 140935 h 149580"/>
                    <a:gd name="connsiteX3" fmla="*/ 0 w 445716"/>
                    <a:gd name="connsiteY3" fmla="*/ 101866 h 149580"/>
                    <a:gd name="connsiteX4" fmla="*/ 129464 w 445716"/>
                    <a:gd name="connsiteY4" fmla="*/ 13357 h 149580"/>
                    <a:gd name="connsiteX0" fmla="*/ 129464 w 422290"/>
                    <a:gd name="connsiteY0" fmla="*/ 10738 h 146961"/>
                    <a:gd name="connsiteX1" fmla="*/ 422290 w 422290"/>
                    <a:gd name="connsiteY1" fmla="*/ 0 h 146961"/>
                    <a:gd name="connsiteX2" fmla="*/ 332278 w 422290"/>
                    <a:gd name="connsiteY2" fmla="*/ 138316 h 146961"/>
                    <a:gd name="connsiteX3" fmla="*/ 0 w 422290"/>
                    <a:gd name="connsiteY3" fmla="*/ 99247 h 146961"/>
                    <a:gd name="connsiteX4" fmla="*/ 129464 w 422290"/>
                    <a:gd name="connsiteY4" fmla="*/ 10738 h 146961"/>
                    <a:gd name="connsiteX0" fmla="*/ 129464 w 426010"/>
                    <a:gd name="connsiteY0" fmla="*/ 7765 h 143988"/>
                    <a:gd name="connsiteX1" fmla="*/ 426010 w 426010"/>
                    <a:gd name="connsiteY1" fmla="*/ 0 h 143988"/>
                    <a:gd name="connsiteX2" fmla="*/ 332278 w 426010"/>
                    <a:gd name="connsiteY2" fmla="*/ 135343 h 143988"/>
                    <a:gd name="connsiteX3" fmla="*/ 0 w 426010"/>
                    <a:gd name="connsiteY3" fmla="*/ 96274 h 143988"/>
                    <a:gd name="connsiteX4" fmla="*/ 129464 w 426010"/>
                    <a:gd name="connsiteY4" fmla="*/ 7765 h 143988"/>
                    <a:gd name="connsiteX0" fmla="*/ 129464 w 430469"/>
                    <a:gd name="connsiteY0" fmla="*/ 13346 h 149569"/>
                    <a:gd name="connsiteX1" fmla="*/ 430469 w 430469"/>
                    <a:gd name="connsiteY1" fmla="*/ 0 h 149569"/>
                    <a:gd name="connsiteX2" fmla="*/ 332278 w 430469"/>
                    <a:gd name="connsiteY2" fmla="*/ 140924 h 149569"/>
                    <a:gd name="connsiteX3" fmla="*/ 0 w 430469"/>
                    <a:gd name="connsiteY3" fmla="*/ 101855 h 149569"/>
                    <a:gd name="connsiteX4" fmla="*/ 129464 w 430469"/>
                    <a:gd name="connsiteY4" fmla="*/ 13346 h 1495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469" h="149569">
                      <a:moveTo>
                        <a:pt x="129464" y="13346"/>
                      </a:moveTo>
                      <a:lnTo>
                        <a:pt x="430469" y="0"/>
                      </a:lnTo>
                      <a:lnTo>
                        <a:pt x="332278" y="140924"/>
                      </a:lnTo>
                      <a:cubicBezTo>
                        <a:pt x="217677" y="133978"/>
                        <a:pt x="51802" y="183596"/>
                        <a:pt x="0" y="101855"/>
                      </a:cubicBezTo>
                      <a:cubicBezTo>
                        <a:pt x="57323" y="123290"/>
                        <a:pt x="102712" y="98621"/>
                        <a:pt x="129464" y="13346"/>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62" name="Rounded Rectangle 260"/>
                <p:cNvSpPr/>
                <p:nvPr/>
              </p:nvSpPr>
              <p:spPr>
                <a:xfrm>
                  <a:off x="2832184" y="5641661"/>
                  <a:ext cx="27407" cy="138783"/>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63" name="Rectangle 261"/>
                <p:cNvSpPr/>
                <p:nvPr/>
              </p:nvSpPr>
              <p:spPr>
                <a:xfrm>
                  <a:off x="2613301" y="5758509"/>
                  <a:ext cx="60816" cy="13941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64" name="Rounded Rectangle 9"/>
                <p:cNvSpPr/>
                <p:nvPr/>
              </p:nvSpPr>
              <p:spPr>
                <a:xfrm>
                  <a:off x="2794482" y="5792673"/>
                  <a:ext cx="106339" cy="52232"/>
                </a:xfrm>
                <a:custGeom>
                  <a:avLst/>
                  <a:gdLst>
                    <a:gd name="connsiteX0" fmla="*/ 0 w 430468"/>
                    <a:gd name="connsiteY0" fmla="*/ 76919 h 220027"/>
                    <a:gd name="connsiteX1" fmla="*/ 76919 w 430468"/>
                    <a:gd name="connsiteY1" fmla="*/ 0 h 220027"/>
                    <a:gd name="connsiteX2" fmla="*/ 353549 w 430468"/>
                    <a:gd name="connsiteY2" fmla="*/ 0 h 220027"/>
                    <a:gd name="connsiteX3" fmla="*/ 430468 w 430468"/>
                    <a:gd name="connsiteY3" fmla="*/ 76919 h 220027"/>
                    <a:gd name="connsiteX4" fmla="*/ 430468 w 430468"/>
                    <a:gd name="connsiteY4" fmla="*/ 143108 h 220027"/>
                    <a:gd name="connsiteX5" fmla="*/ 353549 w 430468"/>
                    <a:gd name="connsiteY5" fmla="*/ 220027 h 220027"/>
                    <a:gd name="connsiteX6" fmla="*/ 76919 w 430468"/>
                    <a:gd name="connsiteY6" fmla="*/ 220027 h 220027"/>
                    <a:gd name="connsiteX7" fmla="*/ 0 w 430468"/>
                    <a:gd name="connsiteY7" fmla="*/ 143108 h 220027"/>
                    <a:gd name="connsiteX8" fmla="*/ 0 w 430468"/>
                    <a:gd name="connsiteY8" fmla="*/ 76919 h 220027"/>
                    <a:gd name="connsiteX0" fmla="*/ 0 w 430468"/>
                    <a:gd name="connsiteY0" fmla="*/ 76919 h 220027"/>
                    <a:gd name="connsiteX1" fmla="*/ 76919 w 430468"/>
                    <a:gd name="connsiteY1" fmla="*/ 0 h 220027"/>
                    <a:gd name="connsiteX2" fmla="*/ 353549 w 430468"/>
                    <a:gd name="connsiteY2" fmla="*/ 0 h 220027"/>
                    <a:gd name="connsiteX3" fmla="*/ 430468 w 430468"/>
                    <a:gd name="connsiteY3" fmla="*/ 76919 h 220027"/>
                    <a:gd name="connsiteX4" fmla="*/ 430468 w 430468"/>
                    <a:gd name="connsiteY4" fmla="*/ 143108 h 220027"/>
                    <a:gd name="connsiteX5" fmla="*/ 353549 w 430468"/>
                    <a:gd name="connsiteY5" fmla="*/ 220027 h 220027"/>
                    <a:gd name="connsiteX6" fmla="*/ 184264 w 430468"/>
                    <a:gd name="connsiteY6" fmla="*/ 219551 h 220027"/>
                    <a:gd name="connsiteX7" fmla="*/ 76919 w 430468"/>
                    <a:gd name="connsiteY7" fmla="*/ 220027 h 220027"/>
                    <a:gd name="connsiteX8" fmla="*/ 0 w 430468"/>
                    <a:gd name="connsiteY8" fmla="*/ 143108 h 220027"/>
                    <a:gd name="connsiteX9" fmla="*/ 0 w 430468"/>
                    <a:gd name="connsiteY9" fmla="*/ 76919 h 220027"/>
                    <a:gd name="connsiteX0" fmla="*/ 0 w 430468"/>
                    <a:gd name="connsiteY0" fmla="*/ 76919 h 220027"/>
                    <a:gd name="connsiteX1" fmla="*/ 76919 w 430468"/>
                    <a:gd name="connsiteY1" fmla="*/ 0 h 220027"/>
                    <a:gd name="connsiteX2" fmla="*/ 353549 w 430468"/>
                    <a:gd name="connsiteY2" fmla="*/ 0 h 220027"/>
                    <a:gd name="connsiteX3" fmla="*/ 430468 w 430468"/>
                    <a:gd name="connsiteY3" fmla="*/ 76919 h 220027"/>
                    <a:gd name="connsiteX4" fmla="*/ 430468 w 430468"/>
                    <a:gd name="connsiteY4" fmla="*/ 143108 h 220027"/>
                    <a:gd name="connsiteX5" fmla="*/ 353549 w 430468"/>
                    <a:gd name="connsiteY5" fmla="*/ 220027 h 220027"/>
                    <a:gd name="connsiteX6" fmla="*/ 246176 w 430468"/>
                    <a:gd name="connsiteY6" fmla="*/ 217170 h 220027"/>
                    <a:gd name="connsiteX7" fmla="*/ 184264 w 430468"/>
                    <a:gd name="connsiteY7" fmla="*/ 219551 h 220027"/>
                    <a:gd name="connsiteX8" fmla="*/ 76919 w 430468"/>
                    <a:gd name="connsiteY8" fmla="*/ 220027 h 220027"/>
                    <a:gd name="connsiteX9" fmla="*/ 0 w 430468"/>
                    <a:gd name="connsiteY9" fmla="*/ 143108 h 220027"/>
                    <a:gd name="connsiteX10" fmla="*/ 0 w 430468"/>
                    <a:gd name="connsiteY10" fmla="*/ 76919 h 220027"/>
                    <a:gd name="connsiteX0" fmla="*/ 0 w 430468"/>
                    <a:gd name="connsiteY0" fmla="*/ 76919 h 220027"/>
                    <a:gd name="connsiteX1" fmla="*/ 76919 w 430468"/>
                    <a:gd name="connsiteY1" fmla="*/ 0 h 220027"/>
                    <a:gd name="connsiteX2" fmla="*/ 353549 w 430468"/>
                    <a:gd name="connsiteY2" fmla="*/ 0 h 220027"/>
                    <a:gd name="connsiteX3" fmla="*/ 430468 w 430468"/>
                    <a:gd name="connsiteY3" fmla="*/ 76919 h 220027"/>
                    <a:gd name="connsiteX4" fmla="*/ 430468 w 430468"/>
                    <a:gd name="connsiteY4" fmla="*/ 143108 h 220027"/>
                    <a:gd name="connsiteX5" fmla="*/ 353549 w 430468"/>
                    <a:gd name="connsiteY5" fmla="*/ 220027 h 220027"/>
                    <a:gd name="connsiteX6" fmla="*/ 246176 w 430468"/>
                    <a:gd name="connsiteY6" fmla="*/ 217170 h 220027"/>
                    <a:gd name="connsiteX7" fmla="*/ 184264 w 430468"/>
                    <a:gd name="connsiteY7" fmla="*/ 219551 h 220027"/>
                    <a:gd name="connsiteX8" fmla="*/ 76919 w 430468"/>
                    <a:gd name="connsiteY8" fmla="*/ 220027 h 220027"/>
                    <a:gd name="connsiteX9" fmla="*/ 0 w 430468"/>
                    <a:gd name="connsiteY9" fmla="*/ 143108 h 220027"/>
                    <a:gd name="connsiteX10" fmla="*/ 0 w 430468"/>
                    <a:gd name="connsiteY10" fmla="*/ 76919 h 220027"/>
                    <a:gd name="connsiteX0" fmla="*/ 0 w 430468"/>
                    <a:gd name="connsiteY0" fmla="*/ 76919 h 220027"/>
                    <a:gd name="connsiteX1" fmla="*/ 76919 w 430468"/>
                    <a:gd name="connsiteY1" fmla="*/ 0 h 220027"/>
                    <a:gd name="connsiteX2" fmla="*/ 353549 w 430468"/>
                    <a:gd name="connsiteY2" fmla="*/ 0 h 220027"/>
                    <a:gd name="connsiteX3" fmla="*/ 430468 w 430468"/>
                    <a:gd name="connsiteY3" fmla="*/ 76919 h 220027"/>
                    <a:gd name="connsiteX4" fmla="*/ 430468 w 430468"/>
                    <a:gd name="connsiteY4" fmla="*/ 143108 h 220027"/>
                    <a:gd name="connsiteX5" fmla="*/ 353549 w 430468"/>
                    <a:gd name="connsiteY5" fmla="*/ 220027 h 220027"/>
                    <a:gd name="connsiteX6" fmla="*/ 246176 w 430468"/>
                    <a:gd name="connsiteY6" fmla="*/ 217170 h 220027"/>
                    <a:gd name="connsiteX7" fmla="*/ 184264 w 430468"/>
                    <a:gd name="connsiteY7" fmla="*/ 219551 h 220027"/>
                    <a:gd name="connsiteX8" fmla="*/ 76919 w 430468"/>
                    <a:gd name="connsiteY8" fmla="*/ 220027 h 220027"/>
                    <a:gd name="connsiteX9" fmla="*/ 0 w 430468"/>
                    <a:gd name="connsiteY9" fmla="*/ 143108 h 220027"/>
                    <a:gd name="connsiteX10" fmla="*/ 0 w 430468"/>
                    <a:gd name="connsiteY10" fmla="*/ 76919 h 220027"/>
                    <a:gd name="connsiteX0" fmla="*/ 0 w 430468"/>
                    <a:gd name="connsiteY0" fmla="*/ 76919 h 220027"/>
                    <a:gd name="connsiteX1" fmla="*/ 76919 w 430468"/>
                    <a:gd name="connsiteY1" fmla="*/ 0 h 220027"/>
                    <a:gd name="connsiteX2" fmla="*/ 353549 w 430468"/>
                    <a:gd name="connsiteY2" fmla="*/ 0 h 220027"/>
                    <a:gd name="connsiteX3" fmla="*/ 430468 w 430468"/>
                    <a:gd name="connsiteY3" fmla="*/ 76919 h 220027"/>
                    <a:gd name="connsiteX4" fmla="*/ 430468 w 430468"/>
                    <a:gd name="connsiteY4" fmla="*/ 143108 h 220027"/>
                    <a:gd name="connsiteX5" fmla="*/ 353549 w 430468"/>
                    <a:gd name="connsiteY5" fmla="*/ 220027 h 220027"/>
                    <a:gd name="connsiteX6" fmla="*/ 246176 w 430468"/>
                    <a:gd name="connsiteY6" fmla="*/ 217170 h 220027"/>
                    <a:gd name="connsiteX7" fmla="*/ 184264 w 430468"/>
                    <a:gd name="connsiteY7" fmla="*/ 219551 h 220027"/>
                    <a:gd name="connsiteX8" fmla="*/ 76919 w 430468"/>
                    <a:gd name="connsiteY8" fmla="*/ 220027 h 220027"/>
                    <a:gd name="connsiteX9" fmla="*/ 0 w 430468"/>
                    <a:gd name="connsiteY9" fmla="*/ 143108 h 220027"/>
                    <a:gd name="connsiteX10" fmla="*/ 0 w 430468"/>
                    <a:gd name="connsiteY10" fmla="*/ 76919 h 220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0468" h="220027">
                      <a:moveTo>
                        <a:pt x="0" y="76919"/>
                      </a:moveTo>
                      <a:cubicBezTo>
                        <a:pt x="0" y="34438"/>
                        <a:pt x="34438" y="0"/>
                        <a:pt x="76919" y="0"/>
                      </a:cubicBezTo>
                      <a:lnTo>
                        <a:pt x="353549" y="0"/>
                      </a:lnTo>
                      <a:cubicBezTo>
                        <a:pt x="396030" y="0"/>
                        <a:pt x="430468" y="34438"/>
                        <a:pt x="430468" y="76919"/>
                      </a:cubicBezTo>
                      <a:lnTo>
                        <a:pt x="430468" y="143108"/>
                      </a:lnTo>
                      <a:cubicBezTo>
                        <a:pt x="430468" y="185589"/>
                        <a:pt x="396030" y="220027"/>
                        <a:pt x="353549" y="220027"/>
                      </a:cubicBezTo>
                      <a:lnTo>
                        <a:pt x="246176" y="217170"/>
                      </a:lnTo>
                      <a:cubicBezTo>
                        <a:pt x="223158" y="184626"/>
                        <a:pt x="195376" y="197325"/>
                        <a:pt x="184264" y="219551"/>
                      </a:cubicBezTo>
                      <a:lnTo>
                        <a:pt x="76919" y="220027"/>
                      </a:lnTo>
                      <a:cubicBezTo>
                        <a:pt x="34438" y="220027"/>
                        <a:pt x="0" y="185589"/>
                        <a:pt x="0" y="143108"/>
                      </a:cubicBezTo>
                      <a:lnTo>
                        <a:pt x="0" y="76919"/>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65" name="Rectangle 16"/>
                <p:cNvSpPr/>
                <p:nvPr/>
              </p:nvSpPr>
              <p:spPr>
                <a:xfrm>
                  <a:off x="2793894" y="5847904"/>
                  <a:ext cx="106339" cy="23585"/>
                </a:xfrm>
                <a:custGeom>
                  <a:avLst/>
                  <a:gdLst>
                    <a:gd name="connsiteX0" fmla="*/ 0 w 430468"/>
                    <a:gd name="connsiteY0" fmla="*/ 0 h 104299"/>
                    <a:gd name="connsiteX1" fmla="*/ 430468 w 430468"/>
                    <a:gd name="connsiteY1" fmla="*/ 0 h 104299"/>
                    <a:gd name="connsiteX2" fmla="*/ 430468 w 430468"/>
                    <a:gd name="connsiteY2" fmla="*/ 104299 h 104299"/>
                    <a:gd name="connsiteX3" fmla="*/ 0 w 430468"/>
                    <a:gd name="connsiteY3" fmla="*/ 104299 h 104299"/>
                    <a:gd name="connsiteX4" fmla="*/ 0 w 430468"/>
                    <a:gd name="connsiteY4" fmla="*/ 0 h 104299"/>
                    <a:gd name="connsiteX0" fmla="*/ 0 w 430468"/>
                    <a:gd name="connsiteY0" fmla="*/ 0 h 104299"/>
                    <a:gd name="connsiteX1" fmla="*/ 167595 w 430468"/>
                    <a:gd name="connsiteY1" fmla="*/ 158 h 104299"/>
                    <a:gd name="connsiteX2" fmla="*/ 430468 w 430468"/>
                    <a:gd name="connsiteY2" fmla="*/ 0 h 104299"/>
                    <a:gd name="connsiteX3" fmla="*/ 430468 w 430468"/>
                    <a:gd name="connsiteY3" fmla="*/ 104299 h 104299"/>
                    <a:gd name="connsiteX4" fmla="*/ 0 w 430468"/>
                    <a:gd name="connsiteY4" fmla="*/ 104299 h 104299"/>
                    <a:gd name="connsiteX5" fmla="*/ 0 w 430468"/>
                    <a:gd name="connsiteY5" fmla="*/ 0 h 104299"/>
                    <a:gd name="connsiteX0" fmla="*/ 0 w 430468"/>
                    <a:gd name="connsiteY0" fmla="*/ 2223 h 106522"/>
                    <a:gd name="connsiteX1" fmla="*/ 167595 w 430468"/>
                    <a:gd name="connsiteY1" fmla="*/ 2381 h 106522"/>
                    <a:gd name="connsiteX2" fmla="*/ 269989 w 430468"/>
                    <a:gd name="connsiteY2" fmla="*/ 0 h 106522"/>
                    <a:gd name="connsiteX3" fmla="*/ 430468 w 430468"/>
                    <a:gd name="connsiteY3" fmla="*/ 2223 h 106522"/>
                    <a:gd name="connsiteX4" fmla="*/ 430468 w 430468"/>
                    <a:gd name="connsiteY4" fmla="*/ 106522 h 106522"/>
                    <a:gd name="connsiteX5" fmla="*/ 0 w 430468"/>
                    <a:gd name="connsiteY5" fmla="*/ 106522 h 106522"/>
                    <a:gd name="connsiteX6" fmla="*/ 0 w 430468"/>
                    <a:gd name="connsiteY6" fmla="*/ 2223 h 106522"/>
                    <a:gd name="connsiteX0" fmla="*/ 0 w 430468"/>
                    <a:gd name="connsiteY0" fmla="*/ 2223 h 106522"/>
                    <a:gd name="connsiteX1" fmla="*/ 167595 w 430468"/>
                    <a:gd name="connsiteY1" fmla="*/ 2381 h 106522"/>
                    <a:gd name="connsiteX2" fmla="*/ 269989 w 430468"/>
                    <a:gd name="connsiteY2" fmla="*/ 0 h 106522"/>
                    <a:gd name="connsiteX3" fmla="*/ 430468 w 430468"/>
                    <a:gd name="connsiteY3" fmla="*/ 2223 h 106522"/>
                    <a:gd name="connsiteX4" fmla="*/ 430468 w 430468"/>
                    <a:gd name="connsiteY4" fmla="*/ 106522 h 106522"/>
                    <a:gd name="connsiteX5" fmla="*/ 0 w 430468"/>
                    <a:gd name="connsiteY5" fmla="*/ 106522 h 106522"/>
                    <a:gd name="connsiteX6" fmla="*/ 0 w 430468"/>
                    <a:gd name="connsiteY6" fmla="*/ 2223 h 106522"/>
                    <a:gd name="connsiteX0" fmla="*/ 0 w 430468"/>
                    <a:gd name="connsiteY0" fmla="*/ 2223 h 106522"/>
                    <a:gd name="connsiteX1" fmla="*/ 167595 w 430468"/>
                    <a:gd name="connsiteY1" fmla="*/ 2381 h 106522"/>
                    <a:gd name="connsiteX2" fmla="*/ 269989 w 430468"/>
                    <a:gd name="connsiteY2" fmla="*/ 0 h 106522"/>
                    <a:gd name="connsiteX3" fmla="*/ 430468 w 430468"/>
                    <a:gd name="connsiteY3" fmla="*/ 2223 h 106522"/>
                    <a:gd name="connsiteX4" fmla="*/ 430468 w 430468"/>
                    <a:gd name="connsiteY4" fmla="*/ 106522 h 106522"/>
                    <a:gd name="connsiteX5" fmla="*/ 0 w 430468"/>
                    <a:gd name="connsiteY5" fmla="*/ 106522 h 106522"/>
                    <a:gd name="connsiteX6" fmla="*/ 0 w 430468"/>
                    <a:gd name="connsiteY6" fmla="*/ 2223 h 106522"/>
                    <a:gd name="connsiteX0" fmla="*/ 0 w 430468"/>
                    <a:gd name="connsiteY0" fmla="*/ 2223 h 106522"/>
                    <a:gd name="connsiteX1" fmla="*/ 167595 w 430468"/>
                    <a:gd name="connsiteY1" fmla="*/ 2381 h 106522"/>
                    <a:gd name="connsiteX2" fmla="*/ 269989 w 430468"/>
                    <a:gd name="connsiteY2" fmla="*/ 0 h 106522"/>
                    <a:gd name="connsiteX3" fmla="*/ 430468 w 430468"/>
                    <a:gd name="connsiteY3" fmla="*/ 2223 h 106522"/>
                    <a:gd name="connsiteX4" fmla="*/ 430468 w 430468"/>
                    <a:gd name="connsiteY4" fmla="*/ 106522 h 106522"/>
                    <a:gd name="connsiteX5" fmla="*/ 0 w 430468"/>
                    <a:gd name="connsiteY5" fmla="*/ 106522 h 106522"/>
                    <a:gd name="connsiteX6" fmla="*/ 0 w 430468"/>
                    <a:gd name="connsiteY6" fmla="*/ 2223 h 106522"/>
                    <a:gd name="connsiteX0" fmla="*/ 0 w 430468"/>
                    <a:gd name="connsiteY0" fmla="*/ 2223 h 106522"/>
                    <a:gd name="connsiteX1" fmla="*/ 167595 w 430468"/>
                    <a:gd name="connsiteY1" fmla="*/ 2381 h 106522"/>
                    <a:gd name="connsiteX2" fmla="*/ 269989 w 430468"/>
                    <a:gd name="connsiteY2" fmla="*/ 0 h 106522"/>
                    <a:gd name="connsiteX3" fmla="*/ 430468 w 430468"/>
                    <a:gd name="connsiteY3" fmla="*/ 2223 h 106522"/>
                    <a:gd name="connsiteX4" fmla="*/ 430468 w 430468"/>
                    <a:gd name="connsiteY4" fmla="*/ 106522 h 106522"/>
                    <a:gd name="connsiteX5" fmla="*/ 0 w 430468"/>
                    <a:gd name="connsiteY5" fmla="*/ 106522 h 106522"/>
                    <a:gd name="connsiteX6" fmla="*/ 0 w 430468"/>
                    <a:gd name="connsiteY6" fmla="*/ 2223 h 106522"/>
                    <a:gd name="connsiteX0" fmla="*/ 0 w 430468"/>
                    <a:gd name="connsiteY0" fmla="*/ 2223 h 106522"/>
                    <a:gd name="connsiteX1" fmla="*/ 167595 w 430468"/>
                    <a:gd name="connsiteY1" fmla="*/ 2381 h 106522"/>
                    <a:gd name="connsiteX2" fmla="*/ 269989 w 430468"/>
                    <a:gd name="connsiteY2" fmla="*/ 0 h 106522"/>
                    <a:gd name="connsiteX3" fmla="*/ 430468 w 430468"/>
                    <a:gd name="connsiteY3" fmla="*/ 2223 h 106522"/>
                    <a:gd name="connsiteX4" fmla="*/ 430468 w 430468"/>
                    <a:gd name="connsiteY4" fmla="*/ 106522 h 106522"/>
                    <a:gd name="connsiteX5" fmla="*/ 0 w 430468"/>
                    <a:gd name="connsiteY5" fmla="*/ 106522 h 106522"/>
                    <a:gd name="connsiteX6" fmla="*/ 0 w 430468"/>
                    <a:gd name="connsiteY6" fmla="*/ 2223 h 106522"/>
                    <a:gd name="connsiteX0" fmla="*/ 0 w 430468"/>
                    <a:gd name="connsiteY0" fmla="*/ 2223 h 106522"/>
                    <a:gd name="connsiteX1" fmla="*/ 167595 w 430468"/>
                    <a:gd name="connsiteY1" fmla="*/ 2381 h 106522"/>
                    <a:gd name="connsiteX2" fmla="*/ 269989 w 430468"/>
                    <a:gd name="connsiteY2" fmla="*/ 0 h 106522"/>
                    <a:gd name="connsiteX3" fmla="*/ 430468 w 430468"/>
                    <a:gd name="connsiteY3" fmla="*/ 2223 h 106522"/>
                    <a:gd name="connsiteX4" fmla="*/ 430468 w 430468"/>
                    <a:gd name="connsiteY4" fmla="*/ 106522 h 106522"/>
                    <a:gd name="connsiteX5" fmla="*/ 0 w 430468"/>
                    <a:gd name="connsiteY5" fmla="*/ 106522 h 106522"/>
                    <a:gd name="connsiteX6" fmla="*/ 0 w 430468"/>
                    <a:gd name="connsiteY6" fmla="*/ 2223 h 106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0468" h="106522">
                      <a:moveTo>
                        <a:pt x="0" y="2223"/>
                      </a:moveTo>
                      <a:lnTo>
                        <a:pt x="167595" y="2381"/>
                      </a:lnTo>
                      <a:cubicBezTo>
                        <a:pt x="177914" y="77787"/>
                        <a:pt x="240620" y="98425"/>
                        <a:pt x="269989" y="0"/>
                      </a:cubicBezTo>
                      <a:lnTo>
                        <a:pt x="430468" y="2223"/>
                      </a:lnTo>
                      <a:lnTo>
                        <a:pt x="430468" y="106522"/>
                      </a:lnTo>
                      <a:lnTo>
                        <a:pt x="0" y="106522"/>
                      </a:lnTo>
                      <a:lnTo>
                        <a:pt x="0" y="2223"/>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66" name="Rectangle 264"/>
                <p:cNvSpPr/>
                <p:nvPr/>
              </p:nvSpPr>
              <p:spPr>
                <a:xfrm>
                  <a:off x="2817946" y="5876449"/>
                  <a:ext cx="58504" cy="2148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67" name="Rectangle 18"/>
                <p:cNvSpPr/>
                <p:nvPr/>
              </p:nvSpPr>
              <p:spPr>
                <a:xfrm>
                  <a:off x="2817946" y="5758305"/>
                  <a:ext cx="58504" cy="28829"/>
                </a:xfrm>
                <a:custGeom>
                  <a:avLst/>
                  <a:gdLst>
                    <a:gd name="connsiteX0" fmla="*/ 0 w 236832"/>
                    <a:gd name="connsiteY0" fmla="*/ 0 h 118200"/>
                    <a:gd name="connsiteX1" fmla="*/ 236832 w 236832"/>
                    <a:gd name="connsiteY1" fmla="*/ 0 h 118200"/>
                    <a:gd name="connsiteX2" fmla="*/ 236832 w 236832"/>
                    <a:gd name="connsiteY2" fmla="*/ 118200 h 118200"/>
                    <a:gd name="connsiteX3" fmla="*/ 0 w 236832"/>
                    <a:gd name="connsiteY3" fmla="*/ 118200 h 118200"/>
                    <a:gd name="connsiteX4" fmla="*/ 0 w 236832"/>
                    <a:gd name="connsiteY4" fmla="*/ 0 h 118200"/>
                    <a:gd name="connsiteX0" fmla="*/ 0 w 236832"/>
                    <a:gd name="connsiteY0" fmla="*/ 3244 h 121444"/>
                    <a:gd name="connsiteX1" fmla="*/ 34511 w 236832"/>
                    <a:gd name="connsiteY1" fmla="*/ 0 h 121444"/>
                    <a:gd name="connsiteX2" fmla="*/ 236832 w 236832"/>
                    <a:gd name="connsiteY2" fmla="*/ 3244 h 121444"/>
                    <a:gd name="connsiteX3" fmla="*/ 236832 w 236832"/>
                    <a:gd name="connsiteY3" fmla="*/ 121444 h 121444"/>
                    <a:gd name="connsiteX4" fmla="*/ 0 w 236832"/>
                    <a:gd name="connsiteY4" fmla="*/ 121444 h 121444"/>
                    <a:gd name="connsiteX5" fmla="*/ 0 w 236832"/>
                    <a:gd name="connsiteY5"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 name="connsiteX0" fmla="*/ 0 w 236832"/>
                    <a:gd name="connsiteY0" fmla="*/ 3244 h 121444"/>
                    <a:gd name="connsiteX1" fmla="*/ 34511 w 236832"/>
                    <a:gd name="connsiteY1" fmla="*/ 0 h 121444"/>
                    <a:gd name="connsiteX2" fmla="*/ 189292 w 236832"/>
                    <a:gd name="connsiteY2" fmla="*/ 0 h 121444"/>
                    <a:gd name="connsiteX3" fmla="*/ 236832 w 236832"/>
                    <a:gd name="connsiteY3" fmla="*/ 3244 h 121444"/>
                    <a:gd name="connsiteX4" fmla="*/ 236832 w 236832"/>
                    <a:gd name="connsiteY4" fmla="*/ 121444 h 121444"/>
                    <a:gd name="connsiteX5" fmla="*/ 0 w 236832"/>
                    <a:gd name="connsiteY5" fmla="*/ 121444 h 121444"/>
                    <a:gd name="connsiteX6" fmla="*/ 0 w 236832"/>
                    <a:gd name="connsiteY6" fmla="*/ 3244 h 12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832" h="121444">
                      <a:moveTo>
                        <a:pt x="0" y="3244"/>
                      </a:moveTo>
                      <a:lnTo>
                        <a:pt x="34511" y="0"/>
                      </a:lnTo>
                      <a:cubicBezTo>
                        <a:pt x="28955" y="102394"/>
                        <a:pt x="166274" y="176211"/>
                        <a:pt x="189292" y="0"/>
                      </a:cubicBezTo>
                      <a:lnTo>
                        <a:pt x="236832" y="3244"/>
                      </a:lnTo>
                      <a:lnTo>
                        <a:pt x="236832" y="121444"/>
                      </a:lnTo>
                      <a:lnTo>
                        <a:pt x="0" y="121444"/>
                      </a:lnTo>
                      <a:lnTo>
                        <a:pt x="0" y="324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68" name="Rounded Rectangle 19"/>
                <p:cNvSpPr/>
                <p:nvPr/>
              </p:nvSpPr>
              <p:spPr>
                <a:xfrm>
                  <a:off x="2806446" y="5630261"/>
                  <a:ext cx="75901" cy="122955"/>
                </a:xfrm>
                <a:custGeom>
                  <a:avLst/>
                  <a:gdLst>
                    <a:gd name="connsiteX0" fmla="*/ 0 w 304715"/>
                    <a:gd name="connsiteY0" fmla="*/ 50787 h 521402"/>
                    <a:gd name="connsiteX1" fmla="*/ 50787 w 304715"/>
                    <a:gd name="connsiteY1" fmla="*/ 0 h 521402"/>
                    <a:gd name="connsiteX2" fmla="*/ 253928 w 304715"/>
                    <a:gd name="connsiteY2" fmla="*/ 0 h 521402"/>
                    <a:gd name="connsiteX3" fmla="*/ 304715 w 304715"/>
                    <a:gd name="connsiteY3" fmla="*/ 50787 h 521402"/>
                    <a:gd name="connsiteX4" fmla="*/ 304715 w 304715"/>
                    <a:gd name="connsiteY4" fmla="*/ 470615 h 521402"/>
                    <a:gd name="connsiteX5" fmla="*/ 253928 w 304715"/>
                    <a:gd name="connsiteY5" fmla="*/ 521402 h 521402"/>
                    <a:gd name="connsiteX6" fmla="*/ 50787 w 304715"/>
                    <a:gd name="connsiteY6" fmla="*/ 521402 h 521402"/>
                    <a:gd name="connsiteX7" fmla="*/ 0 w 304715"/>
                    <a:gd name="connsiteY7" fmla="*/ 470615 h 521402"/>
                    <a:gd name="connsiteX8" fmla="*/ 0 w 304715"/>
                    <a:gd name="connsiteY8" fmla="*/ 50787 h 521402"/>
                    <a:gd name="connsiteX0" fmla="*/ 0 w 304715"/>
                    <a:gd name="connsiteY0" fmla="*/ 50787 h 521402"/>
                    <a:gd name="connsiteX1" fmla="*/ 50787 w 304715"/>
                    <a:gd name="connsiteY1" fmla="*/ 0 h 521402"/>
                    <a:gd name="connsiteX2" fmla="*/ 253928 w 304715"/>
                    <a:gd name="connsiteY2" fmla="*/ 0 h 521402"/>
                    <a:gd name="connsiteX3" fmla="*/ 304715 w 304715"/>
                    <a:gd name="connsiteY3" fmla="*/ 50787 h 521402"/>
                    <a:gd name="connsiteX4" fmla="*/ 304715 w 304715"/>
                    <a:gd name="connsiteY4" fmla="*/ 470615 h 521402"/>
                    <a:gd name="connsiteX5" fmla="*/ 253928 w 304715"/>
                    <a:gd name="connsiteY5" fmla="*/ 521402 h 521402"/>
                    <a:gd name="connsiteX6" fmla="*/ 50787 w 304715"/>
                    <a:gd name="connsiteY6" fmla="*/ 521402 h 521402"/>
                    <a:gd name="connsiteX7" fmla="*/ 0 w 304715"/>
                    <a:gd name="connsiteY7" fmla="*/ 50787 h 521402"/>
                    <a:gd name="connsiteX0" fmla="*/ 0 w 304715"/>
                    <a:gd name="connsiteY0" fmla="*/ 50787 h 521402"/>
                    <a:gd name="connsiteX1" fmla="*/ 50787 w 304715"/>
                    <a:gd name="connsiteY1" fmla="*/ 0 h 521402"/>
                    <a:gd name="connsiteX2" fmla="*/ 253928 w 304715"/>
                    <a:gd name="connsiteY2" fmla="*/ 0 h 521402"/>
                    <a:gd name="connsiteX3" fmla="*/ 304715 w 304715"/>
                    <a:gd name="connsiteY3" fmla="*/ 50787 h 521402"/>
                    <a:gd name="connsiteX4" fmla="*/ 304715 w 304715"/>
                    <a:gd name="connsiteY4" fmla="*/ 470615 h 521402"/>
                    <a:gd name="connsiteX5" fmla="*/ 253928 w 304715"/>
                    <a:gd name="connsiteY5" fmla="*/ 521402 h 521402"/>
                    <a:gd name="connsiteX6" fmla="*/ 76980 w 304715"/>
                    <a:gd name="connsiteY6" fmla="*/ 521402 h 521402"/>
                    <a:gd name="connsiteX7" fmla="*/ 0 w 304715"/>
                    <a:gd name="connsiteY7" fmla="*/ 50787 h 521402"/>
                    <a:gd name="connsiteX0" fmla="*/ 271 w 304986"/>
                    <a:gd name="connsiteY0" fmla="*/ 50787 h 521402"/>
                    <a:gd name="connsiteX1" fmla="*/ 51058 w 304986"/>
                    <a:gd name="connsiteY1" fmla="*/ 0 h 521402"/>
                    <a:gd name="connsiteX2" fmla="*/ 254199 w 304986"/>
                    <a:gd name="connsiteY2" fmla="*/ 0 h 521402"/>
                    <a:gd name="connsiteX3" fmla="*/ 304986 w 304986"/>
                    <a:gd name="connsiteY3" fmla="*/ 50787 h 521402"/>
                    <a:gd name="connsiteX4" fmla="*/ 304986 w 304986"/>
                    <a:gd name="connsiteY4" fmla="*/ 470615 h 521402"/>
                    <a:gd name="connsiteX5" fmla="*/ 254199 w 304986"/>
                    <a:gd name="connsiteY5" fmla="*/ 521402 h 521402"/>
                    <a:gd name="connsiteX6" fmla="*/ 36770 w 304986"/>
                    <a:gd name="connsiteY6" fmla="*/ 511877 h 521402"/>
                    <a:gd name="connsiteX7" fmla="*/ 271 w 304986"/>
                    <a:gd name="connsiteY7" fmla="*/ 50787 h 521402"/>
                    <a:gd name="connsiteX0" fmla="*/ 640 w 305355"/>
                    <a:gd name="connsiteY0" fmla="*/ 50787 h 521402"/>
                    <a:gd name="connsiteX1" fmla="*/ 51427 w 305355"/>
                    <a:gd name="connsiteY1" fmla="*/ 0 h 521402"/>
                    <a:gd name="connsiteX2" fmla="*/ 254568 w 305355"/>
                    <a:gd name="connsiteY2" fmla="*/ 0 h 521402"/>
                    <a:gd name="connsiteX3" fmla="*/ 305355 w 305355"/>
                    <a:gd name="connsiteY3" fmla="*/ 50787 h 521402"/>
                    <a:gd name="connsiteX4" fmla="*/ 305355 w 305355"/>
                    <a:gd name="connsiteY4" fmla="*/ 470615 h 521402"/>
                    <a:gd name="connsiteX5" fmla="*/ 254568 w 305355"/>
                    <a:gd name="connsiteY5" fmla="*/ 521402 h 521402"/>
                    <a:gd name="connsiteX6" fmla="*/ 34757 w 305355"/>
                    <a:gd name="connsiteY6" fmla="*/ 514258 h 521402"/>
                    <a:gd name="connsiteX7" fmla="*/ 640 w 305355"/>
                    <a:gd name="connsiteY7" fmla="*/ 50787 h 521402"/>
                    <a:gd name="connsiteX0" fmla="*/ 640 w 305355"/>
                    <a:gd name="connsiteY0" fmla="*/ 50787 h 521402"/>
                    <a:gd name="connsiteX1" fmla="*/ 51427 w 305355"/>
                    <a:gd name="connsiteY1" fmla="*/ 0 h 521402"/>
                    <a:gd name="connsiteX2" fmla="*/ 254568 w 305355"/>
                    <a:gd name="connsiteY2" fmla="*/ 0 h 521402"/>
                    <a:gd name="connsiteX3" fmla="*/ 305355 w 305355"/>
                    <a:gd name="connsiteY3" fmla="*/ 50787 h 521402"/>
                    <a:gd name="connsiteX4" fmla="*/ 305355 w 305355"/>
                    <a:gd name="connsiteY4" fmla="*/ 470615 h 521402"/>
                    <a:gd name="connsiteX5" fmla="*/ 254568 w 305355"/>
                    <a:gd name="connsiteY5" fmla="*/ 521402 h 521402"/>
                    <a:gd name="connsiteX6" fmla="*/ 34757 w 305355"/>
                    <a:gd name="connsiteY6" fmla="*/ 516639 h 521402"/>
                    <a:gd name="connsiteX7" fmla="*/ 640 w 305355"/>
                    <a:gd name="connsiteY7" fmla="*/ 50787 h 521402"/>
                    <a:gd name="connsiteX0" fmla="*/ 1177 w 305892"/>
                    <a:gd name="connsiteY0" fmla="*/ 50787 h 523783"/>
                    <a:gd name="connsiteX1" fmla="*/ 51964 w 305892"/>
                    <a:gd name="connsiteY1" fmla="*/ 0 h 523783"/>
                    <a:gd name="connsiteX2" fmla="*/ 255105 w 305892"/>
                    <a:gd name="connsiteY2" fmla="*/ 0 h 523783"/>
                    <a:gd name="connsiteX3" fmla="*/ 305892 w 305892"/>
                    <a:gd name="connsiteY3" fmla="*/ 50787 h 523783"/>
                    <a:gd name="connsiteX4" fmla="*/ 305892 w 305892"/>
                    <a:gd name="connsiteY4" fmla="*/ 470615 h 523783"/>
                    <a:gd name="connsiteX5" fmla="*/ 255105 w 305892"/>
                    <a:gd name="connsiteY5" fmla="*/ 521402 h 523783"/>
                    <a:gd name="connsiteX6" fmla="*/ 32912 w 305892"/>
                    <a:gd name="connsiteY6" fmla="*/ 523783 h 523783"/>
                    <a:gd name="connsiteX7" fmla="*/ 1177 w 305892"/>
                    <a:gd name="connsiteY7" fmla="*/ 50787 h 523783"/>
                    <a:gd name="connsiteX0" fmla="*/ 1872 w 306587"/>
                    <a:gd name="connsiteY0" fmla="*/ 50787 h 523783"/>
                    <a:gd name="connsiteX1" fmla="*/ 52659 w 306587"/>
                    <a:gd name="connsiteY1" fmla="*/ 0 h 523783"/>
                    <a:gd name="connsiteX2" fmla="*/ 255800 w 306587"/>
                    <a:gd name="connsiteY2" fmla="*/ 0 h 523783"/>
                    <a:gd name="connsiteX3" fmla="*/ 306587 w 306587"/>
                    <a:gd name="connsiteY3" fmla="*/ 50787 h 523783"/>
                    <a:gd name="connsiteX4" fmla="*/ 306587 w 306587"/>
                    <a:gd name="connsiteY4" fmla="*/ 470615 h 523783"/>
                    <a:gd name="connsiteX5" fmla="*/ 255800 w 306587"/>
                    <a:gd name="connsiteY5" fmla="*/ 521402 h 523783"/>
                    <a:gd name="connsiteX6" fmla="*/ 31226 w 306587"/>
                    <a:gd name="connsiteY6" fmla="*/ 523783 h 523783"/>
                    <a:gd name="connsiteX7" fmla="*/ 1872 w 306587"/>
                    <a:gd name="connsiteY7" fmla="*/ 50787 h 523783"/>
                    <a:gd name="connsiteX0" fmla="*/ 1872 w 306587"/>
                    <a:gd name="connsiteY0" fmla="*/ 50787 h 521402"/>
                    <a:gd name="connsiteX1" fmla="*/ 52659 w 306587"/>
                    <a:gd name="connsiteY1" fmla="*/ 0 h 521402"/>
                    <a:gd name="connsiteX2" fmla="*/ 255800 w 306587"/>
                    <a:gd name="connsiteY2" fmla="*/ 0 h 521402"/>
                    <a:gd name="connsiteX3" fmla="*/ 306587 w 306587"/>
                    <a:gd name="connsiteY3" fmla="*/ 50787 h 521402"/>
                    <a:gd name="connsiteX4" fmla="*/ 306587 w 306587"/>
                    <a:gd name="connsiteY4" fmla="*/ 470615 h 521402"/>
                    <a:gd name="connsiteX5" fmla="*/ 255800 w 306587"/>
                    <a:gd name="connsiteY5" fmla="*/ 521402 h 521402"/>
                    <a:gd name="connsiteX6" fmla="*/ 31226 w 306587"/>
                    <a:gd name="connsiteY6" fmla="*/ 516639 h 521402"/>
                    <a:gd name="connsiteX7" fmla="*/ 1872 w 306587"/>
                    <a:gd name="connsiteY7" fmla="*/ 50787 h 521402"/>
                    <a:gd name="connsiteX0" fmla="*/ 1872 w 306587"/>
                    <a:gd name="connsiteY0" fmla="*/ 50787 h 521402"/>
                    <a:gd name="connsiteX1" fmla="*/ 52659 w 306587"/>
                    <a:gd name="connsiteY1" fmla="*/ 0 h 521402"/>
                    <a:gd name="connsiteX2" fmla="*/ 255800 w 306587"/>
                    <a:gd name="connsiteY2" fmla="*/ 0 h 521402"/>
                    <a:gd name="connsiteX3" fmla="*/ 306587 w 306587"/>
                    <a:gd name="connsiteY3" fmla="*/ 50787 h 521402"/>
                    <a:gd name="connsiteX4" fmla="*/ 306587 w 306587"/>
                    <a:gd name="connsiteY4" fmla="*/ 470615 h 521402"/>
                    <a:gd name="connsiteX5" fmla="*/ 255800 w 306587"/>
                    <a:gd name="connsiteY5" fmla="*/ 521402 h 521402"/>
                    <a:gd name="connsiteX6" fmla="*/ 31226 w 306587"/>
                    <a:gd name="connsiteY6" fmla="*/ 516639 h 521402"/>
                    <a:gd name="connsiteX7" fmla="*/ 1872 w 306587"/>
                    <a:gd name="connsiteY7" fmla="*/ 50787 h 521402"/>
                    <a:gd name="connsiteX0" fmla="*/ 1872 w 306587"/>
                    <a:gd name="connsiteY0" fmla="*/ 50787 h 521402"/>
                    <a:gd name="connsiteX1" fmla="*/ 52659 w 306587"/>
                    <a:gd name="connsiteY1" fmla="*/ 0 h 521402"/>
                    <a:gd name="connsiteX2" fmla="*/ 255800 w 306587"/>
                    <a:gd name="connsiteY2" fmla="*/ 0 h 521402"/>
                    <a:gd name="connsiteX3" fmla="*/ 306587 w 306587"/>
                    <a:gd name="connsiteY3" fmla="*/ 50787 h 521402"/>
                    <a:gd name="connsiteX4" fmla="*/ 306587 w 306587"/>
                    <a:gd name="connsiteY4" fmla="*/ 470615 h 521402"/>
                    <a:gd name="connsiteX5" fmla="*/ 255800 w 306587"/>
                    <a:gd name="connsiteY5" fmla="*/ 521402 h 521402"/>
                    <a:gd name="connsiteX6" fmla="*/ 76869 w 306587"/>
                    <a:gd name="connsiteY6" fmla="*/ 517875 h 521402"/>
                    <a:gd name="connsiteX7" fmla="*/ 31226 w 306587"/>
                    <a:gd name="connsiteY7" fmla="*/ 516639 h 521402"/>
                    <a:gd name="connsiteX8" fmla="*/ 1872 w 306587"/>
                    <a:gd name="connsiteY8" fmla="*/ 50787 h 521402"/>
                    <a:gd name="connsiteX0" fmla="*/ 1872 w 306587"/>
                    <a:gd name="connsiteY0" fmla="*/ 50787 h 517875"/>
                    <a:gd name="connsiteX1" fmla="*/ 52659 w 306587"/>
                    <a:gd name="connsiteY1" fmla="*/ 0 h 517875"/>
                    <a:gd name="connsiteX2" fmla="*/ 255800 w 306587"/>
                    <a:gd name="connsiteY2" fmla="*/ 0 h 517875"/>
                    <a:gd name="connsiteX3" fmla="*/ 306587 w 306587"/>
                    <a:gd name="connsiteY3" fmla="*/ 50787 h 517875"/>
                    <a:gd name="connsiteX4" fmla="*/ 306587 w 306587"/>
                    <a:gd name="connsiteY4" fmla="*/ 470615 h 517875"/>
                    <a:gd name="connsiteX5" fmla="*/ 72443 w 306587"/>
                    <a:gd name="connsiteY5" fmla="*/ 83252 h 517875"/>
                    <a:gd name="connsiteX6" fmla="*/ 76869 w 306587"/>
                    <a:gd name="connsiteY6" fmla="*/ 517875 h 517875"/>
                    <a:gd name="connsiteX7" fmla="*/ 31226 w 306587"/>
                    <a:gd name="connsiteY7" fmla="*/ 516639 h 517875"/>
                    <a:gd name="connsiteX8" fmla="*/ 1872 w 306587"/>
                    <a:gd name="connsiteY8" fmla="*/ 50787 h 517875"/>
                    <a:gd name="connsiteX0" fmla="*/ 1872 w 306587"/>
                    <a:gd name="connsiteY0" fmla="*/ 50787 h 517875"/>
                    <a:gd name="connsiteX1" fmla="*/ 52659 w 306587"/>
                    <a:gd name="connsiteY1" fmla="*/ 0 h 517875"/>
                    <a:gd name="connsiteX2" fmla="*/ 255800 w 306587"/>
                    <a:gd name="connsiteY2" fmla="*/ 0 h 517875"/>
                    <a:gd name="connsiteX3" fmla="*/ 306587 w 306587"/>
                    <a:gd name="connsiteY3" fmla="*/ 50787 h 517875"/>
                    <a:gd name="connsiteX4" fmla="*/ 306587 w 306587"/>
                    <a:gd name="connsiteY4" fmla="*/ 470615 h 517875"/>
                    <a:gd name="connsiteX5" fmla="*/ 72443 w 306587"/>
                    <a:gd name="connsiteY5" fmla="*/ 80871 h 517875"/>
                    <a:gd name="connsiteX6" fmla="*/ 76869 w 306587"/>
                    <a:gd name="connsiteY6" fmla="*/ 517875 h 517875"/>
                    <a:gd name="connsiteX7" fmla="*/ 31226 w 306587"/>
                    <a:gd name="connsiteY7" fmla="*/ 516639 h 517875"/>
                    <a:gd name="connsiteX8" fmla="*/ 1872 w 306587"/>
                    <a:gd name="connsiteY8" fmla="*/ 50787 h 517875"/>
                    <a:gd name="connsiteX0" fmla="*/ 1872 w 306587"/>
                    <a:gd name="connsiteY0" fmla="*/ 50787 h 517875"/>
                    <a:gd name="connsiteX1" fmla="*/ 52659 w 306587"/>
                    <a:gd name="connsiteY1" fmla="*/ 0 h 517875"/>
                    <a:gd name="connsiteX2" fmla="*/ 255800 w 306587"/>
                    <a:gd name="connsiteY2" fmla="*/ 0 h 517875"/>
                    <a:gd name="connsiteX3" fmla="*/ 306587 w 306587"/>
                    <a:gd name="connsiteY3" fmla="*/ 50787 h 517875"/>
                    <a:gd name="connsiteX4" fmla="*/ 306587 w 306587"/>
                    <a:gd name="connsiteY4" fmla="*/ 470615 h 517875"/>
                    <a:gd name="connsiteX5" fmla="*/ 74824 w 306587"/>
                    <a:gd name="connsiteY5" fmla="*/ 83252 h 517875"/>
                    <a:gd name="connsiteX6" fmla="*/ 76869 w 306587"/>
                    <a:gd name="connsiteY6" fmla="*/ 517875 h 517875"/>
                    <a:gd name="connsiteX7" fmla="*/ 31226 w 306587"/>
                    <a:gd name="connsiteY7" fmla="*/ 516639 h 517875"/>
                    <a:gd name="connsiteX8" fmla="*/ 1872 w 306587"/>
                    <a:gd name="connsiteY8" fmla="*/ 50787 h 517875"/>
                    <a:gd name="connsiteX0" fmla="*/ 1872 w 306587"/>
                    <a:gd name="connsiteY0" fmla="*/ 50787 h 517875"/>
                    <a:gd name="connsiteX1" fmla="*/ 52659 w 306587"/>
                    <a:gd name="connsiteY1" fmla="*/ 0 h 517875"/>
                    <a:gd name="connsiteX2" fmla="*/ 255800 w 306587"/>
                    <a:gd name="connsiteY2" fmla="*/ 0 h 517875"/>
                    <a:gd name="connsiteX3" fmla="*/ 306587 w 306587"/>
                    <a:gd name="connsiteY3" fmla="*/ 50787 h 517875"/>
                    <a:gd name="connsiteX4" fmla="*/ 282775 w 306587"/>
                    <a:gd name="connsiteY4" fmla="*/ 503952 h 517875"/>
                    <a:gd name="connsiteX5" fmla="*/ 74824 w 306587"/>
                    <a:gd name="connsiteY5" fmla="*/ 83252 h 517875"/>
                    <a:gd name="connsiteX6" fmla="*/ 76869 w 306587"/>
                    <a:gd name="connsiteY6" fmla="*/ 517875 h 517875"/>
                    <a:gd name="connsiteX7" fmla="*/ 31226 w 306587"/>
                    <a:gd name="connsiteY7" fmla="*/ 516639 h 517875"/>
                    <a:gd name="connsiteX8" fmla="*/ 1872 w 306587"/>
                    <a:gd name="connsiteY8" fmla="*/ 50787 h 517875"/>
                    <a:gd name="connsiteX0" fmla="*/ 1872 w 306587"/>
                    <a:gd name="connsiteY0" fmla="*/ 50787 h 517875"/>
                    <a:gd name="connsiteX1" fmla="*/ 52659 w 306587"/>
                    <a:gd name="connsiteY1" fmla="*/ 0 h 517875"/>
                    <a:gd name="connsiteX2" fmla="*/ 255800 w 306587"/>
                    <a:gd name="connsiteY2" fmla="*/ 0 h 517875"/>
                    <a:gd name="connsiteX3" fmla="*/ 306587 w 306587"/>
                    <a:gd name="connsiteY3" fmla="*/ 50787 h 517875"/>
                    <a:gd name="connsiteX4" fmla="*/ 297063 w 306587"/>
                    <a:gd name="connsiteY4" fmla="*/ 501571 h 517875"/>
                    <a:gd name="connsiteX5" fmla="*/ 74824 w 306587"/>
                    <a:gd name="connsiteY5" fmla="*/ 83252 h 517875"/>
                    <a:gd name="connsiteX6" fmla="*/ 76869 w 306587"/>
                    <a:gd name="connsiteY6" fmla="*/ 517875 h 517875"/>
                    <a:gd name="connsiteX7" fmla="*/ 31226 w 306587"/>
                    <a:gd name="connsiteY7" fmla="*/ 516639 h 517875"/>
                    <a:gd name="connsiteX8" fmla="*/ 1872 w 306587"/>
                    <a:gd name="connsiteY8" fmla="*/ 50787 h 517875"/>
                    <a:gd name="connsiteX0" fmla="*/ 1872 w 306587"/>
                    <a:gd name="connsiteY0" fmla="*/ 50787 h 517875"/>
                    <a:gd name="connsiteX1" fmla="*/ 52659 w 306587"/>
                    <a:gd name="connsiteY1" fmla="*/ 0 h 517875"/>
                    <a:gd name="connsiteX2" fmla="*/ 255800 w 306587"/>
                    <a:gd name="connsiteY2" fmla="*/ 0 h 517875"/>
                    <a:gd name="connsiteX3" fmla="*/ 306587 w 306587"/>
                    <a:gd name="connsiteY3" fmla="*/ 50787 h 517875"/>
                    <a:gd name="connsiteX4" fmla="*/ 301825 w 306587"/>
                    <a:gd name="connsiteY4" fmla="*/ 503953 h 517875"/>
                    <a:gd name="connsiteX5" fmla="*/ 74824 w 306587"/>
                    <a:gd name="connsiteY5" fmla="*/ 83252 h 517875"/>
                    <a:gd name="connsiteX6" fmla="*/ 76869 w 306587"/>
                    <a:gd name="connsiteY6" fmla="*/ 517875 h 517875"/>
                    <a:gd name="connsiteX7" fmla="*/ 31226 w 306587"/>
                    <a:gd name="connsiteY7" fmla="*/ 516639 h 517875"/>
                    <a:gd name="connsiteX8" fmla="*/ 1872 w 306587"/>
                    <a:gd name="connsiteY8" fmla="*/ 50787 h 517875"/>
                    <a:gd name="connsiteX0" fmla="*/ 1872 w 306587"/>
                    <a:gd name="connsiteY0" fmla="*/ 50787 h 517875"/>
                    <a:gd name="connsiteX1" fmla="*/ 52659 w 306587"/>
                    <a:gd name="connsiteY1" fmla="*/ 0 h 517875"/>
                    <a:gd name="connsiteX2" fmla="*/ 255800 w 306587"/>
                    <a:gd name="connsiteY2" fmla="*/ 0 h 517875"/>
                    <a:gd name="connsiteX3" fmla="*/ 306587 w 306587"/>
                    <a:gd name="connsiteY3" fmla="*/ 50787 h 517875"/>
                    <a:gd name="connsiteX4" fmla="*/ 299444 w 306587"/>
                    <a:gd name="connsiteY4" fmla="*/ 515859 h 517875"/>
                    <a:gd name="connsiteX5" fmla="*/ 74824 w 306587"/>
                    <a:gd name="connsiteY5" fmla="*/ 83252 h 517875"/>
                    <a:gd name="connsiteX6" fmla="*/ 76869 w 306587"/>
                    <a:gd name="connsiteY6" fmla="*/ 517875 h 517875"/>
                    <a:gd name="connsiteX7" fmla="*/ 31226 w 306587"/>
                    <a:gd name="connsiteY7" fmla="*/ 516639 h 517875"/>
                    <a:gd name="connsiteX8" fmla="*/ 1872 w 306587"/>
                    <a:gd name="connsiteY8" fmla="*/ 50787 h 517875"/>
                    <a:gd name="connsiteX0" fmla="*/ 1872 w 306587"/>
                    <a:gd name="connsiteY0" fmla="*/ 50787 h 517875"/>
                    <a:gd name="connsiteX1" fmla="*/ 52659 w 306587"/>
                    <a:gd name="connsiteY1" fmla="*/ 0 h 517875"/>
                    <a:gd name="connsiteX2" fmla="*/ 243893 w 306587"/>
                    <a:gd name="connsiteY2" fmla="*/ 9525 h 517875"/>
                    <a:gd name="connsiteX3" fmla="*/ 306587 w 306587"/>
                    <a:gd name="connsiteY3" fmla="*/ 50787 h 517875"/>
                    <a:gd name="connsiteX4" fmla="*/ 299444 w 306587"/>
                    <a:gd name="connsiteY4" fmla="*/ 515859 h 517875"/>
                    <a:gd name="connsiteX5" fmla="*/ 74824 w 306587"/>
                    <a:gd name="connsiteY5" fmla="*/ 83252 h 517875"/>
                    <a:gd name="connsiteX6" fmla="*/ 76869 w 306587"/>
                    <a:gd name="connsiteY6" fmla="*/ 517875 h 517875"/>
                    <a:gd name="connsiteX7" fmla="*/ 31226 w 306587"/>
                    <a:gd name="connsiteY7" fmla="*/ 516639 h 517875"/>
                    <a:gd name="connsiteX8" fmla="*/ 1872 w 306587"/>
                    <a:gd name="connsiteY8" fmla="*/ 50787 h 517875"/>
                    <a:gd name="connsiteX0" fmla="*/ 1872 w 306587"/>
                    <a:gd name="connsiteY0" fmla="*/ 41262 h 508350"/>
                    <a:gd name="connsiteX1" fmla="*/ 83615 w 306587"/>
                    <a:gd name="connsiteY1" fmla="*/ 9525 h 508350"/>
                    <a:gd name="connsiteX2" fmla="*/ 243893 w 306587"/>
                    <a:gd name="connsiteY2" fmla="*/ 0 h 508350"/>
                    <a:gd name="connsiteX3" fmla="*/ 306587 w 306587"/>
                    <a:gd name="connsiteY3" fmla="*/ 41262 h 508350"/>
                    <a:gd name="connsiteX4" fmla="*/ 299444 w 306587"/>
                    <a:gd name="connsiteY4" fmla="*/ 506334 h 508350"/>
                    <a:gd name="connsiteX5" fmla="*/ 74824 w 306587"/>
                    <a:gd name="connsiteY5" fmla="*/ 73727 h 508350"/>
                    <a:gd name="connsiteX6" fmla="*/ 76869 w 306587"/>
                    <a:gd name="connsiteY6" fmla="*/ 508350 h 508350"/>
                    <a:gd name="connsiteX7" fmla="*/ 31226 w 306587"/>
                    <a:gd name="connsiteY7" fmla="*/ 507114 h 508350"/>
                    <a:gd name="connsiteX8" fmla="*/ 1872 w 306587"/>
                    <a:gd name="connsiteY8" fmla="*/ 41262 h 508350"/>
                    <a:gd name="connsiteX0" fmla="*/ 1872 w 306587"/>
                    <a:gd name="connsiteY0" fmla="*/ 41262 h 508350"/>
                    <a:gd name="connsiteX1" fmla="*/ 105046 w 306587"/>
                    <a:gd name="connsiteY1" fmla="*/ 0 h 508350"/>
                    <a:gd name="connsiteX2" fmla="*/ 243893 w 306587"/>
                    <a:gd name="connsiteY2" fmla="*/ 0 h 508350"/>
                    <a:gd name="connsiteX3" fmla="*/ 306587 w 306587"/>
                    <a:gd name="connsiteY3" fmla="*/ 41262 h 508350"/>
                    <a:gd name="connsiteX4" fmla="*/ 299444 w 306587"/>
                    <a:gd name="connsiteY4" fmla="*/ 506334 h 508350"/>
                    <a:gd name="connsiteX5" fmla="*/ 74824 w 306587"/>
                    <a:gd name="connsiteY5" fmla="*/ 73727 h 508350"/>
                    <a:gd name="connsiteX6" fmla="*/ 76869 w 306587"/>
                    <a:gd name="connsiteY6" fmla="*/ 508350 h 508350"/>
                    <a:gd name="connsiteX7" fmla="*/ 31226 w 306587"/>
                    <a:gd name="connsiteY7" fmla="*/ 507114 h 508350"/>
                    <a:gd name="connsiteX8" fmla="*/ 1872 w 306587"/>
                    <a:gd name="connsiteY8" fmla="*/ 41262 h 508350"/>
                    <a:gd name="connsiteX0" fmla="*/ 1872 w 306587"/>
                    <a:gd name="connsiteY0" fmla="*/ 48406 h 515494"/>
                    <a:gd name="connsiteX1" fmla="*/ 105046 w 306587"/>
                    <a:gd name="connsiteY1" fmla="*/ 7144 h 515494"/>
                    <a:gd name="connsiteX2" fmla="*/ 243893 w 306587"/>
                    <a:gd name="connsiteY2" fmla="*/ 0 h 515494"/>
                    <a:gd name="connsiteX3" fmla="*/ 306587 w 306587"/>
                    <a:gd name="connsiteY3" fmla="*/ 48406 h 515494"/>
                    <a:gd name="connsiteX4" fmla="*/ 299444 w 306587"/>
                    <a:gd name="connsiteY4" fmla="*/ 513478 h 515494"/>
                    <a:gd name="connsiteX5" fmla="*/ 74824 w 306587"/>
                    <a:gd name="connsiteY5" fmla="*/ 80871 h 515494"/>
                    <a:gd name="connsiteX6" fmla="*/ 76869 w 306587"/>
                    <a:gd name="connsiteY6" fmla="*/ 515494 h 515494"/>
                    <a:gd name="connsiteX7" fmla="*/ 31226 w 306587"/>
                    <a:gd name="connsiteY7" fmla="*/ 514258 h 515494"/>
                    <a:gd name="connsiteX8" fmla="*/ 1872 w 306587"/>
                    <a:gd name="connsiteY8" fmla="*/ 48406 h 515494"/>
                    <a:gd name="connsiteX0" fmla="*/ 1872 w 306587"/>
                    <a:gd name="connsiteY0" fmla="*/ 50787 h 517875"/>
                    <a:gd name="connsiteX1" fmla="*/ 112189 w 306587"/>
                    <a:gd name="connsiteY1" fmla="*/ 0 h 517875"/>
                    <a:gd name="connsiteX2" fmla="*/ 243893 w 306587"/>
                    <a:gd name="connsiteY2" fmla="*/ 2381 h 517875"/>
                    <a:gd name="connsiteX3" fmla="*/ 306587 w 306587"/>
                    <a:gd name="connsiteY3" fmla="*/ 50787 h 517875"/>
                    <a:gd name="connsiteX4" fmla="*/ 299444 w 306587"/>
                    <a:gd name="connsiteY4" fmla="*/ 515859 h 517875"/>
                    <a:gd name="connsiteX5" fmla="*/ 74824 w 306587"/>
                    <a:gd name="connsiteY5" fmla="*/ 83252 h 517875"/>
                    <a:gd name="connsiteX6" fmla="*/ 76869 w 306587"/>
                    <a:gd name="connsiteY6" fmla="*/ 517875 h 517875"/>
                    <a:gd name="connsiteX7" fmla="*/ 31226 w 306587"/>
                    <a:gd name="connsiteY7" fmla="*/ 516639 h 517875"/>
                    <a:gd name="connsiteX8" fmla="*/ 1872 w 306587"/>
                    <a:gd name="connsiteY8" fmla="*/ 50787 h 517875"/>
                    <a:gd name="connsiteX0" fmla="*/ 1872 w 306587"/>
                    <a:gd name="connsiteY0" fmla="*/ 88887 h 517875"/>
                    <a:gd name="connsiteX1" fmla="*/ 112189 w 306587"/>
                    <a:gd name="connsiteY1" fmla="*/ 0 h 517875"/>
                    <a:gd name="connsiteX2" fmla="*/ 243893 w 306587"/>
                    <a:gd name="connsiteY2" fmla="*/ 2381 h 517875"/>
                    <a:gd name="connsiteX3" fmla="*/ 306587 w 306587"/>
                    <a:gd name="connsiteY3" fmla="*/ 50787 h 517875"/>
                    <a:gd name="connsiteX4" fmla="*/ 299444 w 306587"/>
                    <a:gd name="connsiteY4" fmla="*/ 515859 h 517875"/>
                    <a:gd name="connsiteX5" fmla="*/ 74824 w 306587"/>
                    <a:gd name="connsiteY5" fmla="*/ 83252 h 517875"/>
                    <a:gd name="connsiteX6" fmla="*/ 76869 w 306587"/>
                    <a:gd name="connsiteY6" fmla="*/ 517875 h 517875"/>
                    <a:gd name="connsiteX7" fmla="*/ 31226 w 306587"/>
                    <a:gd name="connsiteY7" fmla="*/ 516639 h 517875"/>
                    <a:gd name="connsiteX8" fmla="*/ 1872 w 306587"/>
                    <a:gd name="connsiteY8" fmla="*/ 88887 h 517875"/>
                    <a:gd name="connsiteX0" fmla="*/ 1872 w 306587"/>
                    <a:gd name="connsiteY0" fmla="*/ 88887 h 517875"/>
                    <a:gd name="connsiteX1" fmla="*/ 112189 w 306587"/>
                    <a:gd name="connsiteY1" fmla="*/ 0 h 517875"/>
                    <a:gd name="connsiteX2" fmla="*/ 243893 w 306587"/>
                    <a:gd name="connsiteY2" fmla="*/ 2381 h 517875"/>
                    <a:gd name="connsiteX3" fmla="*/ 306587 w 306587"/>
                    <a:gd name="connsiteY3" fmla="*/ 50787 h 517875"/>
                    <a:gd name="connsiteX4" fmla="*/ 299444 w 306587"/>
                    <a:gd name="connsiteY4" fmla="*/ 515859 h 517875"/>
                    <a:gd name="connsiteX5" fmla="*/ 74824 w 306587"/>
                    <a:gd name="connsiteY5" fmla="*/ 83252 h 517875"/>
                    <a:gd name="connsiteX6" fmla="*/ 76869 w 306587"/>
                    <a:gd name="connsiteY6" fmla="*/ 517875 h 517875"/>
                    <a:gd name="connsiteX7" fmla="*/ 31226 w 306587"/>
                    <a:gd name="connsiteY7" fmla="*/ 516639 h 517875"/>
                    <a:gd name="connsiteX8" fmla="*/ 1872 w 306587"/>
                    <a:gd name="connsiteY8" fmla="*/ 88887 h 517875"/>
                    <a:gd name="connsiteX0" fmla="*/ 1872 w 306587"/>
                    <a:gd name="connsiteY0" fmla="*/ 88960 h 517948"/>
                    <a:gd name="connsiteX1" fmla="*/ 112189 w 306587"/>
                    <a:gd name="connsiteY1" fmla="*/ 73 h 517948"/>
                    <a:gd name="connsiteX2" fmla="*/ 243893 w 306587"/>
                    <a:gd name="connsiteY2" fmla="*/ 2454 h 517948"/>
                    <a:gd name="connsiteX3" fmla="*/ 306587 w 306587"/>
                    <a:gd name="connsiteY3" fmla="*/ 50860 h 517948"/>
                    <a:gd name="connsiteX4" fmla="*/ 299444 w 306587"/>
                    <a:gd name="connsiteY4" fmla="*/ 515932 h 517948"/>
                    <a:gd name="connsiteX5" fmla="*/ 74824 w 306587"/>
                    <a:gd name="connsiteY5" fmla="*/ 83325 h 517948"/>
                    <a:gd name="connsiteX6" fmla="*/ 76869 w 306587"/>
                    <a:gd name="connsiteY6" fmla="*/ 517948 h 517948"/>
                    <a:gd name="connsiteX7" fmla="*/ 31226 w 306587"/>
                    <a:gd name="connsiteY7" fmla="*/ 516712 h 517948"/>
                    <a:gd name="connsiteX8" fmla="*/ 1872 w 306587"/>
                    <a:gd name="connsiteY8" fmla="*/ 88960 h 517948"/>
                    <a:gd name="connsiteX0" fmla="*/ 1872 w 306587"/>
                    <a:gd name="connsiteY0" fmla="*/ 88960 h 517948"/>
                    <a:gd name="connsiteX1" fmla="*/ 112189 w 306587"/>
                    <a:gd name="connsiteY1" fmla="*/ 73 h 517948"/>
                    <a:gd name="connsiteX2" fmla="*/ 241511 w 306587"/>
                    <a:gd name="connsiteY2" fmla="*/ 72 h 517948"/>
                    <a:gd name="connsiteX3" fmla="*/ 306587 w 306587"/>
                    <a:gd name="connsiteY3" fmla="*/ 50860 h 517948"/>
                    <a:gd name="connsiteX4" fmla="*/ 299444 w 306587"/>
                    <a:gd name="connsiteY4" fmla="*/ 515932 h 517948"/>
                    <a:gd name="connsiteX5" fmla="*/ 74824 w 306587"/>
                    <a:gd name="connsiteY5" fmla="*/ 83325 h 517948"/>
                    <a:gd name="connsiteX6" fmla="*/ 76869 w 306587"/>
                    <a:gd name="connsiteY6" fmla="*/ 517948 h 517948"/>
                    <a:gd name="connsiteX7" fmla="*/ 31226 w 306587"/>
                    <a:gd name="connsiteY7" fmla="*/ 516712 h 517948"/>
                    <a:gd name="connsiteX8" fmla="*/ 1872 w 306587"/>
                    <a:gd name="connsiteY8" fmla="*/ 88960 h 517948"/>
                    <a:gd name="connsiteX0" fmla="*/ 273 w 304988"/>
                    <a:gd name="connsiteY0" fmla="*/ 88960 h 517948"/>
                    <a:gd name="connsiteX1" fmla="*/ 110590 w 304988"/>
                    <a:gd name="connsiteY1" fmla="*/ 73 h 517948"/>
                    <a:gd name="connsiteX2" fmla="*/ 239912 w 304988"/>
                    <a:gd name="connsiteY2" fmla="*/ 72 h 517948"/>
                    <a:gd name="connsiteX3" fmla="*/ 304988 w 304988"/>
                    <a:gd name="connsiteY3" fmla="*/ 50860 h 517948"/>
                    <a:gd name="connsiteX4" fmla="*/ 297845 w 304988"/>
                    <a:gd name="connsiteY4" fmla="*/ 515932 h 517948"/>
                    <a:gd name="connsiteX5" fmla="*/ 73225 w 304988"/>
                    <a:gd name="connsiteY5" fmla="*/ 83325 h 517948"/>
                    <a:gd name="connsiteX6" fmla="*/ 75270 w 304988"/>
                    <a:gd name="connsiteY6" fmla="*/ 517948 h 517948"/>
                    <a:gd name="connsiteX7" fmla="*/ 29627 w 304988"/>
                    <a:gd name="connsiteY7" fmla="*/ 516712 h 517948"/>
                    <a:gd name="connsiteX8" fmla="*/ 273 w 304988"/>
                    <a:gd name="connsiteY8" fmla="*/ 88960 h 517948"/>
                    <a:gd name="connsiteX0" fmla="*/ 273 w 304988"/>
                    <a:gd name="connsiteY0" fmla="*/ 88960 h 517948"/>
                    <a:gd name="connsiteX1" fmla="*/ 110590 w 304988"/>
                    <a:gd name="connsiteY1" fmla="*/ 73 h 517948"/>
                    <a:gd name="connsiteX2" fmla="*/ 239912 w 304988"/>
                    <a:gd name="connsiteY2" fmla="*/ 72 h 517948"/>
                    <a:gd name="connsiteX3" fmla="*/ 304988 w 304988"/>
                    <a:gd name="connsiteY3" fmla="*/ 50860 h 517948"/>
                    <a:gd name="connsiteX4" fmla="*/ 297845 w 304988"/>
                    <a:gd name="connsiteY4" fmla="*/ 515932 h 517948"/>
                    <a:gd name="connsiteX5" fmla="*/ 73225 w 304988"/>
                    <a:gd name="connsiteY5" fmla="*/ 83325 h 517948"/>
                    <a:gd name="connsiteX6" fmla="*/ 75270 w 304988"/>
                    <a:gd name="connsiteY6" fmla="*/ 517948 h 517948"/>
                    <a:gd name="connsiteX7" fmla="*/ 29627 w 304988"/>
                    <a:gd name="connsiteY7" fmla="*/ 516712 h 517948"/>
                    <a:gd name="connsiteX8" fmla="*/ 273 w 304988"/>
                    <a:gd name="connsiteY8" fmla="*/ 88960 h 517948"/>
                    <a:gd name="connsiteX0" fmla="*/ 273 w 304988"/>
                    <a:gd name="connsiteY0" fmla="*/ 88960 h 517948"/>
                    <a:gd name="connsiteX1" fmla="*/ 110590 w 304988"/>
                    <a:gd name="connsiteY1" fmla="*/ 73 h 517948"/>
                    <a:gd name="connsiteX2" fmla="*/ 239912 w 304988"/>
                    <a:gd name="connsiteY2" fmla="*/ 72 h 517948"/>
                    <a:gd name="connsiteX3" fmla="*/ 304988 w 304988"/>
                    <a:gd name="connsiteY3" fmla="*/ 50860 h 517948"/>
                    <a:gd name="connsiteX4" fmla="*/ 297845 w 304988"/>
                    <a:gd name="connsiteY4" fmla="*/ 515932 h 517948"/>
                    <a:gd name="connsiteX5" fmla="*/ 73225 w 304988"/>
                    <a:gd name="connsiteY5" fmla="*/ 83325 h 517948"/>
                    <a:gd name="connsiteX6" fmla="*/ 75270 w 304988"/>
                    <a:gd name="connsiteY6" fmla="*/ 517948 h 517948"/>
                    <a:gd name="connsiteX7" fmla="*/ 29627 w 304988"/>
                    <a:gd name="connsiteY7" fmla="*/ 516712 h 517948"/>
                    <a:gd name="connsiteX8" fmla="*/ 273 w 304988"/>
                    <a:gd name="connsiteY8" fmla="*/ 88960 h 517948"/>
                    <a:gd name="connsiteX0" fmla="*/ 273 w 304988"/>
                    <a:gd name="connsiteY0" fmla="*/ 88960 h 517948"/>
                    <a:gd name="connsiteX1" fmla="*/ 110590 w 304988"/>
                    <a:gd name="connsiteY1" fmla="*/ 73 h 517948"/>
                    <a:gd name="connsiteX2" fmla="*/ 239912 w 304988"/>
                    <a:gd name="connsiteY2" fmla="*/ 72 h 517948"/>
                    <a:gd name="connsiteX3" fmla="*/ 304988 w 304988"/>
                    <a:gd name="connsiteY3" fmla="*/ 50860 h 517948"/>
                    <a:gd name="connsiteX4" fmla="*/ 297845 w 304988"/>
                    <a:gd name="connsiteY4" fmla="*/ 515932 h 517948"/>
                    <a:gd name="connsiteX5" fmla="*/ 73225 w 304988"/>
                    <a:gd name="connsiteY5" fmla="*/ 83325 h 517948"/>
                    <a:gd name="connsiteX6" fmla="*/ 75270 w 304988"/>
                    <a:gd name="connsiteY6" fmla="*/ 517948 h 517948"/>
                    <a:gd name="connsiteX7" fmla="*/ 29627 w 304988"/>
                    <a:gd name="connsiteY7" fmla="*/ 516712 h 517948"/>
                    <a:gd name="connsiteX8" fmla="*/ 273 w 304988"/>
                    <a:gd name="connsiteY8" fmla="*/ 88960 h 517948"/>
                    <a:gd name="connsiteX0" fmla="*/ 2130 w 306845"/>
                    <a:gd name="connsiteY0" fmla="*/ 88960 h 517948"/>
                    <a:gd name="connsiteX1" fmla="*/ 112447 w 306845"/>
                    <a:gd name="connsiteY1" fmla="*/ 73 h 517948"/>
                    <a:gd name="connsiteX2" fmla="*/ 241769 w 306845"/>
                    <a:gd name="connsiteY2" fmla="*/ 72 h 517948"/>
                    <a:gd name="connsiteX3" fmla="*/ 306845 w 306845"/>
                    <a:gd name="connsiteY3" fmla="*/ 50860 h 517948"/>
                    <a:gd name="connsiteX4" fmla="*/ 299702 w 306845"/>
                    <a:gd name="connsiteY4" fmla="*/ 515932 h 517948"/>
                    <a:gd name="connsiteX5" fmla="*/ 75082 w 306845"/>
                    <a:gd name="connsiteY5" fmla="*/ 83325 h 517948"/>
                    <a:gd name="connsiteX6" fmla="*/ 77127 w 306845"/>
                    <a:gd name="connsiteY6" fmla="*/ 517948 h 517948"/>
                    <a:gd name="connsiteX7" fmla="*/ 31484 w 306845"/>
                    <a:gd name="connsiteY7" fmla="*/ 516712 h 517948"/>
                    <a:gd name="connsiteX8" fmla="*/ 2130 w 306845"/>
                    <a:gd name="connsiteY8" fmla="*/ 88960 h 517948"/>
                    <a:gd name="connsiteX0" fmla="*/ 1306 w 306021"/>
                    <a:gd name="connsiteY0" fmla="*/ 88960 h 517948"/>
                    <a:gd name="connsiteX1" fmla="*/ 111623 w 306021"/>
                    <a:gd name="connsiteY1" fmla="*/ 73 h 517948"/>
                    <a:gd name="connsiteX2" fmla="*/ 240945 w 306021"/>
                    <a:gd name="connsiteY2" fmla="*/ 72 h 517948"/>
                    <a:gd name="connsiteX3" fmla="*/ 306021 w 306021"/>
                    <a:gd name="connsiteY3" fmla="*/ 50860 h 517948"/>
                    <a:gd name="connsiteX4" fmla="*/ 298878 w 306021"/>
                    <a:gd name="connsiteY4" fmla="*/ 515932 h 517948"/>
                    <a:gd name="connsiteX5" fmla="*/ 74258 w 306021"/>
                    <a:gd name="connsiteY5" fmla="*/ 83325 h 517948"/>
                    <a:gd name="connsiteX6" fmla="*/ 76303 w 306021"/>
                    <a:gd name="connsiteY6" fmla="*/ 517948 h 517948"/>
                    <a:gd name="connsiteX7" fmla="*/ 30660 w 306021"/>
                    <a:gd name="connsiteY7" fmla="*/ 516712 h 517948"/>
                    <a:gd name="connsiteX8" fmla="*/ 1306 w 306021"/>
                    <a:gd name="connsiteY8" fmla="*/ 88960 h 517948"/>
                    <a:gd name="connsiteX0" fmla="*/ 1306 w 306021"/>
                    <a:gd name="connsiteY0" fmla="*/ 88960 h 517948"/>
                    <a:gd name="connsiteX1" fmla="*/ 111623 w 306021"/>
                    <a:gd name="connsiteY1" fmla="*/ 73 h 517948"/>
                    <a:gd name="connsiteX2" fmla="*/ 240945 w 306021"/>
                    <a:gd name="connsiteY2" fmla="*/ 72 h 517948"/>
                    <a:gd name="connsiteX3" fmla="*/ 306021 w 306021"/>
                    <a:gd name="connsiteY3" fmla="*/ 69910 h 517948"/>
                    <a:gd name="connsiteX4" fmla="*/ 298878 w 306021"/>
                    <a:gd name="connsiteY4" fmla="*/ 515932 h 517948"/>
                    <a:gd name="connsiteX5" fmla="*/ 74258 w 306021"/>
                    <a:gd name="connsiteY5" fmla="*/ 83325 h 517948"/>
                    <a:gd name="connsiteX6" fmla="*/ 76303 w 306021"/>
                    <a:gd name="connsiteY6" fmla="*/ 517948 h 517948"/>
                    <a:gd name="connsiteX7" fmla="*/ 30660 w 306021"/>
                    <a:gd name="connsiteY7" fmla="*/ 516712 h 517948"/>
                    <a:gd name="connsiteX8" fmla="*/ 1306 w 306021"/>
                    <a:gd name="connsiteY8" fmla="*/ 88960 h 517948"/>
                    <a:gd name="connsiteX0" fmla="*/ 1306 w 306021"/>
                    <a:gd name="connsiteY0" fmla="*/ 89591 h 518579"/>
                    <a:gd name="connsiteX1" fmla="*/ 111623 w 306021"/>
                    <a:gd name="connsiteY1" fmla="*/ 704 h 518579"/>
                    <a:gd name="connsiteX2" fmla="*/ 240945 w 306021"/>
                    <a:gd name="connsiteY2" fmla="*/ 703 h 518579"/>
                    <a:gd name="connsiteX3" fmla="*/ 306021 w 306021"/>
                    <a:gd name="connsiteY3" fmla="*/ 70541 h 518579"/>
                    <a:gd name="connsiteX4" fmla="*/ 298878 w 306021"/>
                    <a:gd name="connsiteY4" fmla="*/ 516563 h 518579"/>
                    <a:gd name="connsiteX5" fmla="*/ 74258 w 306021"/>
                    <a:gd name="connsiteY5" fmla="*/ 83956 h 518579"/>
                    <a:gd name="connsiteX6" fmla="*/ 76303 w 306021"/>
                    <a:gd name="connsiteY6" fmla="*/ 518579 h 518579"/>
                    <a:gd name="connsiteX7" fmla="*/ 30660 w 306021"/>
                    <a:gd name="connsiteY7" fmla="*/ 517343 h 518579"/>
                    <a:gd name="connsiteX8" fmla="*/ 1306 w 306021"/>
                    <a:gd name="connsiteY8" fmla="*/ 89591 h 518579"/>
                    <a:gd name="connsiteX0" fmla="*/ 1306 w 299336"/>
                    <a:gd name="connsiteY0" fmla="*/ 89488 h 518476"/>
                    <a:gd name="connsiteX1" fmla="*/ 111623 w 299336"/>
                    <a:gd name="connsiteY1" fmla="*/ 601 h 518476"/>
                    <a:gd name="connsiteX2" fmla="*/ 240945 w 299336"/>
                    <a:gd name="connsiteY2" fmla="*/ 600 h 518476"/>
                    <a:gd name="connsiteX3" fmla="*/ 298877 w 299336"/>
                    <a:gd name="connsiteY3" fmla="*/ 79963 h 518476"/>
                    <a:gd name="connsiteX4" fmla="*/ 298878 w 299336"/>
                    <a:gd name="connsiteY4" fmla="*/ 516460 h 518476"/>
                    <a:gd name="connsiteX5" fmla="*/ 74258 w 299336"/>
                    <a:gd name="connsiteY5" fmla="*/ 83853 h 518476"/>
                    <a:gd name="connsiteX6" fmla="*/ 76303 w 299336"/>
                    <a:gd name="connsiteY6" fmla="*/ 518476 h 518476"/>
                    <a:gd name="connsiteX7" fmla="*/ 30660 w 299336"/>
                    <a:gd name="connsiteY7" fmla="*/ 517240 h 518476"/>
                    <a:gd name="connsiteX8" fmla="*/ 1306 w 299336"/>
                    <a:gd name="connsiteY8" fmla="*/ 89488 h 518476"/>
                    <a:gd name="connsiteX0" fmla="*/ 1306 w 299941"/>
                    <a:gd name="connsiteY0" fmla="*/ 89560 h 518548"/>
                    <a:gd name="connsiteX1" fmla="*/ 111623 w 299941"/>
                    <a:gd name="connsiteY1" fmla="*/ 673 h 518548"/>
                    <a:gd name="connsiteX2" fmla="*/ 240945 w 299941"/>
                    <a:gd name="connsiteY2" fmla="*/ 672 h 518548"/>
                    <a:gd name="connsiteX3" fmla="*/ 298877 w 299941"/>
                    <a:gd name="connsiteY3" fmla="*/ 80035 h 518548"/>
                    <a:gd name="connsiteX4" fmla="*/ 298878 w 299941"/>
                    <a:gd name="connsiteY4" fmla="*/ 516532 h 518548"/>
                    <a:gd name="connsiteX5" fmla="*/ 74258 w 299941"/>
                    <a:gd name="connsiteY5" fmla="*/ 83925 h 518548"/>
                    <a:gd name="connsiteX6" fmla="*/ 76303 w 299941"/>
                    <a:gd name="connsiteY6" fmla="*/ 518548 h 518548"/>
                    <a:gd name="connsiteX7" fmla="*/ 30660 w 299941"/>
                    <a:gd name="connsiteY7" fmla="*/ 517312 h 518548"/>
                    <a:gd name="connsiteX8" fmla="*/ 1306 w 299941"/>
                    <a:gd name="connsiteY8" fmla="*/ 89560 h 518548"/>
                    <a:gd name="connsiteX0" fmla="*/ 1306 w 300088"/>
                    <a:gd name="connsiteY0" fmla="*/ 88961 h 517949"/>
                    <a:gd name="connsiteX1" fmla="*/ 111623 w 300088"/>
                    <a:gd name="connsiteY1" fmla="*/ 74 h 517949"/>
                    <a:gd name="connsiteX2" fmla="*/ 240945 w 300088"/>
                    <a:gd name="connsiteY2" fmla="*/ 73 h 517949"/>
                    <a:gd name="connsiteX3" fmla="*/ 298877 w 300088"/>
                    <a:gd name="connsiteY3" fmla="*/ 79436 h 517949"/>
                    <a:gd name="connsiteX4" fmla="*/ 298878 w 300088"/>
                    <a:gd name="connsiteY4" fmla="*/ 515933 h 517949"/>
                    <a:gd name="connsiteX5" fmla="*/ 74258 w 300088"/>
                    <a:gd name="connsiteY5" fmla="*/ 83326 h 517949"/>
                    <a:gd name="connsiteX6" fmla="*/ 76303 w 300088"/>
                    <a:gd name="connsiteY6" fmla="*/ 517949 h 517949"/>
                    <a:gd name="connsiteX7" fmla="*/ 30660 w 300088"/>
                    <a:gd name="connsiteY7" fmla="*/ 516713 h 517949"/>
                    <a:gd name="connsiteX8" fmla="*/ 1306 w 300088"/>
                    <a:gd name="connsiteY8" fmla="*/ 88961 h 517949"/>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74258 w 299166"/>
                    <a:gd name="connsiteY5" fmla="*/ 83326 h 517949"/>
                    <a:gd name="connsiteX6" fmla="*/ 76303 w 299166"/>
                    <a:gd name="connsiteY6" fmla="*/ 517949 h 517949"/>
                    <a:gd name="connsiteX7" fmla="*/ 30660 w 299166"/>
                    <a:gd name="connsiteY7" fmla="*/ 516713 h 517949"/>
                    <a:gd name="connsiteX8" fmla="*/ 1306 w 299166"/>
                    <a:gd name="connsiteY8" fmla="*/ 88961 h 517949"/>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74258 w 299166"/>
                    <a:gd name="connsiteY5" fmla="*/ 83326 h 517949"/>
                    <a:gd name="connsiteX6" fmla="*/ 76303 w 299166"/>
                    <a:gd name="connsiteY6" fmla="*/ 517949 h 517949"/>
                    <a:gd name="connsiteX7" fmla="*/ 30660 w 299166"/>
                    <a:gd name="connsiteY7" fmla="*/ 516713 h 517949"/>
                    <a:gd name="connsiteX8" fmla="*/ 1306 w 299166"/>
                    <a:gd name="connsiteY8" fmla="*/ 88961 h 517949"/>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74258 w 299166"/>
                    <a:gd name="connsiteY5" fmla="*/ 83326 h 517949"/>
                    <a:gd name="connsiteX6" fmla="*/ 76303 w 299166"/>
                    <a:gd name="connsiteY6" fmla="*/ 517949 h 517949"/>
                    <a:gd name="connsiteX7" fmla="*/ 30660 w 299166"/>
                    <a:gd name="connsiteY7" fmla="*/ 516713 h 517949"/>
                    <a:gd name="connsiteX8" fmla="*/ 1306 w 299166"/>
                    <a:gd name="connsiteY8" fmla="*/ 88961 h 517949"/>
                    <a:gd name="connsiteX0" fmla="*/ 1306 w 299166"/>
                    <a:gd name="connsiteY0" fmla="*/ 88961 h 544502"/>
                    <a:gd name="connsiteX1" fmla="*/ 111623 w 299166"/>
                    <a:gd name="connsiteY1" fmla="*/ 74 h 544502"/>
                    <a:gd name="connsiteX2" fmla="*/ 240945 w 299166"/>
                    <a:gd name="connsiteY2" fmla="*/ 73 h 544502"/>
                    <a:gd name="connsiteX3" fmla="*/ 296496 w 299166"/>
                    <a:gd name="connsiteY3" fmla="*/ 98486 h 544502"/>
                    <a:gd name="connsiteX4" fmla="*/ 298878 w 299166"/>
                    <a:gd name="connsiteY4" fmla="*/ 515933 h 544502"/>
                    <a:gd name="connsiteX5" fmla="*/ 264421 w 299166"/>
                    <a:gd name="connsiteY5" fmla="*/ 460800 h 544502"/>
                    <a:gd name="connsiteX6" fmla="*/ 74258 w 299166"/>
                    <a:gd name="connsiteY6" fmla="*/ 83326 h 544502"/>
                    <a:gd name="connsiteX7" fmla="*/ 76303 w 299166"/>
                    <a:gd name="connsiteY7" fmla="*/ 517949 h 544502"/>
                    <a:gd name="connsiteX8" fmla="*/ 30660 w 299166"/>
                    <a:gd name="connsiteY8" fmla="*/ 516713 h 544502"/>
                    <a:gd name="connsiteX9" fmla="*/ 1306 w 299166"/>
                    <a:gd name="connsiteY9" fmla="*/ 88961 h 544502"/>
                    <a:gd name="connsiteX0" fmla="*/ 1306 w 299166"/>
                    <a:gd name="connsiteY0" fmla="*/ 88961 h 563054"/>
                    <a:gd name="connsiteX1" fmla="*/ 111623 w 299166"/>
                    <a:gd name="connsiteY1" fmla="*/ 74 h 563054"/>
                    <a:gd name="connsiteX2" fmla="*/ 240945 w 299166"/>
                    <a:gd name="connsiteY2" fmla="*/ 73 h 563054"/>
                    <a:gd name="connsiteX3" fmla="*/ 296496 w 299166"/>
                    <a:gd name="connsiteY3" fmla="*/ 98486 h 563054"/>
                    <a:gd name="connsiteX4" fmla="*/ 298878 w 299166"/>
                    <a:gd name="connsiteY4" fmla="*/ 515933 h 563054"/>
                    <a:gd name="connsiteX5" fmla="*/ 242990 w 299166"/>
                    <a:gd name="connsiteY5" fmla="*/ 510807 h 563054"/>
                    <a:gd name="connsiteX6" fmla="*/ 74258 w 299166"/>
                    <a:gd name="connsiteY6" fmla="*/ 83326 h 563054"/>
                    <a:gd name="connsiteX7" fmla="*/ 76303 w 299166"/>
                    <a:gd name="connsiteY7" fmla="*/ 517949 h 563054"/>
                    <a:gd name="connsiteX8" fmla="*/ 30660 w 299166"/>
                    <a:gd name="connsiteY8" fmla="*/ 516713 h 563054"/>
                    <a:gd name="connsiteX9" fmla="*/ 1306 w 299166"/>
                    <a:gd name="connsiteY9" fmla="*/ 88961 h 563054"/>
                    <a:gd name="connsiteX0" fmla="*/ 1306 w 299166"/>
                    <a:gd name="connsiteY0" fmla="*/ 88961 h 540686"/>
                    <a:gd name="connsiteX1" fmla="*/ 111623 w 299166"/>
                    <a:gd name="connsiteY1" fmla="*/ 74 h 540686"/>
                    <a:gd name="connsiteX2" fmla="*/ 240945 w 299166"/>
                    <a:gd name="connsiteY2" fmla="*/ 73 h 540686"/>
                    <a:gd name="connsiteX3" fmla="*/ 296496 w 299166"/>
                    <a:gd name="connsiteY3" fmla="*/ 98486 h 540686"/>
                    <a:gd name="connsiteX4" fmla="*/ 298878 w 299166"/>
                    <a:gd name="connsiteY4" fmla="*/ 515933 h 540686"/>
                    <a:gd name="connsiteX5" fmla="*/ 242990 w 299166"/>
                    <a:gd name="connsiteY5" fmla="*/ 510807 h 540686"/>
                    <a:gd name="connsiteX6" fmla="*/ 74258 w 299166"/>
                    <a:gd name="connsiteY6" fmla="*/ 83326 h 540686"/>
                    <a:gd name="connsiteX7" fmla="*/ 76303 w 299166"/>
                    <a:gd name="connsiteY7" fmla="*/ 517949 h 540686"/>
                    <a:gd name="connsiteX8" fmla="*/ 30660 w 299166"/>
                    <a:gd name="connsiteY8" fmla="*/ 516713 h 540686"/>
                    <a:gd name="connsiteX9" fmla="*/ 1306 w 299166"/>
                    <a:gd name="connsiteY9" fmla="*/ 88961 h 540686"/>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242990 w 299166"/>
                    <a:gd name="connsiteY5" fmla="*/ 510807 h 517949"/>
                    <a:gd name="connsiteX6" fmla="*/ 74258 w 299166"/>
                    <a:gd name="connsiteY6" fmla="*/ 83326 h 517949"/>
                    <a:gd name="connsiteX7" fmla="*/ 76303 w 299166"/>
                    <a:gd name="connsiteY7" fmla="*/ 517949 h 517949"/>
                    <a:gd name="connsiteX8" fmla="*/ 30660 w 299166"/>
                    <a:gd name="connsiteY8" fmla="*/ 516713 h 517949"/>
                    <a:gd name="connsiteX9" fmla="*/ 1306 w 299166"/>
                    <a:gd name="connsiteY9" fmla="*/ 88961 h 517949"/>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235846 w 299166"/>
                    <a:gd name="connsiteY5" fmla="*/ 506044 h 517949"/>
                    <a:gd name="connsiteX6" fmla="*/ 74258 w 299166"/>
                    <a:gd name="connsiteY6" fmla="*/ 83326 h 517949"/>
                    <a:gd name="connsiteX7" fmla="*/ 76303 w 299166"/>
                    <a:gd name="connsiteY7" fmla="*/ 517949 h 517949"/>
                    <a:gd name="connsiteX8" fmla="*/ 30660 w 299166"/>
                    <a:gd name="connsiteY8" fmla="*/ 516713 h 517949"/>
                    <a:gd name="connsiteX9" fmla="*/ 1306 w 299166"/>
                    <a:gd name="connsiteY9" fmla="*/ 88961 h 517949"/>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235846 w 299166"/>
                    <a:gd name="connsiteY5" fmla="*/ 506044 h 517949"/>
                    <a:gd name="connsiteX6" fmla="*/ 74258 w 299166"/>
                    <a:gd name="connsiteY6" fmla="*/ 83326 h 517949"/>
                    <a:gd name="connsiteX7" fmla="*/ 76303 w 299166"/>
                    <a:gd name="connsiteY7" fmla="*/ 517949 h 517949"/>
                    <a:gd name="connsiteX8" fmla="*/ 30660 w 299166"/>
                    <a:gd name="connsiteY8" fmla="*/ 516713 h 517949"/>
                    <a:gd name="connsiteX9" fmla="*/ 1306 w 299166"/>
                    <a:gd name="connsiteY9" fmla="*/ 88961 h 517949"/>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74258 w 299166"/>
                    <a:gd name="connsiteY5" fmla="*/ 83326 h 517949"/>
                    <a:gd name="connsiteX6" fmla="*/ 76303 w 299166"/>
                    <a:gd name="connsiteY6" fmla="*/ 517949 h 517949"/>
                    <a:gd name="connsiteX7" fmla="*/ 30660 w 299166"/>
                    <a:gd name="connsiteY7" fmla="*/ 516713 h 517949"/>
                    <a:gd name="connsiteX8" fmla="*/ 1306 w 299166"/>
                    <a:gd name="connsiteY8" fmla="*/ 88961 h 517949"/>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145359 w 299166"/>
                    <a:gd name="connsiteY5" fmla="*/ 201244 h 517949"/>
                    <a:gd name="connsiteX6" fmla="*/ 74258 w 299166"/>
                    <a:gd name="connsiteY6" fmla="*/ 83326 h 517949"/>
                    <a:gd name="connsiteX7" fmla="*/ 76303 w 299166"/>
                    <a:gd name="connsiteY7" fmla="*/ 517949 h 517949"/>
                    <a:gd name="connsiteX8" fmla="*/ 30660 w 299166"/>
                    <a:gd name="connsiteY8" fmla="*/ 516713 h 517949"/>
                    <a:gd name="connsiteX9" fmla="*/ 1306 w 299166"/>
                    <a:gd name="connsiteY9" fmla="*/ 88961 h 517949"/>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238227 w 299166"/>
                    <a:gd name="connsiteY5" fmla="*/ 94087 h 517949"/>
                    <a:gd name="connsiteX6" fmla="*/ 74258 w 299166"/>
                    <a:gd name="connsiteY6" fmla="*/ 83326 h 517949"/>
                    <a:gd name="connsiteX7" fmla="*/ 76303 w 299166"/>
                    <a:gd name="connsiteY7" fmla="*/ 517949 h 517949"/>
                    <a:gd name="connsiteX8" fmla="*/ 30660 w 299166"/>
                    <a:gd name="connsiteY8" fmla="*/ 516713 h 517949"/>
                    <a:gd name="connsiteX9" fmla="*/ 1306 w 299166"/>
                    <a:gd name="connsiteY9" fmla="*/ 88961 h 517949"/>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238227 w 299166"/>
                    <a:gd name="connsiteY5" fmla="*/ 94087 h 517949"/>
                    <a:gd name="connsiteX6" fmla="*/ 74258 w 299166"/>
                    <a:gd name="connsiteY6" fmla="*/ 83326 h 517949"/>
                    <a:gd name="connsiteX7" fmla="*/ 76303 w 299166"/>
                    <a:gd name="connsiteY7" fmla="*/ 517949 h 517949"/>
                    <a:gd name="connsiteX8" fmla="*/ 30660 w 299166"/>
                    <a:gd name="connsiteY8" fmla="*/ 516713 h 517949"/>
                    <a:gd name="connsiteX9" fmla="*/ 1306 w 299166"/>
                    <a:gd name="connsiteY9" fmla="*/ 88961 h 517949"/>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238227 w 299166"/>
                    <a:gd name="connsiteY5" fmla="*/ 96468 h 517949"/>
                    <a:gd name="connsiteX6" fmla="*/ 74258 w 299166"/>
                    <a:gd name="connsiteY6" fmla="*/ 83326 h 517949"/>
                    <a:gd name="connsiteX7" fmla="*/ 76303 w 299166"/>
                    <a:gd name="connsiteY7" fmla="*/ 517949 h 517949"/>
                    <a:gd name="connsiteX8" fmla="*/ 30660 w 299166"/>
                    <a:gd name="connsiteY8" fmla="*/ 516713 h 517949"/>
                    <a:gd name="connsiteX9" fmla="*/ 1306 w 299166"/>
                    <a:gd name="connsiteY9" fmla="*/ 88961 h 517949"/>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238227 w 299166"/>
                    <a:gd name="connsiteY5" fmla="*/ 96468 h 517949"/>
                    <a:gd name="connsiteX6" fmla="*/ 74258 w 299166"/>
                    <a:gd name="connsiteY6" fmla="*/ 83326 h 517949"/>
                    <a:gd name="connsiteX7" fmla="*/ 76303 w 299166"/>
                    <a:gd name="connsiteY7" fmla="*/ 517949 h 517949"/>
                    <a:gd name="connsiteX8" fmla="*/ 30660 w 299166"/>
                    <a:gd name="connsiteY8" fmla="*/ 516713 h 517949"/>
                    <a:gd name="connsiteX9" fmla="*/ 1306 w 299166"/>
                    <a:gd name="connsiteY9" fmla="*/ 88961 h 517949"/>
                    <a:gd name="connsiteX0" fmla="*/ 1306 w 299166"/>
                    <a:gd name="connsiteY0" fmla="*/ 88961 h 544807"/>
                    <a:gd name="connsiteX1" fmla="*/ 111623 w 299166"/>
                    <a:gd name="connsiteY1" fmla="*/ 74 h 544807"/>
                    <a:gd name="connsiteX2" fmla="*/ 240945 w 299166"/>
                    <a:gd name="connsiteY2" fmla="*/ 73 h 544807"/>
                    <a:gd name="connsiteX3" fmla="*/ 296496 w 299166"/>
                    <a:gd name="connsiteY3" fmla="*/ 98486 h 544807"/>
                    <a:gd name="connsiteX4" fmla="*/ 298878 w 299166"/>
                    <a:gd name="connsiteY4" fmla="*/ 515933 h 544807"/>
                    <a:gd name="connsiteX5" fmla="*/ 271565 w 299166"/>
                    <a:gd name="connsiteY5" fmla="*/ 463181 h 544807"/>
                    <a:gd name="connsiteX6" fmla="*/ 238227 w 299166"/>
                    <a:gd name="connsiteY6" fmla="*/ 96468 h 544807"/>
                    <a:gd name="connsiteX7" fmla="*/ 74258 w 299166"/>
                    <a:gd name="connsiteY7" fmla="*/ 83326 h 544807"/>
                    <a:gd name="connsiteX8" fmla="*/ 76303 w 299166"/>
                    <a:gd name="connsiteY8" fmla="*/ 517949 h 544807"/>
                    <a:gd name="connsiteX9" fmla="*/ 30660 w 299166"/>
                    <a:gd name="connsiteY9" fmla="*/ 516713 h 544807"/>
                    <a:gd name="connsiteX10" fmla="*/ 1306 w 299166"/>
                    <a:gd name="connsiteY10" fmla="*/ 88961 h 544807"/>
                    <a:gd name="connsiteX0" fmla="*/ 1306 w 299166"/>
                    <a:gd name="connsiteY0" fmla="*/ 88961 h 562380"/>
                    <a:gd name="connsiteX1" fmla="*/ 111623 w 299166"/>
                    <a:gd name="connsiteY1" fmla="*/ 74 h 562380"/>
                    <a:gd name="connsiteX2" fmla="*/ 240945 w 299166"/>
                    <a:gd name="connsiteY2" fmla="*/ 73 h 562380"/>
                    <a:gd name="connsiteX3" fmla="*/ 296496 w 299166"/>
                    <a:gd name="connsiteY3" fmla="*/ 98486 h 562380"/>
                    <a:gd name="connsiteX4" fmla="*/ 298878 w 299166"/>
                    <a:gd name="connsiteY4" fmla="*/ 515933 h 562380"/>
                    <a:gd name="connsiteX5" fmla="*/ 238228 w 299166"/>
                    <a:gd name="connsiteY5" fmla="*/ 510806 h 562380"/>
                    <a:gd name="connsiteX6" fmla="*/ 238227 w 299166"/>
                    <a:gd name="connsiteY6" fmla="*/ 96468 h 562380"/>
                    <a:gd name="connsiteX7" fmla="*/ 74258 w 299166"/>
                    <a:gd name="connsiteY7" fmla="*/ 83326 h 562380"/>
                    <a:gd name="connsiteX8" fmla="*/ 76303 w 299166"/>
                    <a:gd name="connsiteY8" fmla="*/ 517949 h 562380"/>
                    <a:gd name="connsiteX9" fmla="*/ 30660 w 299166"/>
                    <a:gd name="connsiteY9" fmla="*/ 516713 h 562380"/>
                    <a:gd name="connsiteX10" fmla="*/ 1306 w 299166"/>
                    <a:gd name="connsiteY10" fmla="*/ 88961 h 562380"/>
                    <a:gd name="connsiteX0" fmla="*/ 1306 w 299166"/>
                    <a:gd name="connsiteY0" fmla="*/ 88961 h 562380"/>
                    <a:gd name="connsiteX1" fmla="*/ 111623 w 299166"/>
                    <a:gd name="connsiteY1" fmla="*/ 74 h 562380"/>
                    <a:gd name="connsiteX2" fmla="*/ 240945 w 299166"/>
                    <a:gd name="connsiteY2" fmla="*/ 73 h 562380"/>
                    <a:gd name="connsiteX3" fmla="*/ 296496 w 299166"/>
                    <a:gd name="connsiteY3" fmla="*/ 98486 h 562380"/>
                    <a:gd name="connsiteX4" fmla="*/ 298878 w 299166"/>
                    <a:gd name="connsiteY4" fmla="*/ 515933 h 562380"/>
                    <a:gd name="connsiteX5" fmla="*/ 238228 w 299166"/>
                    <a:gd name="connsiteY5" fmla="*/ 510806 h 562380"/>
                    <a:gd name="connsiteX6" fmla="*/ 238227 w 299166"/>
                    <a:gd name="connsiteY6" fmla="*/ 96468 h 562380"/>
                    <a:gd name="connsiteX7" fmla="*/ 74258 w 299166"/>
                    <a:gd name="connsiteY7" fmla="*/ 83326 h 562380"/>
                    <a:gd name="connsiteX8" fmla="*/ 76303 w 299166"/>
                    <a:gd name="connsiteY8" fmla="*/ 517949 h 562380"/>
                    <a:gd name="connsiteX9" fmla="*/ 30660 w 299166"/>
                    <a:gd name="connsiteY9" fmla="*/ 516713 h 562380"/>
                    <a:gd name="connsiteX10" fmla="*/ 1306 w 299166"/>
                    <a:gd name="connsiteY10" fmla="*/ 88961 h 562380"/>
                    <a:gd name="connsiteX0" fmla="*/ 1306 w 299166"/>
                    <a:gd name="connsiteY0" fmla="*/ 88961 h 562380"/>
                    <a:gd name="connsiteX1" fmla="*/ 111623 w 299166"/>
                    <a:gd name="connsiteY1" fmla="*/ 74 h 562380"/>
                    <a:gd name="connsiteX2" fmla="*/ 240945 w 299166"/>
                    <a:gd name="connsiteY2" fmla="*/ 73 h 562380"/>
                    <a:gd name="connsiteX3" fmla="*/ 296496 w 299166"/>
                    <a:gd name="connsiteY3" fmla="*/ 98486 h 562380"/>
                    <a:gd name="connsiteX4" fmla="*/ 298878 w 299166"/>
                    <a:gd name="connsiteY4" fmla="*/ 515933 h 562380"/>
                    <a:gd name="connsiteX5" fmla="*/ 238228 w 299166"/>
                    <a:gd name="connsiteY5" fmla="*/ 510806 h 562380"/>
                    <a:gd name="connsiteX6" fmla="*/ 235845 w 299166"/>
                    <a:gd name="connsiteY6" fmla="*/ 98849 h 562380"/>
                    <a:gd name="connsiteX7" fmla="*/ 74258 w 299166"/>
                    <a:gd name="connsiteY7" fmla="*/ 83326 h 562380"/>
                    <a:gd name="connsiteX8" fmla="*/ 76303 w 299166"/>
                    <a:gd name="connsiteY8" fmla="*/ 517949 h 562380"/>
                    <a:gd name="connsiteX9" fmla="*/ 30660 w 299166"/>
                    <a:gd name="connsiteY9" fmla="*/ 516713 h 562380"/>
                    <a:gd name="connsiteX10" fmla="*/ 1306 w 299166"/>
                    <a:gd name="connsiteY10" fmla="*/ 88961 h 562380"/>
                    <a:gd name="connsiteX0" fmla="*/ 1306 w 299166"/>
                    <a:gd name="connsiteY0" fmla="*/ 88961 h 561214"/>
                    <a:gd name="connsiteX1" fmla="*/ 111623 w 299166"/>
                    <a:gd name="connsiteY1" fmla="*/ 74 h 561214"/>
                    <a:gd name="connsiteX2" fmla="*/ 240945 w 299166"/>
                    <a:gd name="connsiteY2" fmla="*/ 73 h 561214"/>
                    <a:gd name="connsiteX3" fmla="*/ 296496 w 299166"/>
                    <a:gd name="connsiteY3" fmla="*/ 98486 h 561214"/>
                    <a:gd name="connsiteX4" fmla="*/ 298878 w 299166"/>
                    <a:gd name="connsiteY4" fmla="*/ 515933 h 561214"/>
                    <a:gd name="connsiteX5" fmla="*/ 231084 w 299166"/>
                    <a:gd name="connsiteY5" fmla="*/ 508425 h 561214"/>
                    <a:gd name="connsiteX6" fmla="*/ 235845 w 299166"/>
                    <a:gd name="connsiteY6" fmla="*/ 98849 h 561214"/>
                    <a:gd name="connsiteX7" fmla="*/ 74258 w 299166"/>
                    <a:gd name="connsiteY7" fmla="*/ 83326 h 561214"/>
                    <a:gd name="connsiteX8" fmla="*/ 76303 w 299166"/>
                    <a:gd name="connsiteY8" fmla="*/ 517949 h 561214"/>
                    <a:gd name="connsiteX9" fmla="*/ 30660 w 299166"/>
                    <a:gd name="connsiteY9" fmla="*/ 516713 h 561214"/>
                    <a:gd name="connsiteX10" fmla="*/ 1306 w 299166"/>
                    <a:gd name="connsiteY10" fmla="*/ 88961 h 561214"/>
                    <a:gd name="connsiteX0" fmla="*/ 1306 w 299166"/>
                    <a:gd name="connsiteY0" fmla="*/ 88961 h 561214"/>
                    <a:gd name="connsiteX1" fmla="*/ 111623 w 299166"/>
                    <a:gd name="connsiteY1" fmla="*/ 74 h 561214"/>
                    <a:gd name="connsiteX2" fmla="*/ 240945 w 299166"/>
                    <a:gd name="connsiteY2" fmla="*/ 73 h 561214"/>
                    <a:gd name="connsiteX3" fmla="*/ 296496 w 299166"/>
                    <a:gd name="connsiteY3" fmla="*/ 98486 h 561214"/>
                    <a:gd name="connsiteX4" fmla="*/ 298878 w 299166"/>
                    <a:gd name="connsiteY4" fmla="*/ 515933 h 561214"/>
                    <a:gd name="connsiteX5" fmla="*/ 233466 w 299166"/>
                    <a:gd name="connsiteY5" fmla="*/ 508425 h 561214"/>
                    <a:gd name="connsiteX6" fmla="*/ 235845 w 299166"/>
                    <a:gd name="connsiteY6" fmla="*/ 98849 h 561214"/>
                    <a:gd name="connsiteX7" fmla="*/ 74258 w 299166"/>
                    <a:gd name="connsiteY7" fmla="*/ 83326 h 561214"/>
                    <a:gd name="connsiteX8" fmla="*/ 76303 w 299166"/>
                    <a:gd name="connsiteY8" fmla="*/ 517949 h 561214"/>
                    <a:gd name="connsiteX9" fmla="*/ 30660 w 299166"/>
                    <a:gd name="connsiteY9" fmla="*/ 516713 h 561214"/>
                    <a:gd name="connsiteX10" fmla="*/ 1306 w 299166"/>
                    <a:gd name="connsiteY10" fmla="*/ 88961 h 561214"/>
                    <a:gd name="connsiteX0" fmla="*/ 1306 w 299166"/>
                    <a:gd name="connsiteY0" fmla="*/ 88961 h 561214"/>
                    <a:gd name="connsiteX1" fmla="*/ 111623 w 299166"/>
                    <a:gd name="connsiteY1" fmla="*/ 74 h 561214"/>
                    <a:gd name="connsiteX2" fmla="*/ 240945 w 299166"/>
                    <a:gd name="connsiteY2" fmla="*/ 73 h 561214"/>
                    <a:gd name="connsiteX3" fmla="*/ 296496 w 299166"/>
                    <a:gd name="connsiteY3" fmla="*/ 98486 h 561214"/>
                    <a:gd name="connsiteX4" fmla="*/ 298878 w 299166"/>
                    <a:gd name="connsiteY4" fmla="*/ 515933 h 561214"/>
                    <a:gd name="connsiteX5" fmla="*/ 238228 w 299166"/>
                    <a:gd name="connsiteY5" fmla="*/ 508425 h 561214"/>
                    <a:gd name="connsiteX6" fmla="*/ 235845 w 299166"/>
                    <a:gd name="connsiteY6" fmla="*/ 98849 h 561214"/>
                    <a:gd name="connsiteX7" fmla="*/ 74258 w 299166"/>
                    <a:gd name="connsiteY7" fmla="*/ 83326 h 561214"/>
                    <a:gd name="connsiteX8" fmla="*/ 76303 w 299166"/>
                    <a:gd name="connsiteY8" fmla="*/ 517949 h 561214"/>
                    <a:gd name="connsiteX9" fmla="*/ 30660 w 299166"/>
                    <a:gd name="connsiteY9" fmla="*/ 516713 h 561214"/>
                    <a:gd name="connsiteX10" fmla="*/ 1306 w 299166"/>
                    <a:gd name="connsiteY10" fmla="*/ 88961 h 561214"/>
                    <a:gd name="connsiteX0" fmla="*/ 1306 w 299166"/>
                    <a:gd name="connsiteY0" fmla="*/ 88961 h 561214"/>
                    <a:gd name="connsiteX1" fmla="*/ 111623 w 299166"/>
                    <a:gd name="connsiteY1" fmla="*/ 74 h 561214"/>
                    <a:gd name="connsiteX2" fmla="*/ 240945 w 299166"/>
                    <a:gd name="connsiteY2" fmla="*/ 73 h 561214"/>
                    <a:gd name="connsiteX3" fmla="*/ 296496 w 299166"/>
                    <a:gd name="connsiteY3" fmla="*/ 98486 h 561214"/>
                    <a:gd name="connsiteX4" fmla="*/ 298878 w 299166"/>
                    <a:gd name="connsiteY4" fmla="*/ 515933 h 561214"/>
                    <a:gd name="connsiteX5" fmla="*/ 238228 w 299166"/>
                    <a:gd name="connsiteY5" fmla="*/ 508425 h 561214"/>
                    <a:gd name="connsiteX6" fmla="*/ 233464 w 299166"/>
                    <a:gd name="connsiteY6" fmla="*/ 98849 h 561214"/>
                    <a:gd name="connsiteX7" fmla="*/ 74258 w 299166"/>
                    <a:gd name="connsiteY7" fmla="*/ 83326 h 561214"/>
                    <a:gd name="connsiteX8" fmla="*/ 76303 w 299166"/>
                    <a:gd name="connsiteY8" fmla="*/ 517949 h 561214"/>
                    <a:gd name="connsiteX9" fmla="*/ 30660 w 299166"/>
                    <a:gd name="connsiteY9" fmla="*/ 516713 h 561214"/>
                    <a:gd name="connsiteX10" fmla="*/ 1306 w 299166"/>
                    <a:gd name="connsiteY10" fmla="*/ 88961 h 561214"/>
                    <a:gd name="connsiteX0" fmla="*/ 1306 w 299166"/>
                    <a:gd name="connsiteY0" fmla="*/ 88961 h 561214"/>
                    <a:gd name="connsiteX1" fmla="*/ 111623 w 299166"/>
                    <a:gd name="connsiteY1" fmla="*/ 74 h 561214"/>
                    <a:gd name="connsiteX2" fmla="*/ 240945 w 299166"/>
                    <a:gd name="connsiteY2" fmla="*/ 73 h 561214"/>
                    <a:gd name="connsiteX3" fmla="*/ 296496 w 299166"/>
                    <a:gd name="connsiteY3" fmla="*/ 98486 h 561214"/>
                    <a:gd name="connsiteX4" fmla="*/ 298878 w 299166"/>
                    <a:gd name="connsiteY4" fmla="*/ 515933 h 561214"/>
                    <a:gd name="connsiteX5" fmla="*/ 238228 w 299166"/>
                    <a:gd name="connsiteY5" fmla="*/ 508425 h 561214"/>
                    <a:gd name="connsiteX6" fmla="*/ 233464 w 299166"/>
                    <a:gd name="connsiteY6" fmla="*/ 98849 h 561214"/>
                    <a:gd name="connsiteX7" fmla="*/ 74258 w 299166"/>
                    <a:gd name="connsiteY7" fmla="*/ 83326 h 561214"/>
                    <a:gd name="connsiteX8" fmla="*/ 76303 w 299166"/>
                    <a:gd name="connsiteY8" fmla="*/ 517949 h 561214"/>
                    <a:gd name="connsiteX9" fmla="*/ 30660 w 299166"/>
                    <a:gd name="connsiteY9" fmla="*/ 516713 h 561214"/>
                    <a:gd name="connsiteX10" fmla="*/ 1306 w 299166"/>
                    <a:gd name="connsiteY10" fmla="*/ 88961 h 561214"/>
                    <a:gd name="connsiteX0" fmla="*/ 1306 w 299166"/>
                    <a:gd name="connsiteY0" fmla="*/ 88961 h 540378"/>
                    <a:gd name="connsiteX1" fmla="*/ 111623 w 299166"/>
                    <a:gd name="connsiteY1" fmla="*/ 74 h 540378"/>
                    <a:gd name="connsiteX2" fmla="*/ 240945 w 299166"/>
                    <a:gd name="connsiteY2" fmla="*/ 73 h 540378"/>
                    <a:gd name="connsiteX3" fmla="*/ 296496 w 299166"/>
                    <a:gd name="connsiteY3" fmla="*/ 98486 h 540378"/>
                    <a:gd name="connsiteX4" fmla="*/ 298878 w 299166"/>
                    <a:gd name="connsiteY4" fmla="*/ 515933 h 540378"/>
                    <a:gd name="connsiteX5" fmla="*/ 238228 w 299166"/>
                    <a:gd name="connsiteY5" fmla="*/ 508425 h 540378"/>
                    <a:gd name="connsiteX6" fmla="*/ 233464 w 299166"/>
                    <a:gd name="connsiteY6" fmla="*/ 98849 h 540378"/>
                    <a:gd name="connsiteX7" fmla="*/ 74258 w 299166"/>
                    <a:gd name="connsiteY7" fmla="*/ 83326 h 540378"/>
                    <a:gd name="connsiteX8" fmla="*/ 76303 w 299166"/>
                    <a:gd name="connsiteY8" fmla="*/ 517949 h 540378"/>
                    <a:gd name="connsiteX9" fmla="*/ 30660 w 299166"/>
                    <a:gd name="connsiteY9" fmla="*/ 516713 h 540378"/>
                    <a:gd name="connsiteX10" fmla="*/ 1306 w 299166"/>
                    <a:gd name="connsiteY10" fmla="*/ 88961 h 540378"/>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238228 w 299166"/>
                    <a:gd name="connsiteY5" fmla="*/ 508425 h 517949"/>
                    <a:gd name="connsiteX6" fmla="*/ 233464 w 299166"/>
                    <a:gd name="connsiteY6" fmla="*/ 98849 h 517949"/>
                    <a:gd name="connsiteX7" fmla="*/ 74258 w 299166"/>
                    <a:gd name="connsiteY7" fmla="*/ 83326 h 517949"/>
                    <a:gd name="connsiteX8" fmla="*/ 76303 w 299166"/>
                    <a:gd name="connsiteY8" fmla="*/ 517949 h 517949"/>
                    <a:gd name="connsiteX9" fmla="*/ 30660 w 299166"/>
                    <a:gd name="connsiteY9" fmla="*/ 516713 h 517949"/>
                    <a:gd name="connsiteX10" fmla="*/ 1306 w 299166"/>
                    <a:gd name="connsiteY10" fmla="*/ 88961 h 517949"/>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238228 w 299166"/>
                    <a:gd name="connsiteY5" fmla="*/ 508425 h 517949"/>
                    <a:gd name="connsiteX6" fmla="*/ 233464 w 299166"/>
                    <a:gd name="connsiteY6" fmla="*/ 98849 h 517949"/>
                    <a:gd name="connsiteX7" fmla="*/ 74258 w 299166"/>
                    <a:gd name="connsiteY7" fmla="*/ 83326 h 517949"/>
                    <a:gd name="connsiteX8" fmla="*/ 76303 w 299166"/>
                    <a:gd name="connsiteY8" fmla="*/ 517949 h 517949"/>
                    <a:gd name="connsiteX9" fmla="*/ 30660 w 299166"/>
                    <a:gd name="connsiteY9" fmla="*/ 516713 h 517949"/>
                    <a:gd name="connsiteX10" fmla="*/ 1306 w 299166"/>
                    <a:gd name="connsiteY10" fmla="*/ 88961 h 517949"/>
                    <a:gd name="connsiteX0" fmla="*/ 1306 w 299166"/>
                    <a:gd name="connsiteY0" fmla="*/ 88961 h 517949"/>
                    <a:gd name="connsiteX1" fmla="*/ 111623 w 299166"/>
                    <a:gd name="connsiteY1" fmla="*/ 74 h 517949"/>
                    <a:gd name="connsiteX2" fmla="*/ 240945 w 299166"/>
                    <a:gd name="connsiteY2" fmla="*/ 73 h 517949"/>
                    <a:gd name="connsiteX3" fmla="*/ 296496 w 299166"/>
                    <a:gd name="connsiteY3" fmla="*/ 98486 h 517949"/>
                    <a:gd name="connsiteX4" fmla="*/ 298878 w 299166"/>
                    <a:gd name="connsiteY4" fmla="*/ 515933 h 517949"/>
                    <a:gd name="connsiteX5" fmla="*/ 238228 w 299166"/>
                    <a:gd name="connsiteY5" fmla="*/ 508425 h 517949"/>
                    <a:gd name="connsiteX6" fmla="*/ 233464 w 299166"/>
                    <a:gd name="connsiteY6" fmla="*/ 98849 h 517949"/>
                    <a:gd name="connsiteX7" fmla="*/ 74258 w 299166"/>
                    <a:gd name="connsiteY7" fmla="*/ 83326 h 517949"/>
                    <a:gd name="connsiteX8" fmla="*/ 76303 w 299166"/>
                    <a:gd name="connsiteY8" fmla="*/ 517949 h 517949"/>
                    <a:gd name="connsiteX9" fmla="*/ 30660 w 299166"/>
                    <a:gd name="connsiteY9" fmla="*/ 516713 h 517949"/>
                    <a:gd name="connsiteX10" fmla="*/ 1306 w 299166"/>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4026 h 517949"/>
                    <a:gd name="connsiteX5" fmla="*/ 238228 w 296954"/>
                    <a:gd name="connsiteY5" fmla="*/ 508425 h 517949"/>
                    <a:gd name="connsiteX6" fmla="*/ 233464 w 296954"/>
                    <a:gd name="connsiteY6" fmla="*/ 98849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8228 w 296954"/>
                    <a:gd name="connsiteY5" fmla="*/ 508425 h 517949"/>
                    <a:gd name="connsiteX6" fmla="*/ 233464 w 296954"/>
                    <a:gd name="connsiteY6" fmla="*/ 98849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8228 w 296954"/>
                    <a:gd name="connsiteY5" fmla="*/ 508425 h 517949"/>
                    <a:gd name="connsiteX6" fmla="*/ 235845 w 296954"/>
                    <a:gd name="connsiteY6" fmla="*/ 98849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8228 w 296954"/>
                    <a:gd name="connsiteY5" fmla="*/ 508425 h 517949"/>
                    <a:gd name="connsiteX6" fmla="*/ 235845 w 296954"/>
                    <a:gd name="connsiteY6" fmla="*/ 98849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8228 w 296954"/>
                    <a:gd name="connsiteY5" fmla="*/ 508425 h 517949"/>
                    <a:gd name="connsiteX6" fmla="*/ 235845 w 296954"/>
                    <a:gd name="connsiteY6" fmla="*/ 98849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8228 w 296954"/>
                    <a:gd name="connsiteY5" fmla="*/ 508425 h 517949"/>
                    <a:gd name="connsiteX6" fmla="*/ 235845 w 296954"/>
                    <a:gd name="connsiteY6" fmla="*/ 98849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8228 w 296954"/>
                    <a:gd name="connsiteY5" fmla="*/ 508425 h 517949"/>
                    <a:gd name="connsiteX6" fmla="*/ 235845 w 296954"/>
                    <a:gd name="connsiteY6" fmla="*/ 98849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8228 w 296954"/>
                    <a:gd name="connsiteY5" fmla="*/ 508425 h 517949"/>
                    <a:gd name="connsiteX6" fmla="*/ 235845 w 296954"/>
                    <a:gd name="connsiteY6" fmla="*/ 98849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8228 w 296954"/>
                    <a:gd name="connsiteY5" fmla="*/ 508425 h 517949"/>
                    <a:gd name="connsiteX6" fmla="*/ 235845 w 296954"/>
                    <a:gd name="connsiteY6" fmla="*/ 98849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8228 w 296954"/>
                    <a:gd name="connsiteY5" fmla="*/ 508425 h 517949"/>
                    <a:gd name="connsiteX6" fmla="*/ 235845 w 296954"/>
                    <a:gd name="connsiteY6" fmla="*/ 98849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8228 w 296954"/>
                    <a:gd name="connsiteY5" fmla="*/ 508425 h 517949"/>
                    <a:gd name="connsiteX6" fmla="*/ 235845 w 296954"/>
                    <a:gd name="connsiteY6" fmla="*/ 98849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8228 w 296954"/>
                    <a:gd name="connsiteY5" fmla="*/ 508425 h 517949"/>
                    <a:gd name="connsiteX6" fmla="*/ 235845 w 296954"/>
                    <a:gd name="connsiteY6" fmla="*/ 98849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8228 w 296954"/>
                    <a:gd name="connsiteY5" fmla="*/ 508425 h 517949"/>
                    <a:gd name="connsiteX6" fmla="*/ 235845 w 296954"/>
                    <a:gd name="connsiteY6" fmla="*/ 98849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8228 w 296954"/>
                    <a:gd name="connsiteY5" fmla="*/ 508425 h 517949"/>
                    <a:gd name="connsiteX6" fmla="*/ 235845 w 296954"/>
                    <a:gd name="connsiteY6" fmla="*/ 103611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5845 w 296954"/>
                    <a:gd name="connsiteY6" fmla="*/ 103611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8226 w 296954"/>
                    <a:gd name="connsiteY6" fmla="*/ 108374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5845 w 296954"/>
                    <a:gd name="connsiteY6" fmla="*/ 108374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45370 w 296954"/>
                    <a:gd name="connsiteY6" fmla="*/ 108374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5845 w 296954"/>
                    <a:gd name="connsiteY6" fmla="*/ 113137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42989 w 296954"/>
                    <a:gd name="connsiteY6" fmla="*/ 113137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5845 w 296954"/>
                    <a:gd name="connsiteY6" fmla="*/ 113137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5845 w 296954"/>
                    <a:gd name="connsiteY6" fmla="*/ 115518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28701 w 296954"/>
                    <a:gd name="connsiteY6" fmla="*/ 96468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1082 w 296954"/>
                    <a:gd name="connsiteY6" fmla="*/ 94087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5844 w 296954"/>
                    <a:gd name="connsiteY6" fmla="*/ 94087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8226 w 296954"/>
                    <a:gd name="connsiteY6" fmla="*/ 94087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8226 w 296954"/>
                    <a:gd name="connsiteY6" fmla="*/ 94087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8226 w 296954"/>
                    <a:gd name="connsiteY6" fmla="*/ 91706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5845 w 296954"/>
                    <a:gd name="connsiteY6" fmla="*/ 94088 h 517949"/>
                    <a:gd name="connsiteX7" fmla="*/ 74258 w 296954"/>
                    <a:gd name="connsiteY7" fmla="*/ 83326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5845 w 296954"/>
                    <a:gd name="connsiteY6" fmla="*/ 94088 h 517949"/>
                    <a:gd name="connsiteX7" fmla="*/ 74258 w 296954"/>
                    <a:gd name="connsiteY7" fmla="*/ 99995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5845 w 296954"/>
                    <a:gd name="connsiteY6" fmla="*/ 94088 h 517949"/>
                    <a:gd name="connsiteX7" fmla="*/ 74258 w 296954"/>
                    <a:gd name="connsiteY7" fmla="*/ 99995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5845 w 296954"/>
                    <a:gd name="connsiteY6" fmla="*/ 94088 h 517949"/>
                    <a:gd name="connsiteX7" fmla="*/ 74258 w 296954"/>
                    <a:gd name="connsiteY7" fmla="*/ 99995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5845 w 296954"/>
                    <a:gd name="connsiteY6" fmla="*/ 94088 h 517949"/>
                    <a:gd name="connsiteX7" fmla="*/ 74258 w 296954"/>
                    <a:gd name="connsiteY7" fmla="*/ 99995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5845 w 296954"/>
                    <a:gd name="connsiteY6" fmla="*/ 94088 h 517949"/>
                    <a:gd name="connsiteX7" fmla="*/ 74258 w 296954"/>
                    <a:gd name="connsiteY7" fmla="*/ 99995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3464 w 296954"/>
                    <a:gd name="connsiteY6" fmla="*/ 91707 h 517949"/>
                    <a:gd name="connsiteX7" fmla="*/ 74258 w 296954"/>
                    <a:gd name="connsiteY7" fmla="*/ 99995 h 517949"/>
                    <a:gd name="connsiteX8" fmla="*/ 76303 w 296954"/>
                    <a:gd name="connsiteY8" fmla="*/ 517949 h 517949"/>
                    <a:gd name="connsiteX9" fmla="*/ 30660 w 296954"/>
                    <a:gd name="connsiteY9" fmla="*/ 516713 h 517949"/>
                    <a:gd name="connsiteX10" fmla="*/ 1306 w 296954"/>
                    <a:gd name="connsiteY10" fmla="*/ 88961 h 517949"/>
                    <a:gd name="connsiteX0" fmla="*/ 1306 w 296954"/>
                    <a:gd name="connsiteY0" fmla="*/ 88961 h 517949"/>
                    <a:gd name="connsiteX1" fmla="*/ 111623 w 296954"/>
                    <a:gd name="connsiteY1" fmla="*/ 74 h 517949"/>
                    <a:gd name="connsiteX2" fmla="*/ 240945 w 296954"/>
                    <a:gd name="connsiteY2" fmla="*/ 73 h 517949"/>
                    <a:gd name="connsiteX3" fmla="*/ 296496 w 296954"/>
                    <a:gd name="connsiteY3" fmla="*/ 98486 h 517949"/>
                    <a:gd name="connsiteX4" fmla="*/ 296496 w 296954"/>
                    <a:gd name="connsiteY4" fmla="*/ 506407 h 517949"/>
                    <a:gd name="connsiteX5" fmla="*/ 235847 w 296954"/>
                    <a:gd name="connsiteY5" fmla="*/ 508425 h 517949"/>
                    <a:gd name="connsiteX6" fmla="*/ 233464 w 296954"/>
                    <a:gd name="connsiteY6" fmla="*/ 91707 h 517949"/>
                    <a:gd name="connsiteX7" fmla="*/ 74258 w 296954"/>
                    <a:gd name="connsiteY7" fmla="*/ 99995 h 517949"/>
                    <a:gd name="connsiteX8" fmla="*/ 76303 w 296954"/>
                    <a:gd name="connsiteY8" fmla="*/ 517949 h 517949"/>
                    <a:gd name="connsiteX9" fmla="*/ 30660 w 296954"/>
                    <a:gd name="connsiteY9" fmla="*/ 516713 h 517949"/>
                    <a:gd name="connsiteX10" fmla="*/ 1306 w 296954"/>
                    <a:gd name="connsiteY10" fmla="*/ 88961 h 517949"/>
                    <a:gd name="connsiteX0" fmla="*/ 273 w 295921"/>
                    <a:gd name="connsiteY0" fmla="*/ 88961 h 517949"/>
                    <a:gd name="connsiteX1" fmla="*/ 110590 w 295921"/>
                    <a:gd name="connsiteY1" fmla="*/ 74 h 517949"/>
                    <a:gd name="connsiteX2" fmla="*/ 239912 w 295921"/>
                    <a:gd name="connsiteY2" fmla="*/ 73 h 517949"/>
                    <a:gd name="connsiteX3" fmla="*/ 295463 w 295921"/>
                    <a:gd name="connsiteY3" fmla="*/ 98486 h 517949"/>
                    <a:gd name="connsiteX4" fmla="*/ 295463 w 295921"/>
                    <a:gd name="connsiteY4" fmla="*/ 506407 h 517949"/>
                    <a:gd name="connsiteX5" fmla="*/ 234814 w 295921"/>
                    <a:gd name="connsiteY5" fmla="*/ 508425 h 517949"/>
                    <a:gd name="connsiteX6" fmla="*/ 232431 w 295921"/>
                    <a:gd name="connsiteY6" fmla="*/ 91707 h 517949"/>
                    <a:gd name="connsiteX7" fmla="*/ 73225 w 295921"/>
                    <a:gd name="connsiteY7" fmla="*/ 99995 h 517949"/>
                    <a:gd name="connsiteX8" fmla="*/ 75270 w 295921"/>
                    <a:gd name="connsiteY8" fmla="*/ 517949 h 517949"/>
                    <a:gd name="connsiteX9" fmla="*/ 29627 w 295921"/>
                    <a:gd name="connsiteY9" fmla="*/ 516713 h 517949"/>
                    <a:gd name="connsiteX10" fmla="*/ 273 w 295921"/>
                    <a:gd name="connsiteY10" fmla="*/ 88961 h 517949"/>
                    <a:gd name="connsiteX0" fmla="*/ 1304 w 296952"/>
                    <a:gd name="connsiteY0" fmla="*/ 88961 h 517949"/>
                    <a:gd name="connsiteX1" fmla="*/ 111621 w 296952"/>
                    <a:gd name="connsiteY1" fmla="*/ 74 h 517949"/>
                    <a:gd name="connsiteX2" fmla="*/ 240943 w 296952"/>
                    <a:gd name="connsiteY2" fmla="*/ 73 h 517949"/>
                    <a:gd name="connsiteX3" fmla="*/ 296494 w 296952"/>
                    <a:gd name="connsiteY3" fmla="*/ 98486 h 517949"/>
                    <a:gd name="connsiteX4" fmla="*/ 296494 w 296952"/>
                    <a:gd name="connsiteY4" fmla="*/ 506407 h 517949"/>
                    <a:gd name="connsiteX5" fmla="*/ 235845 w 296952"/>
                    <a:gd name="connsiteY5" fmla="*/ 508425 h 517949"/>
                    <a:gd name="connsiteX6" fmla="*/ 233462 w 296952"/>
                    <a:gd name="connsiteY6" fmla="*/ 91707 h 517949"/>
                    <a:gd name="connsiteX7" fmla="*/ 74256 w 296952"/>
                    <a:gd name="connsiteY7" fmla="*/ 99995 h 517949"/>
                    <a:gd name="connsiteX8" fmla="*/ 76301 w 296952"/>
                    <a:gd name="connsiteY8" fmla="*/ 517949 h 517949"/>
                    <a:gd name="connsiteX9" fmla="*/ 30658 w 296952"/>
                    <a:gd name="connsiteY9" fmla="*/ 516713 h 517949"/>
                    <a:gd name="connsiteX10" fmla="*/ 1304 w 296952"/>
                    <a:gd name="connsiteY10" fmla="*/ 88961 h 517949"/>
                    <a:gd name="connsiteX0" fmla="*/ 1304 w 296952"/>
                    <a:gd name="connsiteY0" fmla="*/ 88961 h 517949"/>
                    <a:gd name="connsiteX1" fmla="*/ 111621 w 296952"/>
                    <a:gd name="connsiteY1" fmla="*/ 74 h 517949"/>
                    <a:gd name="connsiteX2" fmla="*/ 240943 w 296952"/>
                    <a:gd name="connsiteY2" fmla="*/ 73 h 517949"/>
                    <a:gd name="connsiteX3" fmla="*/ 296494 w 296952"/>
                    <a:gd name="connsiteY3" fmla="*/ 98486 h 517949"/>
                    <a:gd name="connsiteX4" fmla="*/ 296494 w 296952"/>
                    <a:gd name="connsiteY4" fmla="*/ 506407 h 517949"/>
                    <a:gd name="connsiteX5" fmla="*/ 235845 w 296952"/>
                    <a:gd name="connsiteY5" fmla="*/ 508425 h 517949"/>
                    <a:gd name="connsiteX6" fmla="*/ 233462 w 296952"/>
                    <a:gd name="connsiteY6" fmla="*/ 91707 h 517949"/>
                    <a:gd name="connsiteX7" fmla="*/ 74256 w 296952"/>
                    <a:gd name="connsiteY7" fmla="*/ 99995 h 517949"/>
                    <a:gd name="connsiteX8" fmla="*/ 76301 w 296952"/>
                    <a:gd name="connsiteY8" fmla="*/ 517949 h 517949"/>
                    <a:gd name="connsiteX9" fmla="*/ 30658 w 296952"/>
                    <a:gd name="connsiteY9" fmla="*/ 516713 h 517949"/>
                    <a:gd name="connsiteX10" fmla="*/ 1304 w 296952"/>
                    <a:gd name="connsiteY10" fmla="*/ 88961 h 517949"/>
                    <a:gd name="connsiteX0" fmla="*/ 1304 w 296952"/>
                    <a:gd name="connsiteY0" fmla="*/ 88961 h 517949"/>
                    <a:gd name="connsiteX1" fmla="*/ 111621 w 296952"/>
                    <a:gd name="connsiteY1" fmla="*/ 74 h 517949"/>
                    <a:gd name="connsiteX2" fmla="*/ 240943 w 296952"/>
                    <a:gd name="connsiteY2" fmla="*/ 73 h 517949"/>
                    <a:gd name="connsiteX3" fmla="*/ 296494 w 296952"/>
                    <a:gd name="connsiteY3" fmla="*/ 98486 h 517949"/>
                    <a:gd name="connsiteX4" fmla="*/ 296494 w 296952"/>
                    <a:gd name="connsiteY4" fmla="*/ 506407 h 517949"/>
                    <a:gd name="connsiteX5" fmla="*/ 235845 w 296952"/>
                    <a:gd name="connsiteY5" fmla="*/ 508425 h 517949"/>
                    <a:gd name="connsiteX6" fmla="*/ 233462 w 296952"/>
                    <a:gd name="connsiteY6" fmla="*/ 91707 h 517949"/>
                    <a:gd name="connsiteX7" fmla="*/ 74256 w 296952"/>
                    <a:gd name="connsiteY7" fmla="*/ 99995 h 517949"/>
                    <a:gd name="connsiteX8" fmla="*/ 76301 w 296952"/>
                    <a:gd name="connsiteY8" fmla="*/ 517949 h 517949"/>
                    <a:gd name="connsiteX9" fmla="*/ 30658 w 296952"/>
                    <a:gd name="connsiteY9" fmla="*/ 516713 h 517949"/>
                    <a:gd name="connsiteX10" fmla="*/ 1304 w 296952"/>
                    <a:gd name="connsiteY10" fmla="*/ 88961 h 517949"/>
                    <a:gd name="connsiteX0" fmla="*/ 1304 w 298844"/>
                    <a:gd name="connsiteY0" fmla="*/ 88961 h 517949"/>
                    <a:gd name="connsiteX1" fmla="*/ 111621 w 298844"/>
                    <a:gd name="connsiteY1" fmla="*/ 74 h 517949"/>
                    <a:gd name="connsiteX2" fmla="*/ 240943 w 298844"/>
                    <a:gd name="connsiteY2" fmla="*/ 73 h 517949"/>
                    <a:gd name="connsiteX3" fmla="*/ 296494 w 298844"/>
                    <a:gd name="connsiteY3" fmla="*/ 98486 h 517949"/>
                    <a:gd name="connsiteX4" fmla="*/ 296494 w 298844"/>
                    <a:gd name="connsiteY4" fmla="*/ 506407 h 517949"/>
                    <a:gd name="connsiteX5" fmla="*/ 235845 w 298844"/>
                    <a:gd name="connsiteY5" fmla="*/ 508425 h 517949"/>
                    <a:gd name="connsiteX6" fmla="*/ 233462 w 298844"/>
                    <a:gd name="connsiteY6" fmla="*/ 91707 h 517949"/>
                    <a:gd name="connsiteX7" fmla="*/ 74256 w 298844"/>
                    <a:gd name="connsiteY7" fmla="*/ 99995 h 517949"/>
                    <a:gd name="connsiteX8" fmla="*/ 76301 w 298844"/>
                    <a:gd name="connsiteY8" fmla="*/ 517949 h 517949"/>
                    <a:gd name="connsiteX9" fmla="*/ 30658 w 298844"/>
                    <a:gd name="connsiteY9" fmla="*/ 516713 h 517949"/>
                    <a:gd name="connsiteX10" fmla="*/ 1304 w 298844"/>
                    <a:gd name="connsiteY10" fmla="*/ 88961 h 517949"/>
                    <a:gd name="connsiteX0" fmla="*/ 1304 w 297426"/>
                    <a:gd name="connsiteY0" fmla="*/ 88961 h 517949"/>
                    <a:gd name="connsiteX1" fmla="*/ 111621 w 297426"/>
                    <a:gd name="connsiteY1" fmla="*/ 74 h 517949"/>
                    <a:gd name="connsiteX2" fmla="*/ 240943 w 297426"/>
                    <a:gd name="connsiteY2" fmla="*/ 73 h 517949"/>
                    <a:gd name="connsiteX3" fmla="*/ 296494 w 297426"/>
                    <a:gd name="connsiteY3" fmla="*/ 98486 h 517949"/>
                    <a:gd name="connsiteX4" fmla="*/ 296494 w 297426"/>
                    <a:gd name="connsiteY4" fmla="*/ 506407 h 517949"/>
                    <a:gd name="connsiteX5" fmla="*/ 235845 w 297426"/>
                    <a:gd name="connsiteY5" fmla="*/ 508425 h 517949"/>
                    <a:gd name="connsiteX6" fmla="*/ 233462 w 297426"/>
                    <a:gd name="connsiteY6" fmla="*/ 91707 h 517949"/>
                    <a:gd name="connsiteX7" fmla="*/ 74256 w 297426"/>
                    <a:gd name="connsiteY7" fmla="*/ 99995 h 517949"/>
                    <a:gd name="connsiteX8" fmla="*/ 76301 w 297426"/>
                    <a:gd name="connsiteY8" fmla="*/ 517949 h 517949"/>
                    <a:gd name="connsiteX9" fmla="*/ 30658 w 297426"/>
                    <a:gd name="connsiteY9" fmla="*/ 516713 h 517949"/>
                    <a:gd name="connsiteX10" fmla="*/ 1304 w 297426"/>
                    <a:gd name="connsiteY10" fmla="*/ 88961 h 517949"/>
                    <a:gd name="connsiteX0" fmla="*/ 1304 w 296952"/>
                    <a:gd name="connsiteY0" fmla="*/ 88961 h 517949"/>
                    <a:gd name="connsiteX1" fmla="*/ 111621 w 296952"/>
                    <a:gd name="connsiteY1" fmla="*/ 74 h 517949"/>
                    <a:gd name="connsiteX2" fmla="*/ 240943 w 296952"/>
                    <a:gd name="connsiteY2" fmla="*/ 73 h 517949"/>
                    <a:gd name="connsiteX3" fmla="*/ 296494 w 296952"/>
                    <a:gd name="connsiteY3" fmla="*/ 98486 h 517949"/>
                    <a:gd name="connsiteX4" fmla="*/ 296494 w 296952"/>
                    <a:gd name="connsiteY4" fmla="*/ 506407 h 517949"/>
                    <a:gd name="connsiteX5" fmla="*/ 235845 w 296952"/>
                    <a:gd name="connsiteY5" fmla="*/ 508425 h 517949"/>
                    <a:gd name="connsiteX6" fmla="*/ 233462 w 296952"/>
                    <a:gd name="connsiteY6" fmla="*/ 91707 h 517949"/>
                    <a:gd name="connsiteX7" fmla="*/ 74256 w 296952"/>
                    <a:gd name="connsiteY7" fmla="*/ 99995 h 517949"/>
                    <a:gd name="connsiteX8" fmla="*/ 76301 w 296952"/>
                    <a:gd name="connsiteY8" fmla="*/ 517949 h 517949"/>
                    <a:gd name="connsiteX9" fmla="*/ 30658 w 296952"/>
                    <a:gd name="connsiteY9" fmla="*/ 516713 h 517949"/>
                    <a:gd name="connsiteX10" fmla="*/ 1304 w 296952"/>
                    <a:gd name="connsiteY10" fmla="*/ 88961 h 517949"/>
                    <a:gd name="connsiteX0" fmla="*/ 1304 w 300328"/>
                    <a:gd name="connsiteY0" fmla="*/ 88961 h 517949"/>
                    <a:gd name="connsiteX1" fmla="*/ 111621 w 300328"/>
                    <a:gd name="connsiteY1" fmla="*/ 74 h 517949"/>
                    <a:gd name="connsiteX2" fmla="*/ 240943 w 300328"/>
                    <a:gd name="connsiteY2" fmla="*/ 73 h 517949"/>
                    <a:gd name="connsiteX3" fmla="*/ 296494 w 300328"/>
                    <a:gd name="connsiteY3" fmla="*/ 98486 h 517949"/>
                    <a:gd name="connsiteX4" fmla="*/ 296494 w 300328"/>
                    <a:gd name="connsiteY4" fmla="*/ 506407 h 517949"/>
                    <a:gd name="connsiteX5" fmla="*/ 235845 w 300328"/>
                    <a:gd name="connsiteY5" fmla="*/ 508425 h 517949"/>
                    <a:gd name="connsiteX6" fmla="*/ 233462 w 300328"/>
                    <a:gd name="connsiteY6" fmla="*/ 91707 h 517949"/>
                    <a:gd name="connsiteX7" fmla="*/ 74256 w 300328"/>
                    <a:gd name="connsiteY7" fmla="*/ 99995 h 517949"/>
                    <a:gd name="connsiteX8" fmla="*/ 76301 w 300328"/>
                    <a:gd name="connsiteY8" fmla="*/ 517949 h 517949"/>
                    <a:gd name="connsiteX9" fmla="*/ 30658 w 300328"/>
                    <a:gd name="connsiteY9" fmla="*/ 516713 h 517949"/>
                    <a:gd name="connsiteX10" fmla="*/ 1304 w 300328"/>
                    <a:gd name="connsiteY10" fmla="*/ 88961 h 517949"/>
                    <a:gd name="connsiteX0" fmla="*/ 1304 w 296952"/>
                    <a:gd name="connsiteY0" fmla="*/ 88961 h 517949"/>
                    <a:gd name="connsiteX1" fmla="*/ 111621 w 296952"/>
                    <a:gd name="connsiteY1" fmla="*/ 74 h 517949"/>
                    <a:gd name="connsiteX2" fmla="*/ 240943 w 296952"/>
                    <a:gd name="connsiteY2" fmla="*/ 73 h 517949"/>
                    <a:gd name="connsiteX3" fmla="*/ 296494 w 296952"/>
                    <a:gd name="connsiteY3" fmla="*/ 98486 h 517949"/>
                    <a:gd name="connsiteX4" fmla="*/ 296494 w 296952"/>
                    <a:gd name="connsiteY4" fmla="*/ 506407 h 517949"/>
                    <a:gd name="connsiteX5" fmla="*/ 235845 w 296952"/>
                    <a:gd name="connsiteY5" fmla="*/ 508425 h 517949"/>
                    <a:gd name="connsiteX6" fmla="*/ 233462 w 296952"/>
                    <a:gd name="connsiteY6" fmla="*/ 91707 h 517949"/>
                    <a:gd name="connsiteX7" fmla="*/ 74256 w 296952"/>
                    <a:gd name="connsiteY7" fmla="*/ 99995 h 517949"/>
                    <a:gd name="connsiteX8" fmla="*/ 76301 w 296952"/>
                    <a:gd name="connsiteY8" fmla="*/ 517949 h 517949"/>
                    <a:gd name="connsiteX9" fmla="*/ 30658 w 296952"/>
                    <a:gd name="connsiteY9" fmla="*/ 516713 h 517949"/>
                    <a:gd name="connsiteX10" fmla="*/ 1304 w 296952"/>
                    <a:gd name="connsiteY10" fmla="*/ 88961 h 517949"/>
                    <a:gd name="connsiteX0" fmla="*/ 1304 w 296952"/>
                    <a:gd name="connsiteY0" fmla="*/ 88961 h 517949"/>
                    <a:gd name="connsiteX1" fmla="*/ 111621 w 296952"/>
                    <a:gd name="connsiteY1" fmla="*/ 74 h 517949"/>
                    <a:gd name="connsiteX2" fmla="*/ 240943 w 296952"/>
                    <a:gd name="connsiteY2" fmla="*/ 73 h 517949"/>
                    <a:gd name="connsiteX3" fmla="*/ 296494 w 296952"/>
                    <a:gd name="connsiteY3" fmla="*/ 98486 h 517949"/>
                    <a:gd name="connsiteX4" fmla="*/ 296494 w 296952"/>
                    <a:gd name="connsiteY4" fmla="*/ 506407 h 517949"/>
                    <a:gd name="connsiteX5" fmla="*/ 235845 w 296952"/>
                    <a:gd name="connsiteY5" fmla="*/ 508425 h 517949"/>
                    <a:gd name="connsiteX6" fmla="*/ 237048 w 296952"/>
                    <a:gd name="connsiteY6" fmla="*/ 109637 h 517949"/>
                    <a:gd name="connsiteX7" fmla="*/ 74256 w 296952"/>
                    <a:gd name="connsiteY7" fmla="*/ 99995 h 517949"/>
                    <a:gd name="connsiteX8" fmla="*/ 76301 w 296952"/>
                    <a:gd name="connsiteY8" fmla="*/ 517949 h 517949"/>
                    <a:gd name="connsiteX9" fmla="*/ 30658 w 296952"/>
                    <a:gd name="connsiteY9" fmla="*/ 516713 h 517949"/>
                    <a:gd name="connsiteX10" fmla="*/ 1304 w 296952"/>
                    <a:gd name="connsiteY10" fmla="*/ 88961 h 517949"/>
                    <a:gd name="connsiteX0" fmla="*/ 1304 w 296952"/>
                    <a:gd name="connsiteY0" fmla="*/ 88961 h 517949"/>
                    <a:gd name="connsiteX1" fmla="*/ 111621 w 296952"/>
                    <a:gd name="connsiteY1" fmla="*/ 74 h 517949"/>
                    <a:gd name="connsiteX2" fmla="*/ 240943 w 296952"/>
                    <a:gd name="connsiteY2" fmla="*/ 73 h 517949"/>
                    <a:gd name="connsiteX3" fmla="*/ 296494 w 296952"/>
                    <a:gd name="connsiteY3" fmla="*/ 98486 h 517949"/>
                    <a:gd name="connsiteX4" fmla="*/ 296494 w 296952"/>
                    <a:gd name="connsiteY4" fmla="*/ 506407 h 517949"/>
                    <a:gd name="connsiteX5" fmla="*/ 235845 w 296952"/>
                    <a:gd name="connsiteY5" fmla="*/ 508425 h 517949"/>
                    <a:gd name="connsiteX6" fmla="*/ 229876 w 296952"/>
                    <a:gd name="connsiteY6" fmla="*/ 109637 h 517949"/>
                    <a:gd name="connsiteX7" fmla="*/ 74256 w 296952"/>
                    <a:gd name="connsiteY7" fmla="*/ 99995 h 517949"/>
                    <a:gd name="connsiteX8" fmla="*/ 76301 w 296952"/>
                    <a:gd name="connsiteY8" fmla="*/ 517949 h 517949"/>
                    <a:gd name="connsiteX9" fmla="*/ 30658 w 296952"/>
                    <a:gd name="connsiteY9" fmla="*/ 516713 h 517949"/>
                    <a:gd name="connsiteX10" fmla="*/ 1304 w 296952"/>
                    <a:gd name="connsiteY10" fmla="*/ 88961 h 517949"/>
                    <a:gd name="connsiteX0" fmla="*/ 1304 w 296952"/>
                    <a:gd name="connsiteY0" fmla="*/ 88961 h 517949"/>
                    <a:gd name="connsiteX1" fmla="*/ 111621 w 296952"/>
                    <a:gd name="connsiteY1" fmla="*/ 74 h 517949"/>
                    <a:gd name="connsiteX2" fmla="*/ 240943 w 296952"/>
                    <a:gd name="connsiteY2" fmla="*/ 73 h 517949"/>
                    <a:gd name="connsiteX3" fmla="*/ 296494 w 296952"/>
                    <a:gd name="connsiteY3" fmla="*/ 98486 h 517949"/>
                    <a:gd name="connsiteX4" fmla="*/ 296494 w 296952"/>
                    <a:gd name="connsiteY4" fmla="*/ 506407 h 517949"/>
                    <a:gd name="connsiteX5" fmla="*/ 235845 w 296952"/>
                    <a:gd name="connsiteY5" fmla="*/ 508425 h 517949"/>
                    <a:gd name="connsiteX6" fmla="*/ 229876 w 296952"/>
                    <a:gd name="connsiteY6" fmla="*/ 109637 h 517949"/>
                    <a:gd name="connsiteX7" fmla="*/ 74256 w 296952"/>
                    <a:gd name="connsiteY7" fmla="*/ 99995 h 517949"/>
                    <a:gd name="connsiteX8" fmla="*/ 76301 w 296952"/>
                    <a:gd name="connsiteY8" fmla="*/ 517949 h 517949"/>
                    <a:gd name="connsiteX9" fmla="*/ 30658 w 296952"/>
                    <a:gd name="connsiteY9" fmla="*/ 516713 h 517949"/>
                    <a:gd name="connsiteX10" fmla="*/ 1304 w 296952"/>
                    <a:gd name="connsiteY10" fmla="*/ 88961 h 517949"/>
                    <a:gd name="connsiteX0" fmla="*/ 1304 w 303666"/>
                    <a:gd name="connsiteY0" fmla="*/ 88961 h 517949"/>
                    <a:gd name="connsiteX1" fmla="*/ 111621 w 303666"/>
                    <a:gd name="connsiteY1" fmla="*/ 74 h 517949"/>
                    <a:gd name="connsiteX2" fmla="*/ 240943 w 303666"/>
                    <a:gd name="connsiteY2" fmla="*/ 73 h 517949"/>
                    <a:gd name="connsiteX3" fmla="*/ 303666 w 303666"/>
                    <a:gd name="connsiteY3" fmla="*/ 98486 h 517949"/>
                    <a:gd name="connsiteX4" fmla="*/ 296494 w 303666"/>
                    <a:gd name="connsiteY4" fmla="*/ 506407 h 517949"/>
                    <a:gd name="connsiteX5" fmla="*/ 235845 w 303666"/>
                    <a:gd name="connsiteY5" fmla="*/ 508425 h 517949"/>
                    <a:gd name="connsiteX6" fmla="*/ 229876 w 303666"/>
                    <a:gd name="connsiteY6" fmla="*/ 109637 h 517949"/>
                    <a:gd name="connsiteX7" fmla="*/ 74256 w 303666"/>
                    <a:gd name="connsiteY7" fmla="*/ 99995 h 517949"/>
                    <a:gd name="connsiteX8" fmla="*/ 76301 w 303666"/>
                    <a:gd name="connsiteY8" fmla="*/ 517949 h 517949"/>
                    <a:gd name="connsiteX9" fmla="*/ 30658 w 303666"/>
                    <a:gd name="connsiteY9" fmla="*/ 516713 h 517949"/>
                    <a:gd name="connsiteX10" fmla="*/ 1304 w 303666"/>
                    <a:gd name="connsiteY10" fmla="*/ 88961 h 517949"/>
                    <a:gd name="connsiteX0" fmla="*/ 1304 w 296737"/>
                    <a:gd name="connsiteY0" fmla="*/ 88961 h 517949"/>
                    <a:gd name="connsiteX1" fmla="*/ 111621 w 296737"/>
                    <a:gd name="connsiteY1" fmla="*/ 74 h 517949"/>
                    <a:gd name="connsiteX2" fmla="*/ 240943 w 296737"/>
                    <a:gd name="connsiteY2" fmla="*/ 73 h 517949"/>
                    <a:gd name="connsiteX3" fmla="*/ 292908 w 296737"/>
                    <a:gd name="connsiteY3" fmla="*/ 94900 h 517949"/>
                    <a:gd name="connsiteX4" fmla="*/ 296494 w 296737"/>
                    <a:gd name="connsiteY4" fmla="*/ 506407 h 517949"/>
                    <a:gd name="connsiteX5" fmla="*/ 235845 w 296737"/>
                    <a:gd name="connsiteY5" fmla="*/ 508425 h 517949"/>
                    <a:gd name="connsiteX6" fmla="*/ 229876 w 296737"/>
                    <a:gd name="connsiteY6" fmla="*/ 109637 h 517949"/>
                    <a:gd name="connsiteX7" fmla="*/ 74256 w 296737"/>
                    <a:gd name="connsiteY7" fmla="*/ 99995 h 517949"/>
                    <a:gd name="connsiteX8" fmla="*/ 76301 w 296737"/>
                    <a:gd name="connsiteY8" fmla="*/ 517949 h 517949"/>
                    <a:gd name="connsiteX9" fmla="*/ 30658 w 296737"/>
                    <a:gd name="connsiteY9" fmla="*/ 516713 h 517949"/>
                    <a:gd name="connsiteX10" fmla="*/ 1304 w 296737"/>
                    <a:gd name="connsiteY10" fmla="*/ 88961 h 517949"/>
                    <a:gd name="connsiteX0" fmla="*/ 1304 w 307252"/>
                    <a:gd name="connsiteY0" fmla="*/ 88961 h 517949"/>
                    <a:gd name="connsiteX1" fmla="*/ 111621 w 307252"/>
                    <a:gd name="connsiteY1" fmla="*/ 74 h 517949"/>
                    <a:gd name="connsiteX2" fmla="*/ 240943 w 307252"/>
                    <a:gd name="connsiteY2" fmla="*/ 73 h 517949"/>
                    <a:gd name="connsiteX3" fmla="*/ 307252 w 307252"/>
                    <a:gd name="connsiteY3" fmla="*/ 102072 h 517949"/>
                    <a:gd name="connsiteX4" fmla="*/ 296494 w 307252"/>
                    <a:gd name="connsiteY4" fmla="*/ 506407 h 517949"/>
                    <a:gd name="connsiteX5" fmla="*/ 235845 w 307252"/>
                    <a:gd name="connsiteY5" fmla="*/ 508425 h 517949"/>
                    <a:gd name="connsiteX6" fmla="*/ 229876 w 307252"/>
                    <a:gd name="connsiteY6" fmla="*/ 109637 h 517949"/>
                    <a:gd name="connsiteX7" fmla="*/ 74256 w 307252"/>
                    <a:gd name="connsiteY7" fmla="*/ 99995 h 517949"/>
                    <a:gd name="connsiteX8" fmla="*/ 76301 w 307252"/>
                    <a:gd name="connsiteY8" fmla="*/ 517949 h 517949"/>
                    <a:gd name="connsiteX9" fmla="*/ 30658 w 307252"/>
                    <a:gd name="connsiteY9" fmla="*/ 516713 h 517949"/>
                    <a:gd name="connsiteX10" fmla="*/ 1304 w 307252"/>
                    <a:gd name="connsiteY10" fmla="*/ 88961 h 51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252" h="517949">
                      <a:moveTo>
                        <a:pt x="1304" y="88961"/>
                      </a:moveTo>
                      <a:cubicBezTo>
                        <a:pt x="-3458" y="53768"/>
                        <a:pt x="54997" y="-2307"/>
                        <a:pt x="111621" y="74"/>
                      </a:cubicBezTo>
                      <a:lnTo>
                        <a:pt x="240943" y="73"/>
                      </a:lnTo>
                      <a:cubicBezTo>
                        <a:pt x="301181" y="4862"/>
                        <a:pt x="302491" y="47773"/>
                        <a:pt x="307252" y="102072"/>
                      </a:cubicBezTo>
                      <a:cubicBezTo>
                        <a:pt x="305665" y="253127"/>
                        <a:pt x="298081" y="355352"/>
                        <a:pt x="296494" y="506407"/>
                      </a:cubicBezTo>
                      <a:cubicBezTo>
                        <a:pt x="273289" y="510040"/>
                        <a:pt x="265003" y="504517"/>
                        <a:pt x="235845" y="508425"/>
                      </a:cubicBezTo>
                      <a:cubicBezTo>
                        <a:pt x="225737" y="438514"/>
                        <a:pt x="231804" y="201521"/>
                        <a:pt x="229876" y="109637"/>
                      </a:cubicBezTo>
                      <a:cubicBezTo>
                        <a:pt x="223394" y="11343"/>
                        <a:pt x="71478" y="9111"/>
                        <a:pt x="74256" y="99995"/>
                      </a:cubicBezTo>
                      <a:cubicBezTo>
                        <a:pt x="75731" y="244869"/>
                        <a:pt x="74826" y="373075"/>
                        <a:pt x="76301" y="517949"/>
                      </a:cubicBezTo>
                      <a:lnTo>
                        <a:pt x="30658" y="516713"/>
                      </a:lnTo>
                      <a:cubicBezTo>
                        <a:pt x="-16425" y="369221"/>
                        <a:pt x="6067" y="180623"/>
                        <a:pt x="1304" y="88961"/>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sp>
              <p:nvSpPr>
                <p:cNvPr id="69" name="Rectangle 20"/>
                <p:cNvSpPr/>
                <p:nvPr/>
              </p:nvSpPr>
              <p:spPr>
                <a:xfrm>
                  <a:off x="2612674" y="5629223"/>
                  <a:ext cx="73166" cy="122463"/>
                </a:xfrm>
                <a:custGeom>
                  <a:avLst/>
                  <a:gdLst>
                    <a:gd name="connsiteX0" fmla="*/ 0 w 317626"/>
                    <a:gd name="connsiteY0" fmla="*/ 0 h 546150"/>
                    <a:gd name="connsiteX1" fmla="*/ 317626 w 317626"/>
                    <a:gd name="connsiteY1" fmla="*/ 0 h 546150"/>
                    <a:gd name="connsiteX2" fmla="*/ 317626 w 317626"/>
                    <a:gd name="connsiteY2" fmla="*/ 546150 h 546150"/>
                    <a:gd name="connsiteX3" fmla="*/ 0 w 317626"/>
                    <a:gd name="connsiteY3" fmla="*/ 546150 h 546150"/>
                    <a:gd name="connsiteX4" fmla="*/ 0 w 317626"/>
                    <a:gd name="connsiteY4" fmla="*/ 0 h 546150"/>
                    <a:gd name="connsiteX0" fmla="*/ 0 w 317626"/>
                    <a:gd name="connsiteY0" fmla="*/ 0 h 546150"/>
                    <a:gd name="connsiteX1" fmla="*/ 234137 w 317626"/>
                    <a:gd name="connsiteY1" fmla="*/ 31806 h 546150"/>
                    <a:gd name="connsiteX2" fmla="*/ 317626 w 317626"/>
                    <a:gd name="connsiteY2" fmla="*/ 546150 h 546150"/>
                    <a:gd name="connsiteX3" fmla="*/ 0 w 317626"/>
                    <a:gd name="connsiteY3" fmla="*/ 546150 h 546150"/>
                    <a:gd name="connsiteX4" fmla="*/ 0 w 317626"/>
                    <a:gd name="connsiteY4" fmla="*/ 0 h 546150"/>
                    <a:gd name="connsiteX0" fmla="*/ 87465 w 317626"/>
                    <a:gd name="connsiteY0" fmla="*/ 0 h 526272"/>
                    <a:gd name="connsiteX1" fmla="*/ 234137 w 317626"/>
                    <a:gd name="connsiteY1" fmla="*/ 11928 h 526272"/>
                    <a:gd name="connsiteX2" fmla="*/ 317626 w 317626"/>
                    <a:gd name="connsiteY2" fmla="*/ 526272 h 526272"/>
                    <a:gd name="connsiteX3" fmla="*/ 0 w 317626"/>
                    <a:gd name="connsiteY3" fmla="*/ 526272 h 526272"/>
                    <a:gd name="connsiteX4" fmla="*/ 87465 w 317626"/>
                    <a:gd name="connsiteY4" fmla="*/ 0 h 526272"/>
                    <a:gd name="connsiteX0" fmla="*/ 87465 w 317626"/>
                    <a:gd name="connsiteY0" fmla="*/ 0 h 526272"/>
                    <a:gd name="connsiteX1" fmla="*/ 234137 w 317626"/>
                    <a:gd name="connsiteY1" fmla="*/ 7952 h 526272"/>
                    <a:gd name="connsiteX2" fmla="*/ 317626 w 317626"/>
                    <a:gd name="connsiteY2" fmla="*/ 526272 h 526272"/>
                    <a:gd name="connsiteX3" fmla="*/ 0 w 317626"/>
                    <a:gd name="connsiteY3" fmla="*/ 526272 h 526272"/>
                    <a:gd name="connsiteX4" fmla="*/ 87465 w 317626"/>
                    <a:gd name="connsiteY4" fmla="*/ 0 h 526272"/>
                    <a:gd name="connsiteX0" fmla="*/ 87465 w 317626"/>
                    <a:gd name="connsiteY0" fmla="*/ 0 h 526272"/>
                    <a:gd name="connsiteX1" fmla="*/ 234137 w 317626"/>
                    <a:gd name="connsiteY1" fmla="*/ 7952 h 526272"/>
                    <a:gd name="connsiteX2" fmla="*/ 317626 w 317626"/>
                    <a:gd name="connsiteY2" fmla="*/ 526272 h 526272"/>
                    <a:gd name="connsiteX3" fmla="*/ 0 w 317626"/>
                    <a:gd name="connsiteY3" fmla="*/ 526272 h 526272"/>
                    <a:gd name="connsiteX4" fmla="*/ 87465 w 317626"/>
                    <a:gd name="connsiteY4" fmla="*/ 0 h 526272"/>
                    <a:gd name="connsiteX0" fmla="*/ 87465 w 317626"/>
                    <a:gd name="connsiteY0" fmla="*/ 0 h 526272"/>
                    <a:gd name="connsiteX1" fmla="*/ 238112 w 317626"/>
                    <a:gd name="connsiteY1" fmla="*/ 1 h 526272"/>
                    <a:gd name="connsiteX2" fmla="*/ 317626 w 317626"/>
                    <a:gd name="connsiteY2" fmla="*/ 526272 h 526272"/>
                    <a:gd name="connsiteX3" fmla="*/ 0 w 317626"/>
                    <a:gd name="connsiteY3" fmla="*/ 526272 h 526272"/>
                    <a:gd name="connsiteX4" fmla="*/ 87465 w 317626"/>
                    <a:gd name="connsiteY4" fmla="*/ 0 h 526272"/>
                    <a:gd name="connsiteX0" fmla="*/ 87465 w 317626"/>
                    <a:gd name="connsiteY0" fmla="*/ 0 h 526272"/>
                    <a:gd name="connsiteX1" fmla="*/ 238112 w 317626"/>
                    <a:gd name="connsiteY1" fmla="*/ 1 h 526272"/>
                    <a:gd name="connsiteX2" fmla="*/ 317626 w 317626"/>
                    <a:gd name="connsiteY2" fmla="*/ 526272 h 526272"/>
                    <a:gd name="connsiteX3" fmla="*/ 0 w 317626"/>
                    <a:gd name="connsiteY3" fmla="*/ 526272 h 526272"/>
                    <a:gd name="connsiteX4" fmla="*/ 45893 w 317626"/>
                    <a:gd name="connsiteY4" fmla="*/ 194774 h 526272"/>
                    <a:gd name="connsiteX5" fmla="*/ 87465 w 317626"/>
                    <a:gd name="connsiteY5" fmla="*/ 0 h 526272"/>
                    <a:gd name="connsiteX0" fmla="*/ 87465 w 317626"/>
                    <a:gd name="connsiteY0" fmla="*/ 0 h 526272"/>
                    <a:gd name="connsiteX1" fmla="*/ 238112 w 317626"/>
                    <a:gd name="connsiteY1" fmla="*/ 1 h 526272"/>
                    <a:gd name="connsiteX2" fmla="*/ 317626 w 317626"/>
                    <a:gd name="connsiteY2" fmla="*/ 526272 h 526272"/>
                    <a:gd name="connsiteX3" fmla="*/ 0 w 317626"/>
                    <a:gd name="connsiteY3" fmla="*/ 526272 h 526272"/>
                    <a:gd name="connsiteX4" fmla="*/ 14088 w 317626"/>
                    <a:gd name="connsiteY4" fmla="*/ 95383 h 526272"/>
                    <a:gd name="connsiteX5" fmla="*/ 87465 w 317626"/>
                    <a:gd name="connsiteY5" fmla="*/ 0 h 526272"/>
                    <a:gd name="connsiteX0" fmla="*/ 73377 w 303538"/>
                    <a:gd name="connsiteY0" fmla="*/ 0 h 526272"/>
                    <a:gd name="connsiteX1" fmla="*/ 224024 w 303538"/>
                    <a:gd name="connsiteY1" fmla="*/ 1 h 526272"/>
                    <a:gd name="connsiteX2" fmla="*/ 303538 w 303538"/>
                    <a:gd name="connsiteY2" fmla="*/ 526272 h 526272"/>
                    <a:gd name="connsiteX3" fmla="*/ 5791 w 303538"/>
                    <a:gd name="connsiteY3" fmla="*/ 518321 h 526272"/>
                    <a:gd name="connsiteX4" fmla="*/ 0 w 303538"/>
                    <a:gd name="connsiteY4" fmla="*/ 95383 h 526272"/>
                    <a:gd name="connsiteX5" fmla="*/ 73377 w 303538"/>
                    <a:gd name="connsiteY5" fmla="*/ 0 h 526272"/>
                    <a:gd name="connsiteX0" fmla="*/ 73377 w 303538"/>
                    <a:gd name="connsiteY0" fmla="*/ 0 h 526272"/>
                    <a:gd name="connsiteX1" fmla="*/ 224024 w 303538"/>
                    <a:gd name="connsiteY1" fmla="*/ 1 h 526272"/>
                    <a:gd name="connsiteX2" fmla="*/ 250466 w 303538"/>
                    <a:gd name="connsiteY2" fmla="*/ 170920 h 526272"/>
                    <a:gd name="connsiteX3" fmla="*/ 303538 w 303538"/>
                    <a:gd name="connsiteY3" fmla="*/ 526272 h 526272"/>
                    <a:gd name="connsiteX4" fmla="*/ 5791 w 303538"/>
                    <a:gd name="connsiteY4" fmla="*/ 518321 h 526272"/>
                    <a:gd name="connsiteX5" fmla="*/ 0 w 303538"/>
                    <a:gd name="connsiteY5" fmla="*/ 95383 h 526272"/>
                    <a:gd name="connsiteX6" fmla="*/ 73377 w 303538"/>
                    <a:gd name="connsiteY6" fmla="*/ 0 h 526272"/>
                    <a:gd name="connsiteX0" fmla="*/ 73377 w 314076"/>
                    <a:gd name="connsiteY0" fmla="*/ 0 h 526272"/>
                    <a:gd name="connsiteX1" fmla="*/ 224024 w 314076"/>
                    <a:gd name="connsiteY1" fmla="*/ 1 h 526272"/>
                    <a:gd name="connsiteX2" fmla="*/ 314076 w 314076"/>
                    <a:gd name="connsiteY2" fmla="*/ 143090 h 526272"/>
                    <a:gd name="connsiteX3" fmla="*/ 303538 w 314076"/>
                    <a:gd name="connsiteY3" fmla="*/ 526272 h 526272"/>
                    <a:gd name="connsiteX4" fmla="*/ 5791 w 314076"/>
                    <a:gd name="connsiteY4" fmla="*/ 518321 h 526272"/>
                    <a:gd name="connsiteX5" fmla="*/ 0 w 314076"/>
                    <a:gd name="connsiteY5" fmla="*/ 95383 h 526272"/>
                    <a:gd name="connsiteX6" fmla="*/ 73377 w 314076"/>
                    <a:gd name="connsiteY6" fmla="*/ 0 h 526272"/>
                    <a:gd name="connsiteX0" fmla="*/ 73377 w 303538"/>
                    <a:gd name="connsiteY0" fmla="*/ 0 h 526272"/>
                    <a:gd name="connsiteX1" fmla="*/ 224024 w 303538"/>
                    <a:gd name="connsiteY1" fmla="*/ 1 h 526272"/>
                    <a:gd name="connsiteX2" fmla="*/ 286247 w 303538"/>
                    <a:gd name="connsiteY2" fmla="*/ 151041 h 526272"/>
                    <a:gd name="connsiteX3" fmla="*/ 303538 w 303538"/>
                    <a:gd name="connsiteY3" fmla="*/ 526272 h 526272"/>
                    <a:gd name="connsiteX4" fmla="*/ 5791 w 303538"/>
                    <a:gd name="connsiteY4" fmla="*/ 518321 h 526272"/>
                    <a:gd name="connsiteX5" fmla="*/ 0 w 303538"/>
                    <a:gd name="connsiteY5" fmla="*/ 95383 h 526272"/>
                    <a:gd name="connsiteX6" fmla="*/ 73377 w 303538"/>
                    <a:gd name="connsiteY6" fmla="*/ 0 h 526272"/>
                    <a:gd name="connsiteX0" fmla="*/ 73377 w 303538"/>
                    <a:gd name="connsiteY0" fmla="*/ 0 h 526272"/>
                    <a:gd name="connsiteX1" fmla="*/ 224024 w 303538"/>
                    <a:gd name="connsiteY1" fmla="*/ 1 h 526272"/>
                    <a:gd name="connsiteX2" fmla="*/ 286247 w 303538"/>
                    <a:gd name="connsiteY2" fmla="*/ 151041 h 526272"/>
                    <a:gd name="connsiteX3" fmla="*/ 298174 w 303538"/>
                    <a:gd name="connsiteY3" fmla="*/ 381630 h 526272"/>
                    <a:gd name="connsiteX4" fmla="*/ 303538 w 303538"/>
                    <a:gd name="connsiteY4" fmla="*/ 526272 h 526272"/>
                    <a:gd name="connsiteX5" fmla="*/ 5791 w 303538"/>
                    <a:gd name="connsiteY5" fmla="*/ 518321 h 526272"/>
                    <a:gd name="connsiteX6" fmla="*/ 0 w 303538"/>
                    <a:gd name="connsiteY6" fmla="*/ 95383 h 526272"/>
                    <a:gd name="connsiteX7" fmla="*/ 73377 w 303538"/>
                    <a:gd name="connsiteY7" fmla="*/ 0 h 526272"/>
                    <a:gd name="connsiteX0" fmla="*/ 73377 w 303538"/>
                    <a:gd name="connsiteY0" fmla="*/ 0 h 526272"/>
                    <a:gd name="connsiteX1" fmla="*/ 224024 w 303538"/>
                    <a:gd name="connsiteY1" fmla="*/ 1 h 526272"/>
                    <a:gd name="connsiteX2" fmla="*/ 286247 w 303538"/>
                    <a:gd name="connsiteY2" fmla="*/ 151041 h 526272"/>
                    <a:gd name="connsiteX3" fmla="*/ 155051 w 303538"/>
                    <a:gd name="connsiteY3" fmla="*/ 55626 h 526272"/>
                    <a:gd name="connsiteX4" fmla="*/ 303538 w 303538"/>
                    <a:gd name="connsiteY4" fmla="*/ 526272 h 526272"/>
                    <a:gd name="connsiteX5" fmla="*/ 5791 w 303538"/>
                    <a:gd name="connsiteY5" fmla="*/ 518321 h 526272"/>
                    <a:gd name="connsiteX6" fmla="*/ 0 w 303538"/>
                    <a:gd name="connsiteY6" fmla="*/ 95383 h 526272"/>
                    <a:gd name="connsiteX7" fmla="*/ 73377 w 303538"/>
                    <a:gd name="connsiteY7" fmla="*/ 0 h 526272"/>
                    <a:gd name="connsiteX0" fmla="*/ 73377 w 303538"/>
                    <a:gd name="connsiteY0" fmla="*/ 0 h 526272"/>
                    <a:gd name="connsiteX1" fmla="*/ 224024 w 303538"/>
                    <a:gd name="connsiteY1" fmla="*/ 1 h 526272"/>
                    <a:gd name="connsiteX2" fmla="*/ 286247 w 303538"/>
                    <a:gd name="connsiteY2" fmla="*/ 151041 h 526272"/>
                    <a:gd name="connsiteX3" fmla="*/ 155051 w 303538"/>
                    <a:gd name="connsiteY3" fmla="*/ 55626 h 526272"/>
                    <a:gd name="connsiteX4" fmla="*/ 303538 w 303538"/>
                    <a:gd name="connsiteY4" fmla="*/ 526272 h 526272"/>
                    <a:gd name="connsiteX5" fmla="*/ 5791 w 303538"/>
                    <a:gd name="connsiteY5" fmla="*/ 518321 h 526272"/>
                    <a:gd name="connsiteX6" fmla="*/ 0 w 303538"/>
                    <a:gd name="connsiteY6" fmla="*/ 95383 h 526272"/>
                    <a:gd name="connsiteX7" fmla="*/ 73377 w 303538"/>
                    <a:gd name="connsiteY7" fmla="*/ 0 h 526272"/>
                    <a:gd name="connsiteX0" fmla="*/ 73377 w 303538"/>
                    <a:gd name="connsiteY0" fmla="*/ 0 h 526272"/>
                    <a:gd name="connsiteX1" fmla="*/ 224024 w 303538"/>
                    <a:gd name="connsiteY1" fmla="*/ 1 h 526272"/>
                    <a:gd name="connsiteX2" fmla="*/ 286247 w 303538"/>
                    <a:gd name="connsiteY2" fmla="*/ 151041 h 526272"/>
                    <a:gd name="connsiteX3" fmla="*/ 155051 w 303538"/>
                    <a:gd name="connsiteY3" fmla="*/ 55626 h 526272"/>
                    <a:gd name="connsiteX4" fmla="*/ 202759 w 303538"/>
                    <a:gd name="connsiteY4" fmla="*/ 202725 h 526272"/>
                    <a:gd name="connsiteX5" fmla="*/ 303538 w 303538"/>
                    <a:gd name="connsiteY5" fmla="*/ 526272 h 526272"/>
                    <a:gd name="connsiteX6" fmla="*/ 5791 w 303538"/>
                    <a:gd name="connsiteY6" fmla="*/ 518321 h 526272"/>
                    <a:gd name="connsiteX7" fmla="*/ 0 w 303538"/>
                    <a:gd name="connsiteY7" fmla="*/ 95383 h 526272"/>
                    <a:gd name="connsiteX8" fmla="*/ 73377 w 303538"/>
                    <a:gd name="connsiteY8" fmla="*/ 0 h 526272"/>
                    <a:gd name="connsiteX0" fmla="*/ 73377 w 303538"/>
                    <a:gd name="connsiteY0" fmla="*/ 0 h 526272"/>
                    <a:gd name="connsiteX1" fmla="*/ 224024 w 303538"/>
                    <a:gd name="connsiteY1" fmla="*/ 1 h 526272"/>
                    <a:gd name="connsiteX2" fmla="*/ 286247 w 303538"/>
                    <a:gd name="connsiteY2" fmla="*/ 151041 h 526272"/>
                    <a:gd name="connsiteX3" fmla="*/ 155051 w 303538"/>
                    <a:gd name="connsiteY3" fmla="*/ 55626 h 526272"/>
                    <a:gd name="connsiteX4" fmla="*/ 51684 w 303538"/>
                    <a:gd name="connsiteY4" fmla="*/ 158993 h 526272"/>
                    <a:gd name="connsiteX5" fmla="*/ 303538 w 303538"/>
                    <a:gd name="connsiteY5" fmla="*/ 526272 h 526272"/>
                    <a:gd name="connsiteX6" fmla="*/ 5791 w 303538"/>
                    <a:gd name="connsiteY6" fmla="*/ 518321 h 526272"/>
                    <a:gd name="connsiteX7" fmla="*/ 0 w 303538"/>
                    <a:gd name="connsiteY7" fmla="*/ 95383 h 526272"/>
                    <a:gd name="connsiteX8" fmla="*/ 73377 w 303538"/>
                    <a:gd name="connsiteY8" fmla="*/ 0 h 526272"/>
                    <a:gd name="connsiteX0" fmla="*/ 73377 w 303538"/>
                    <a:gd name="connsiteY0" fmla="*/ 0 h 526272"/>
                    <a:gd name="connsiteX1" fmla="*/ 224024 w 303538"/>
                    <a:gd name="connsiteY1" fmla="*/ 1 h 526272"/>
                    <a:gd name="connsiteX2" fmla="*/ 286247 w 303538"/>
                    <a:gd name="connsiteY2" fmla="*/ 151041 h 526272"/>
                    <a:gd name="connsiteX3" fmla="*/ 155051 w 303538"/>
                    <a:gd name="connsiteY3" fmla="*/ 55626 h 526272"/>
                    <a:gd name="connsiteX4" fmla="*/ 51684 w 303538"/>
                    <a:gd name="connsiteY4" fmla="*/ 158993 h 526272"/>
                    <a:gd name="connsiteX5" fmla="*/ 182880 w 303538"/>
                    <a:gd name="connsiteY5" fmla="*/ 353800 h 526272"/>
                    <a:gd name="connsiteX6" fmla="*/ 303538 w 303538"/>
                    <a:gd name="connsiteY6" fmla="*/ 526272 h 526272"/>
                    <a:gd name="connsiteX7" fmla="*/ 5791 w 303538"/>
                    <a:gd name="connsiteY7" fmla="*/ 518321 h 526272"/>
                    <a:gd name="connsiteX8" fmla="*/ 0 w 303538"/>
                    <a:gd name="connsiteY8" fmla="*/ 95383 h 526272"/>
                    <a:gd name="connsiteX9" fmla="*/ 73377 w 303538"/>
                    <a:gd name="connsiteY9" fmla="*/ 0 h 526272"/>
                    <a:gd name="connsiteX0" fmla="*/ 73377 w 303538"/>
                    <a:gd name="connsiteY0" fmla="*/ 0 h 526272"/>
                    <a:gd name="connsiteX1" fmla="*/ 224024 w 303538"/>
                    <a:gd name="connsiteY1" fmla="*/ 1 h 526272"/>
                    <a:gd name="connsiteX2" fmla="*/ 286247 w 303538"/>
                    <a:gd name="connsiteY2" fmla="*/ 151041 h 526272"/>
                    <a:gd name="connsiteX3" fmla="*/ 155051 w 303538"/>
                    <a:gd name="connsiteY3" fmla="*/ 55626 h 526272"/>
                    <a:gd name="connsiteX4" fmla="*/ 51684 w 303538"/>
                    <a:gd name="connsiteY4" fmla="*/ 158993 h 526272"/>
                    <a:gd name="connsiteX5" fmla="*/ 266369 w 303538"/>
                    <a:gd name="connsiteY5" fmla="*/ 337897 h 526272"/>
                    <a:gd name="connsiteX6" fmla="*/ 303538 w 303538"/>
                    <a:gd name="connsiteY6" fmla="*/ 526272 h 526272"/>
                    <a:gd name="connsiteX7" fmla="*/ 5791 w 303538"/>
                    <a:gd name="connsiteY7" fmla="*/ 518321 h 526272"/>
                    <a:gd name="connsiteX8" fmla="*/ 0 w 303538"/>
                    <a:gd name="connsiteY8" fmla="*/ 95383 h 526272"/>
                    <a:gd name="connsiteX9" fmla="*/ 73377 w 303538"/>
                    <a:gd name="connsiteY9" fmla="*/ 0 h 526272"/>
                    <a:gd name="connsiteX0" fmla="*/ 73377 w 286247"/>
                    <a:gd name="connsiteY0" fmla="*/ 0 h 518321"/>
                    <a:gd name="connsiteX1" fmla="*/ 224024 w 286247"/>
                    <a:gd name="connsiteY1" fmla="*/ 1 h 518321"/>
                    <a:gd name="connsiteX2" fmla="*/ 286247 w 286247"/>
                    <a:gd name="connsiteY2" fmla="*/ 151041 h 518321"/>
                    <a:gd name="connsiteX3" fmla="*/ 155051 w 286247"/>
                    <a:gd name="connsiteY3" fmla="*/ 55626 h 518321"/>
                    <a:gd name="connsiteX4" fmla="*/ 51684 w 286247"/>
                    <a:gd name="connsiteY4" fmla="*/ 158993 h 518321"/>
                    <a:gd name="connsiteX5" fmla="*/ 266369 w 286247"/>
                    <a:gd name="connsiteY5" fmla="*/ 337897 h 518321"/>
                    <a:gd name="connsiteX6" fmla="*/ 255830 w 286247"/>
                    <a:gd name="connsiteY6" fmla="*/ 514345 h 518321"/>
                    <a:gd name="connsiteX7" fmla="*/ 5791 w 286247"/>
                    <a:gd name="connsiteY7" fmla="*/ 518321 h 518321"/>
                    <a:gd name="connsiteX8" fmla="*/ 0 w 286247"/>
                    <a:gd name="connsiteY8" fmla="*/ 95383 h 518321"/>
                    <a:gd name="connsiteX9" fmla="*/ 73377 w 286247"/>
                    <a:gd name="connsiteY9" fmla="*/ 0 h 518321"/>
                    <a:gd name="connsiteX0" fmla="*/ 73377 w 298472"/>
                    <a:gd name="connsiteY0" fmla="*/ 0 h 518321"/>
                    <a:gd name="connsiteX1" fmla="*/ 224024 w 298472"/>
                    <a:gd name="connsiteY1" fmla="*/ 1 h 518321"/>
                    <a:gd name="connsiteX2" fmla="*/ 298472 w 298472"/>
                    <a:gd name="connsiteY2" fmla="*/ 165710 h 518321"/>
                    <a:gd name="connsiteX3" fmla="*/ 155051 w 298472"/>
                    <a:gd name="connsiteY3" fmla="*/ 55626 h 518321"/>
                    <a:gd name="connsiteX4" fmla="*/ 51684 w 298472"/>
                    <a:gd name="connsiteY4" fmla="*/ 158993 h 518321"/>
                    <a:gd name="connsiteX5" fmla="*/ 266369 w 298472"/>
                    <a:gd name="connsiteY5" fmla="*/ 337897 h 518321"/>
                    <a:gd name="connsiteX6" fmla="*/ 255830 w 298472"/>
                    <a:gd name="connsiteY6" fmla="*/ 514345 h 518321"/>
                    <a:gd name="connsiteX7" fmla="*/ 5791 w 298472"/>
                    <a:gd name="connsiteY7" fmla="*/ 518321 h 518321"/>
                    <a:gd name="connsiteX8" fmla="*/ 0 w 298472"/>
                    <a:gd name="connsiteY8" fmla="*/ 95383 h 518321"/>
                    <a:gd name="connsiteX9" fmla="*/ 73377 w 298472"/>
                    <a:gd name="connsiteY9" fmla="*/ 0 h 518321"/>
                    <a:gd name="connsiteX0" fmla="*/ 73377 w 296027"/>
                    <a:gd name="connsiteY0" fmla="*/ 0 h 518321"/>
                    <a:gd name="connsiteX1" fmla="*/ 224024 w 296027"/>
                    <a:gd name="connsiteY1" fmla="*/ 1 h 518321"/>
                    <a:gd name="connsiteX2" fmla="*/ 296027 w 296027"/>
                    <a:gd name="connsiteY2" fmla="*/ 173045 h 518321"/>
                    <a:gd name="connsiteX3" fmla="*/ 155051 w 296027"/>
                    <a:gd name="connsiteY3" fmla="*/ 55626 h 518321"/>
                    <a:gd name="connsiteX4" fmla="*/ 51684 w 296027"/>
                    <a:gd name="connsiteY4" fmla="*/ 158993 h 518321"/>
                    <a:gd name="connsiteX5" fmla="*/ 266369 w 296027"/>
                    <a:gd name="connsiteY5" fmla="*/ 337897 h 518321"/>
                    <a:gd name="connsiteX6" fmla="*/ 255830 w 296027"/>
                    <a:gd name="connsiteY6" fmla="*/ 514345 h 518321"/>
                    <a:gd name="connsiteX7" fmla="*/ 5791 w 296027"/>
                    <a:gd name="connsiteY7" fmla="*/ 518321 h 518321"/>
                    <a:gd name="connsiteX8" fmla="*/ 0 w 296027"/>
                    <a:gd name="connsiteY8" fmla="*/ 95383 h 518321"/>
                    <a:gd name="connsiteX9" fmla="*/ 73377 w 296027"/>
                    <a:gd name="connsiteY9" fmla="*/ 0 h 518321"/>
                    <a:gd name="connsiteX0" fmla="*/ 73377 w 296027"/>
                    <a:gd name="connsiteY0" fmla="*/ 0 h 518321"/>
                    <a:gd name="connsiteX1" fmla="*/ 238694 w 296027"/>
                    <a:gd name="connsiteY1" fmla="*/ 19560 h 518321"/>
                    <a:gd name="connsiteX2" fmla="*/ 296027 w 296027"/>
                    <a:gd name="connsiteY2" fmla="*/ 173045 h 518321"/>
                    <a:gd name="connsiteX3" fmla="*/ 155051 w 296027"/>
                    <a:gd name="connsiteY3" fmla="*/ 55626 h 518321"/>
                    <a:gd name="connsiteX4" fmla="*/ 51684 w 296027"/>
                    <a:gd name="connsiteY4" fmla="*/ 158993 h 518321"/>
                    <a:gd name="connsiteX5" fmla="*/ 266369 w 296027"/>
                    <a:gd name="connsiteY5" fmla="*/ 337897 h 518321"/>
                    <a:gd name="connsiteX6" fmla="*/ 255830 w 296027"/>
                    <a:gd name="connsiteY6" fmla="*/ 514345 h 518321"/>
                    <a:gd name="connsiteX7" fmla="*/ 5791 w 296027"/>
                    <a:gd name="connsiteY7" fmla="*/ 518321 h 518321"/>
                    <a:gd name="connsiteX8" fmla="*/ 0 w 296027"/>
                    <a:gd name="connsiteY8" fmla="*/ 95383 h 518321"/>
                    <a:gd name="connsiteX9" fmla="*/ 73377 w 296027"/>
                    <a:gd name="connsiteY9" fmla="*/ 0 h 518321"/>
                    <a:gd name="connsiteX0" fmla="*/ 58707 w 296027"/>
                    <a:gd name="connsiteY0" fmla="*/ 0 h 515877"/>
                    <a:gd name="connsiteX1" fmla="*/ 238694 w 296027"/>
                    <a:gd name="connsiteY1" fmla="*/ 17116 h 515877"/>
                    <a:gd name="connsiteX2" fmla="*/ 296027 w 296027"/>
                    <a:gd name="connsiteY2" fmla="*/ 170601 h 515877"/>
                    <a:gd name="connsiteX3" fmla="*/ 155051 w 296027"/>
                    <a:gd name="connsiteY3" fmla="*/ 53182 h 515877"/>
                    <a:gd name="connsiteX4" fmla="*/ 51684 w 296027"/>
                    <a:gd name="connsiteY4" fmla="*/ 156549 h 515877"/>
                    <a:gd name="connsiteX5" fmla="*/ 266369 w 296027"/>
                    <a:gd name="connsiteY5" fmla="*/ 335453 h 515877"/>
                    <a:gd name="connsiteX6" fmla="*/ 255830 w 296027"/>
                    <a:gd name="connsiteY6" fmla="*/ 511901 h 515877"/>
                    <a:gd name="connsiteX7" fmla="*/ 5791 w 296027"/>
                    <a:gd name="connsiteY7" fmla="*/ 515877 h 515877"/>
                    <a:gd name="connsiteX8" fmla="*/ 0 w 296027"/>
                    <a:gd name="connsiteY8" fmla="*/ 92939 h 515877"/>
                    <a:gd name="connsiteX9" fmla="*/ 58707 w 296027"/>
                    <a:gd name="connsiteY9" fmla="*/ 0 h 515877"/>
                    <a:gd name="connsiteX0" fmla="*/ 58707 w 296027"/>
                    <a:gd name="connsiteY0" fmla="*/ 0 h 515877"/>
                    <a:gd name="connsiteX1" fmla="*/ 206910 w 296027"/>
                    <a:gd name="connsiteY1" fmla="*/ 1 h 515877"/>
                    <a:gd name="connsiteX2" fmla="*/ 296027 w 296027"/>
                    <a:gd name="connsiteY2" fmla="*/ 170601 h 515877"/>
                    <a:gd name="connsiteX3" fmla="*/ 155051 w 296027"/>
                    <a:gd name="connsiteY3" fmla="*/ 53182 h 515877"/>
                    <a:gd name="connsiteX4" fmla="*/ 51684 w 296027"/>
                    <a:gd name="connsiteY4" fmla="*/ 156549 h 515877"/>
                    <a:gd name="connsiteX5" fmla="*/ 266369 w 296027"/>
                    <a:gd name="connsiteY5" fmla="*/ 335453 h 515877"/>
                    <a:gd name="connsiteX6" fmla="*/ 255830 w 296027"/>
                    <a:gd name="connsiteY6" fmla="*/ 511901 h 515877"/>
                    <a:gd name="connsiteX7" fmla="*/ 5791 w 296027"/>
                    <a:gd name="connsiteY7" fmla="*/ 515877 h 515877"/>
                    <a:gd name="connsiteX8" fmla="*/ 0 w 296027"/>
                    <a:gd name="connsiteY8" fmla="*/ 92939 h 515877"/>
                    <a:gd name="connsiteX9" fmla="*/ 58707 w 296027"/>
                    <a:gd name="connsiteY9" fmla="*/ 0 h 515877"/>
                    <a:gd name="connsiteX0" fmla="*/ 58707 w 296027"/>
                    <a:gd name="connsiteY0" fmla="*/ 0 h 515877"/>
                    <a:gd name="connsiteX1" fmla="*/ 206910 w 296027"/>
                    <a:gd name="connsiteY1" fmla="*/ 1 h 515877"/>
                    <a:gd name="connsiteX2" fmla="*/ 296027 w 296027"/>
                    <a:gd name="connsiteY2" fmla="*/ 170601 h 515877"/>
                    <a:gd name="connsiteX3" fmla="*/ 155051 w 296027"/>
                    <a:gd name="connsiteY3" fmla="*/ 53182 h 515877"/>
                    <a:gd name="connsiteX4" fmla="*/ 51684 w 296027"/>
                    <a:gd name="connsiteY4" fmla="*/ 156549 h 515877"/>
                    <a:gd name="connsiteX5" fmla="*/ 266369 w 296027"/>
                    <a:gd name="connsiteY5" fmla="*/ 335453 h 515877"/>
                    <a:gd name="connsiteX6" fmla="*/ 255830 w 296027"/>
                    <a:gd name="connsiteY6" fmla="*/ 511901 h 515877"/>
                    <a:gd name="connsiteX7" fmla="*/ 5791 w 296027"/>
                    <a:gd name="connsiteY7" fmla="*/ 515877 h 515877"/>
                    <a:gd name="connsiteX8" fmla="*/ 0 w 296027"/>
                    <a:gd name="connsiteY8" fmla="*/ 92939 h 515877"/>
                    <a:gd name="connsiteX9" fmla="*/ 58707 w 296027"/>
                    <a:gd name="connsiteY9" fmla="*/ 0 h 515877"/>
                    <a:gd name="connsiteX0" fmla="*/ 61152 w 296027"/>
                    <a:gd name="connsiteY0" fmla="*/ 0 h 515877"/>
                    <a:gd name="connsiteX1" fmla="*/ 206910 w 296027"/>
                    <a:gd name="connsiteY1" fmla="*/ 1 h 515877"/>
                    <a:gd name="connsiteX2" fmla="*/ 296027 w 296027"/>
                    <a:gd name="connsiteY2" fmla="*/ 170601 h 515877"/>
                    <a:gd name="connsiteX3" fmla="*/ 155051 w 296027"/>
                    <a:gd name="connsiteY3" fmla="*/ 53182 h 515877"/>
                    <a:gd name="connsiteX4" fmla="*/ 51684 w 296027"/>
                    <a:gd name="connsiteY4" fmla="*/ 156549 h 515877"/>
                    <a:gd name="connsiteX5" fmla="*/ 266369 w 296027"/>
                    <a:gd name="connsiteY5" fmla="*/ 335453 h 515877"/>
                    <a:gd name="connsiteX6" fmla="*/ 255830 w 296027"/>
                    <a:gd name="connsiteY6" fmla="*/ 511901 h 515877"/>
                    <a:gd name="connsiteX7" fmla="*/ 5791 w 296027"/>
                    <a:gd name="connsiteY7" fmla="*/ 515877 h 515877"/>
                    <a:gd name="connsiteX8" fmla="*/ 0 w 296027"/>
                    <a:gd name="connsiteY8" fmla="*/ 92939 h 515877"/>
                    <a:gd name="connsiteX9" fmla="*/ 61152 w 296027"/>
                    <a:gd name="connsiteY9" fmla="*/ 0 h 515877"/>
                    <a:gd name="connsiteX0" fmla="*/ 61152 w 296027"/>
                    <a:gd name="connsiteY0" fmla="*/ 0 h 515877"/>
                    <a:gd name="connsiteX1" fmla="*/ 206910 w 296027"/>
                    <a:gd name="connsiteY1" fmla="*/ 1 h 515877"/>
                    <a:gd name="connsiteX2" fmla="*/ 296027 w 296027"/>
                    <a:gd name="connsiteY2" fmla="*/ 170601 h 515877"/>
                    <a:gd name="connsiteX3" fmla="*/ 155051 w 296027"/>
                    <a:gd name="connsiteY3" fmla="*/ 53182 h 515877"/>
                    <a:gd name="connsiteX4" fmla="*/ 51684 w 296027"/>
                    <a:gd name="connsiteY4" fmla="*/ 156549 h 515877"/>
                    <a:gd name="connsiteX5" fmla="*/ 266369 w 296027"/>
                    <a:gd name="connsiteY5" fmla="*/ 335453 h 515877"/>
                    <a:gd name="connsiteX6" fmla="*/ 255830 w 296027"/>
                    <a:gd name="connsiteY6" fmla="*/ 511901 h 515877"/>
                    <a:gd name="connsiteX7" fmla="*/ 5791 w 296027"/>
                    <a:gd name="connsiteY7" fmla="*/ 515877 h 515877"/>
                    <a:gd name="connsiteX8" fmla="*/ 0 w 296027"/>
                    <a:gd name="connsiteY8" fmla="*/ 92939 h 515877"/>
                    <a:gd name="connsiteX9" fmla="*/ 61152 w 296027"/>
                    <a:gd name="connsiteY9" fmla="*/ 0 h 515877"/>
                    <a:gd name="connsiteX0" fmla="*/ 64850 w 299725"/>
                    <a:gd name="connsiteY0" fmla="*/ 0 h 515877"/>
                    <a:gd name="connsiteX1" fmla="*/ 210608 w 299725"/>
                    <a:gd name="connsiteY1" fmla="*/ 1 h 515877"/>
                    <a:gd name="connsiteX2" fmla="*/ 299725 w 299725"/>
                    <a:gd name="connsiteY2" fmla="*/ 170601 h 515877"/>
                    <a:gd name="connsiteX3" fmla="*/ 158749 w 299725"/>
                    <a:gd name="connsiteY3" fmla="*/ 53182 h 515877"/>
                    <a:gd name="connsiteX4" fmla="*/ 55382 w 299725"/>
                    <a:gd name="connsiteY4" fmla="*/ 156549 h 515877"/>
                    <a:gd name="connsiteX5" fmla="*/ 270067 w 299725"/>
                    <a:gd name="connsiteY5" fmla="*/ 335453 h 515877"/>
                    <a:gd name="connsiteX6" fmla="*/ 259528 w 299725"/>
                    <a:gd name="connsiteY6" fmla="*/ 511901 h 515877"/>
                    <a:gd name="connsiteX7" fmla="*/ 9489 w 299725"/>
                    <a:gd name="connsiteY7" fmla="*/ 515877 h 515877"/>
                    <a:gd name="connsiteX8" fmla="*/ 3698 w 299725"/>
                    <a:gd name="connsiteY8" fmla="*/ 92939 h 515877"/>
                    <a:gd name="connsiteX9" fmla="*/ 64850 w 299725"/>
                    <a:gd name="connsiteY9" fmla="*/ 0 h 515877"/>
                    <a:gd name="connsiteX0" fmla="*/ 64850 w 299725"/>
                    <a:gd name="connsiteY0" fmla="*/ 0 h 515877"/>
                    <a:gd name="connsiteX1" fmla="*/ 210608 w 299725"/>
                    <a:gd name="connsiteY1" fmla="*/ 1 h 515877"/>
                    <a:gd name="connsiteX2" fmla="*/ 299725 w 299725"/>
                    <a:gd name="connsiteY2" fmla="*/ 170601 h 515877"/>
                    <a:gd name="connsiteX3" fmla="*/ 158749 w 299725"/>
                    <a:gd name="connsiteY3" fmla="*/ 53182 h 515877"/>
                    <a:gd name="connsiteX4" fmla="*/ 55382 w 299725"/>
                    <a:gd name="connsiteY4" fmla="*/ 156549 h 515877"/>
                    <a:gd name="connsiteX5" fmla="*/ 270067 w 299725"/>
                    <a:gd name="connsiteY5" fmla="*/ 335453 h 515877"/>
                    <a:gd name="connsiteX6" fmla="*/ 259528 w 299725"/>
                    <a:gd name="connsiteY6" fmla="*/ 511901 h 515877"/>
                    <a:gd name="connsiteX7" fmla="*/ 9489 w 299725"/>
                    <a:gd name="connsiteY7" fmla="*/ 515877 h 515877"/>
                    <a:gd name="connsiteX8" fmla="*/ 3698 w 299725"/>
                    <a:gd name="connsiteY8" fmla="*/ 92939 h 515877"/>
                    <a:gd name="connsiteX9" fmla="*/ 64850 w 299725"/>
                    <a:gd name="connsiteY9" fmla="*/ 0 h 515877"/>
                    <a:gd name="connsiteX0" fmla="*/ 64850 w 299725"/>
                    <a:gd name="connsiteY0" fmla="*/ 0 h 515877"/>
                    <a:gd name="connsiteX1" fmla="*/ 210608 w 299725"/>
                    <a:gd name="connsiteY1" fmla="*/ 1 h 515877"/>
                    <a:gd name="connsiteX2" fmla="*/ 299725 w 299725"/>
                    <a:gd name="connsiteY2" fmla="*/ 170601 h 515877"/>
                    <a:gd name="connsiteX3" fmla="*/ 158749 w 299725"/>
                    <a:gd name="connsiteY3" fmla="*/ 53182 h 515877"/>
                    <a:gd name="connsiteX4" fmla="*/ 55382 w 299725"/>
                    <a:gd name="connsiteY4" fmla="*/ 156549 h 515877"/>
                    <a:gd name="connsiteX5" fmla="*/ 270067 w 299725"/>
                    <a:gd name="connsiteY5" fmla="*/ 335453 h 515877"/>
                    <a:gd name="connsiteX6" fmla="*/ 259528 w 299725"/>
                    <a:gd name="connsiteY6" fmla="*/ 511901 h 515877"/>
                    <a:gd name="connsiteX7" fmla="*/ 9489 w 299725"/>
                    <a:gd name="connsiteY7" fmla="*/ 515877 h 515877"/>
                    <a:gd name="connsiteX8" fmla="*/ 3698 w 299725"/>
                    <a:gd name="connsiteY8" fmla="*/ 92939 h 515877"/>
                    <a:gd name="connsiteX9" fmla="*/ 64850 w 299725"/>
                    <a:gd name="connsiteY9" fmla="*/ 0 h 515877"/>
                    <a:gd name="connsiteX0" fmla="*/ 64850 w 299725"/>
                    <a:gd name="connsiteY0" fmla="*/ 0 h 515877"/>
                    <a:gd name="connsiteX1" fmla="*/ 210608 w 299725"/>
                    <a:gd name="connsiteY1" fmla="*/ 1 h 515877"/>
                    <a:gd name="connsiteX2" fmla="*/ 299725 w 299725"/>
                    <a:gd name="connsiteY2" fmla="*/ 170601 h 515877"/>
                    <a:gd name="connsiteX3" fmla="*/ 158749 w 299725"/>
                    <a:gd name="connsiteY3" fmla="*/ 53182 h 515877"/>
                    <a:gd name="connsiteX4" fmla="*/ 55382 w 299725"/>
                    <a:gd name="connsiteY4" fmla="*/ 156549 h 515877"/>
                    <a:gd name="connsiteX5" fmla="*/ 270067 w 299725"/>
                    <a:gd name="connsiteY5" fmla="*/ 335453 h 515877"/>
                    <a:gd name="connsiteX6" fmla="*/ 259528 w 299725"/>
                    <a:gd name="connsiteY6" fmla="*/ 511901 h 515877"/>
                    <a:gd name="connsiteX7" fmla="*/ 9489 w 299725"/>
                    <a:gd name="connsiteY7" fmla="*/ 515877 h 515877"/>
                    <a:gd name="connsiteX8" fmla="*/ 3698 w 299725"/>
                    <a:gd name="connsiteY8" fmla="*/ 92939 h 515877"/>
                    <a:gd name="connsiteX9" fmla="*/ 64850 w 299725"/>
                    <a:gd name="connsiteY9" fmla="*/ 0 h 515877"/>
                    <a:gd name="connsiteX0" fmla="*/ 64850 w 299725"/>
                    <a:gd name="connsiteY0" fmla="*/ 0 h 515877"/>
                    <a:gd name="connsiteX1" fmla="*/ 210608 w 299725"/>
                    <a:gd name="connsiteY1" fmla="*/ 1 h 515877"/>
                    <a:gd name="connsiteX2" fmla="*/ 299725 w 299725"/>
                    <a:gd name="connsiteY2" fmla="*/ 170601 h 515877"/>
                    <a:gd name="connsiteX3" fmla="*/ 158749 w 299725"/>
                    <a:gd name="connsiteY3" fmla="*/ 53182 h 515877"/>
                    <a:gd name="connsiteX4" fmla="*/ 55382 w 299725"/>
                    <a:gd name="connsiteY4" fmla="*/ 156549 h 515877"/>
                    <a:gd name="connsiteX5" fmla="*/ 270067 w 299725"/>
                    <a:gd name="connsiteY5" fmla="*/ 335453 h 515877"/>
                    <a:gd name="connsiteX6" fmla="*/ 259528 w 299725"/>
                    <a:gd name="connsiteY6" fmla="*/ 511901 h 515877"/>
                    <a:gd name="connsiteX7" fmla="*/ 9489 w 299725"/>
                    <a:gd name="connsiteY7" fmla="*/ 515877 h 515877"/>
                    <a:gd name="connsiteX8" fmla="*/ 3698 w 299725"/>
                    <a:gd name="connsiteY8" fmla="*/ 92939 h 515877"/>
                    <a:gd name="connsiteX9" fmla="*/ 64850 w 299725"/>
                    <a:gd name="connsiteY9" fmla="*/ 0 h 515877"/>
                    <a:gd name="connsiteX0" fmla="*/ 64850 w 299725"/>
                    <a:gd name="connsiteY0" fmla="*/ 0 h 515877"/>
                    <a:gd name="connsiteX1" fmla="*/ 210608 w 299725"/>
                    <a:gd name="connsiteY1" fmla="*/ 1 h 515877"/>
                    <a:gd name="connsiteX2" fmla="*/ 299725 w 299725"/>
                    <a:gd name="connsiteY2" fmla="*/ 170601 h 515877"/>
                    <a:gd name="connsiteX3" fmla="*/ 158749 w 299725"/>
                    <a:gd name="connsiteY3" fmla="*/ 53182 h 515877"/>
                    <a:gd name="connsiteX4" fmla="*/ 55382 w 299725"/>
                    <a:gd name="connsiteY4" fmla="*/ 156549 h 515877"/>
                    <a:gd name="connsiteX5" fmla="*/ 270067 w 299725"/>
                    <a:gd name="connsiteY5" fmla="*/ 335453 h 515877"/>
                    <a:gd name="connsiteX6" fmla="*/ 259528 w 299725"/>
                    <a:gd name="connsiteY6" fmla="*/ 511901 h 515877"/>
                    <a:gd name="connsiteX7" fmla="*/ 9489 w 299725"/>
                    <a:gd name="connsiteY7" fmla="*/ 515877 h 515877"/>
                    <a:gd name="connsiteX8" fmla="*/ 3698 w 299725"/>
                    <a:gd name="connsiteY8" fmla="*/ 92939 h 515877"/>
                    <a:gd name="connsiteX9" fmla="*/ 64850 w 299725"/>
                    <a:gd name="connsiteY9" fmla="*/ 0 h 515877"/>
                    <a:gd name="connsiteX0" fmla="*/ 63028 w 297903"/>
                    <a:gd name="connsiteY0" fmla="*/ 0 h 515877"/>
                    <a:gd name="connsiteX1" fmla="*/ 208786 w 297903"/>
                    <a:gd name="connsiteY1" fmla="*/ 1 h 515877"/>
                    <a:gd name="connsiteX2" fmla="*/ 297903 w 297903"/>
                    <a:gd name="connsiteY2" fmla="*/ 170601 h 515877"/>
                    <a:gd name="connsiteX3" fmla="*/ 156927 w 297903"/>
                    <a:gd name="connsiteY3" fmla="*/ 53182 h 515877"/>
                    <a:gd name="connsiteX4" fmla="*/ 53560 w 297903"/>
                    <a:gd name="connsiteY4" fmla="*/ 156549 h 515877"/>
                    <a:gd name="connsiteX5" fmla="*/ 268245 w 297903"/>
                    <a:gd name="connsiteY5" fmla="*/ 335453 h 515877"/>
                    <a:gd name="connsiteX6" fmla="*/ 257706 w 297903"/>
                    <a:gd name="connsiteY6" fmla="*/ 511901 h 515877"/>
                    <a:gd name="connsiteX7" fmla="*/ 7667 w 297903"/>
                    <a:gd name="connsiteY7" fmla="*/ 515877 h 515877"/>
                    <a:gd name="connsiteX8" fmla="*/ 1876 w 297903"/>
                    <a:gd name="connsiteY8" fmla="*/ 92939 h 515877"/>
                    <a:gd name="connsiteX9" fmla="*/ 63028 w 297903"/>
                    <a:gd name="connsiteY9" fmla="*/ 0 h 515877"/>
                    <a:gd name="connsiteX0" fmla="*/ 61152 w 296027"/>
                    <a:gd name="connsiteY0" fmla="*/ 0 h 515877"/>
                    <a:gd name="connsiteX1" fmla="*/ 206910 w 296027"/>
                    <a:gd name="connsiteY1" fmla="*/ 1 h 515877"/>
                    <a:gd name="connsiteX2" fmla="*/ 296027 w 296027"/>
                    <a:gd name="connsiteY2" fmla="*/ 170601 h 515877"/>
                    <a:gd name="connsiteX3" fmla="*/ 155051 w 296027"/>
                    <a:gd name="connsiteY3" fmla="*/ 53182 h 515877"/>
                    <a:gd name="connsiteX4" fmla="*/ 51684 w 296027"/>
                    <a:gd name="connsiteY4" fmla="*/ 156549 h 515877"/>
                    <a:gd name="connsiteX5" fmla="*/ 266369 w 296027"/>
                    <a:gd name="connsiteY5" fmla="*/ 335453 h 515877"/>
                    <a:gd name="connsiteX6" fmla="*/ 255830 w 296027"/>
                    <a:gd name="connsiteY6" fmla="*/ 511901 h 515877"/>
                    <a:gd name="connsiteX7" fmla="*/ 5791 w 296027"/>
                    <a:gd name="connsiteY7" fmla="*/ 515877 h 515877"/>
                    <a:gd name="connsiteX8" fmla="*/ 0 w 296027"/>
                    <a:gd name="connsiteY8" fmla="*/ 92939 h 515877"/>
                    <a:gd name="connsiteX9" fmla="*/ 61152 w 296027"/>
                    <a:gd name="connsiteY9" fmla="*/ 0 h 515877"/>
                    <a:gd name="connsiteX0" fmla="*/ 61152 w 296027"/>
                    <a:gd name="connsiteY0" fmla="*/ 0 h 515877"/>
                    <a:gd name="connsiteX1" fmla="*/ 206910 w 296027"/>
                    <a:gd name="connsiteY1" fmla="*/ 1 h 515877"/>
                    <a:gd name="connsiteX2" fmla="*/ 296027 w 296027"/>
                    <a:gd name="connsiteY2" fmla="*/ 170601 h 515877"/>
                    <a:gd name="connsiteX3" fmla="*/ 155051 w 296027"/>
                    <a:gd name="connsiteY3" fmla="*/ 53182 h 515877"/>
                    <a:gd name="connsiteX4" fmla="*/ 51684 w 296027"/>
                    <a:gd name="connsiteY4" fmla="*/ 156549 h 515877"/>
                    <a:gd name="connsiteX5" fmla="*/ 266369 w 296027"/>
                    <a:gd name="connsiteY5" fmla="*/ 335453 h 515877"/>
                    <a:gd name="connsiteX6" fmla="*/ 255830 w 296027"/>
                    <a:gd name="connsiteY6" fmla="*/ 511901 h 515877"/>
                    <a:gd name="connsiteX7" fmla="*/ 5791 w 296027"/>
                    <a:gd name="connsiteY7" fmla="*/ 515877 h 515877"/>
                    <a:gd name="connsiteX8" fmla="*/ 0 w 296027"/>
                    <a:gd name="connsiteY8" fmla="*/ 92939 h 515877"/>
                    <a:gd name="connsiteX9" fmla="*/ 61152 w 296027"/>
                    <a:gd name="connsiteY9" fmla="*/ 0 h 515877"/>
                    <a:gd name="connsiteX0" fmla="*/ 61152 w 298851"/>
                    <a:gd name="connsiteY0" fmla="*/ 0 h 515877"/>
                    <a:gd name="connsiteX1" fmla="*/ 206910 w 298851"/>
                    <a:gd name="connsiteY1" fmla="*/ 1 h 515877"/>
                    <a:gd name="connsiteX2" fmla="*/ 296027 w 298851"/>
                    <a:gd name="connsiteY2" fmla="*/ 170601 h 515877"/>
                    <a:gd name="connsiteX3" fmla="*/ 155051 w 298851"/>
                    <a:gd name="connsiteY3" fmla="*/ 53182 h 515877"/>
                    <a:gd name="connsiteX4" fmla="*/ 51684 w 298851"/>
                    <a:gd name="connsiteY4" fmla="*/ 156549 h 515877"/>
                    <a:gd name="connsiteX5" fmla="*/ 266369 w 298851"/>
                    <a:gd name="connsiteY5" fmla="*/ 335453 h 515877"/>
                    <a:gd name="connsiteX6" fmla="*/ 255830 w 298851"/>
                    <a:gd name="connsiteY6" fmla="*/ 511901 h 515877"/>
                    <a:gd name="connsiteX7" fmla="*/ 5791 w 298851"/>
                    <a:gd name="connsiteY7" fmla="*/ 515877 h 515877"/>
                    <a:gd name="connsiteX8" fmla="*/ 0 w 298851"/>
                    <a:gd name="connsiteY8" fmla="*/ 92939 h 515877"/>
                    <a:gd name="connsiteX9" fmla="*/ 61152 w 298851"/>
                    <a:gd name="connsiteY9" fmla="*/ 0 h 515877"/>
                    <a:gd name="connsiteX0" fmla="*/ 61152 w 296528"/>
                    <a:gd name="connsiteY0" fmla="*/ 0 h 515877"/>
                    <a:gd name="connsiteX1" fmla="*/ 170237 w 296528"/>
                    <a:gd name="connsiteY1" fmla="*/ 1 h 515877"/>
                    <a:gd name="connsiteX2" fmla="*/ 296027 w 296528"/>
                    <a:gd name="connsiteY2" fmla="*/ 170601 h 515877"/>
                    <a:gd name="connsiteX3" fmla="*/ 155051 w 296528"/>
                    <a:gd name="connsiteY3" fmla="*/ 53182 h 515877"/>
                    <a:gd name="connsiteX4" fmla="*/ 51684 w 296528"/>
                    <a:gd name="connsiteY4" fmla="*/ 156549 h 515877"/>
                    <a:gd name="connsiteX5" fmla="*/ 266369 w 296528"/>
                    <a:gd name="connsiteY5" fmla="*/ 335453 h 515877"/>
                    <a:gd name="connsiteX6" fmla="*/ 255830 w 296528"/>
                    <a:gd name="connsiteY6" fmla="*/ 511901 h 515877"/>
                    <a:gd name="connsiteX7" fmla="*/ 5791 w 296528"/>
                    <a:gd name="connsiteY7" fmla="*/ 515877 h 515877"/>
                    <a:gd name="connsiteX8" fmla="*/ 0 w 296528"/>
                    <a:gd name="connsiteY8" fmla="*/ 92939 h 515877"/>
                    <a:gd name="connsiteX9" fmla="*/ 61152 w 296528"/>
                    <a:gd name="connsiteY9" fmla="*/ 0 h 515877"/>
                    <a:gd name="connsiteX0" fmla="*/ 61152 w 297864"/>
                    <a:gd name="connsiteY0" fmla="*/ 0 h 515877"/>
                    <a:gd name="connsiteX1" fmla="*/ 170237 w 297864"/>
                    <a:gd name="connsiteY1" fmla="*/ 1 h 515877"/>
                    <a:gd name="connsiteX2" fmla="*/ 296027 w 297864"/>
                    <a:gd name="connsiteY2" fmla="*/ 170601 h 515877"/>
                    <a:gd name="connsiteX3" fmla="*/ 155051 w 297864"/>
                    <a:gd name="connsiteY3" fmla="*/ 53182 h 515877"/>
                    <a:gd name="connsiteX4" fmla="*/ 51684 w 297864"/>
                    <a:gd name="connsiteY4" fmla="*/ 156549 h 515877"/>
                    <a:gd name="connsiteX5" fmla="*/ 266369 w 297864"/>
                    <a:gd name="connsiteY5" fmla="*/ 335453 h 515877"/>
                    <a:gd name="connsiteX6" fmla="*/ 255830 w 297864"/>
                    <a:gd name="connsiteY6" fmla="*/ 511901 h 515877"/>
                    <a:gd name="connsiteX7" fmla="*/ 5791 w 297864"/>
                    <a:gd name="connsiteY7" fmla="*/ 515877 h 515877"/>
                    <a:gd name="connsiteX8" fmla="*/ 0 w 297864"/>
                    <a:gd name="connsiteY8" fmla="*/ 92939 h 515877"/>
                    <a:gd name="connsiteX9" fmla="*/ 61152 w 297864"/>
                    <a:gd name="connsiteY9" fmla="*/ 0 h 515877"/>
                    <a:gd name="connsiteX0" fmla="*/ 61152 w 297864"/>
                    <a:gd name="connsiteY0" fmla="*/ 0 h 515877"/>
                    <a:gd name="connsiteX1" fmla="*/ 170237 w 297864"/>
                    <a:gd name="connsiteY1" fmla="*/ 1 h 515877"/>
                    <a:gd name="connsiteX2" fmla="*/ 296027 w 297864"/>
                    <a:gd name="connsiteY2" fmla="*/ 170601 h 515877"/>
                    <a:gd name="connsiteX3" fmla="*/ 155051 w 297864"/>
                    <a:gd name="connsiteY3" fmla="*/ 53182 h 515877"/>
                    <a:gd name="connsiteX4" fmla="*/ 51684 w 297864"/>
                    <a:gd name="connsiteY4" fmla="*/ 156549 h 515877"/>
                    <a:gd name="connsiteX5" fmla="*/ 266369 w 297864"/>
                    <a:gd name="connsiteY5" fmla="*/ 335453 h 515877"/>
                    <a:gd name="connsiteX6" fmla="*/ 255830 w 297864"/>
                    <a:gd name="connsiteY6" fmla="*/ 511901 h 515877"/>
                    <a:gd name="connsiteX7" fmla="*/ 5791 w 297864"/>
                    <a:gd name="connsiteY7" fmla="*/ 515877 h 515877"/>
                    <a:gd name="connsiteX8" fmla="*/ 0 w 297864"/>
                    <a:gd name="connsiteY8" fmla="*/ 92939 h 515877"/>
                    <a:gd name="connsiteX9" fmla="*/ 61152 w 297864"/>
                    <a:gd name="connsiteY9" fmla="*/ 0 h 515877"/>
                    <a:gd name="connsiteX0" fmla="*/ 61152 w 296027"/>
                    <a:gd name="connsiteY0" fmla="*/ 0 h 515877"/>
                    <a:gd name="connsiteX1" fmla="*/ 170237 w 296027"/>
                    <a:gd name="connsiteY1" fmla="*/ 1 h 515877"/>
                    <a:gd name="connsiteX2" fmla="*/ 296027 w 296027"/>
                    <a:gd name="connsiteY2" fmla="*/ 170601 h 515877"/>
                    <a:gd name="connsiteX3" fmla="*/ 155051 w 296027"/>
                    <a:gd name="connsiteY3" fmla="*/ 53182 h 515877"/>
                    <a:gd name="connsiteX4" fmla="*/ 51684 w 296027"/>
                    <a:gd name="connsiteY4" fmla="*/ 156549 h 515877"/>
                    <a:gd name="connsiteX5" fmla="*/ 266369 w 296027"/>
                    <a:gd name="connsiteY5" fmla="*/ 335453 h 515877"/>
                    <a:gd name="connsiteX6" fmla="*/ 255830 w 296027"/>
                    <a:gd name="connsiteY6" fmla="*/ 511901 h 515877"/>
                    <a:gd name="connsiteX7" fmla="*/ 5791 w 296027"/>
                    <a:gd name="connsiteY7" fmla="*/ 515877 h 515877"/>
                    <a:gd name="connsiteX8" fmla="*/ 0 w 296027"/>
                    <a:gd name="connsiteY8" fmla="*/ 92939 h 515877"/>
                    <a:gd name="connsiteX9" fmla="*/ 61152 w 296027"/>
                    <a:gd name="connsiteY9" fmla="*/ 0 h 515877"/>
                    <a:gd name="connsiteX0" fmla="*/ 61152 w 296027"/>
                    <a:gd name="connsiteY0" fmla="*/ 0 h 515877"/>
                    <a:gd name="connsiteX1" fmla="*/ 170237 w 296027"/>
                    <a:gd name="connsiteY1" fmla="*/ 1 h 515877"/>
                    <a:gd name="connsiteX2" fmla="*/ 296027 w 296027"/>
                    <a:gd name="connsiteY2" fmla="*/ 170601 h 515877"/>
                    <a:gd name="connsiteX3" fmla="*/ 155051 w 296027"/>
                    <a:gd name="connsiteY3" fmla="*/ 53182 h 515877"/>
                    <a:gd name="connsiteX4" fmla="*/ 51684 w 296027"/>
                    <a:gd name="connsiteY4" fmla="*/ 156549 h 515877"/>
                    <a:gd name="connsiteX5" fmla="*/ 266369 w 296027"/>
                    <a:gd name="connsiteY5" fmla="*/ 335453 h 515877"/>
                    <a:gd name="connsiteX6" fmla="*/ 255830 w 296027"/>
                    <a:gd name="connsiteY6" fmla="*/ 511901 h 515877"/>
                    <a:gd name="connsiteX7" fmla="*/ 5791 w 296027"/>
                    <a:gd name="connsiteY7" fmla="*/ 515877 h 515877"/>
                    <a:gd name="connsiteX8" fmla="*/ 0 w 296027"/>
                    <a:gd name="connsiteY8" fmla="*/ 92939 h 515877"/>
                    <a:gd name="connsiteX9" fmla="*/ 61152 w 296027"/>
                    <a:gd name="connsiteY9" fmla="*/ 0 h 515877"/>
                    <a:gd name="connsiteX0" fmla="*/ 61152 w 296182"/>
                    <a:gd name="connsiteY0" fmla="*/ 0 h 515877"/>
                    <a:gd name="connsiteX1" fmla="*/ 170237 w 296182"/>
                    <a:gd name="connsiteY1" fmla="*/ 1 h 515877"/>
                    <a:gd name="connsiteX2" fmla="*/ 296027 w 296182"/>
                    <a:gd name="connsiteY2" fmla="*/ 170601 h 515877"/>
                    <a:gd name="connsiteX3" fmla="*/ 155051 w 296182"/>
                    <a:gd name="connsiteY3" fmla="*/ 53182 h 515877"/>
                    <a:gd name="connsiteX4" fmla="*/ 51684 w 296182"/>
                    <a:gd name="connsiteY4" fmla="*/ 156549 h 515877"/>
                    <a:gd name="connsiteX5" fmla="*/ 266369 w 296182"/>
                    <a:gd name="connsiteY5" fmla="*/ 335453 h 515877"/>
                    <a:gd name="connsiteX6" fmla="*/ 255830 w 296182"/>
                    <a:gd name="connsiteY6" fmla="*/ 511901 h 515877"/>
                    <a:gd name="connsiteX7" fmla="*/ 5791 w 296182"/>
                    <a:gd name="connsiteY7" fmla="*/ 515877 h 515877"/>
                    <a:gd name="connsiteX8" fmla="*/ 0 w 296182"/>
                    <a:gd name="connsiteY8" fmla="*/ 92939 h 515877"/>
                    <a:gd name="connsiteX9" fmla="*/ 61152 w 296182"/>
                    <a:gd name="connsiteY9" fmla="*/ 0 h 515877"/>
                    <a:gd name="connsiteX0" fmla="*/ 61152 w 296182"/>
                    <a:gd name="connsiteY0" fmla="*/ 0 h 515877"/>
                    <a:gd name="connsiteX1" fmla="*/ 170237 w 296182"/>
                    <a:gd name="connsiteY1" fmla="*/ 1 h 515877"/>
                    <a:gd name="connsiteX2" fmla="*/ 296027 w 296182"/>
                    <a:gd name="connsiteY2" fmla="*/ 170601 h 515877"/>
                    <a:gd name="connsiteX3" fmla="*/ 155051 w 296182"/>
                    <a:gd name="connsiteY3" fmla="*/ 53182 h 515877"/>
                    <a:gd name="connsiteX4" fmla="*/ 63908 w 296182"/>
                    <a:gd name="connsiteY4" fmla="*/ 171219 h 515877"/>
                    <a:gd name="connsiteX5" fmla="*/ 266369 w 296182"/>
                    <a:gd name="connsiteY5" fmla="*/ 335453 h 515877"/>
                    <a:gd name="connsiteX6" fmla="*/ 255830 w 296182"/>
                    <a:gd name="connsiteY6" fmla="*/ 511901 h 515877"/>
                    <a:gd name="connsiteX7" fmla="*/ 5791 w 296182"/>
                    <a:gd name="connsiteY7" fmla="*/ 515877 h 515877"/>
                    <a:gd name="connsiteX8" fmla="*/ 0 w 296182"/>
                    <a:gd name="connsiteY8" fmla="*/ 92939 h 515877"/>
                    <a:gd name="connsiteX9" fmla="*/ 61152 w 296182"/>
                    <a:gd name="connsiteY9" fmla="*/ 0 h 515877"/>
                    <a:gd name="connsiteX0" fmla="*/ 61152 w 296182"/>
                    <a:gd name="connsiteY0" fmla="*/ 0 h 515877"/>
                    <a:gd name="connsiteX1" fmla="*/ 170237 w 296182"/>
                    <a:gd name="connsiteY1" fmla="*/ 1 h 515877"/>
                    <a:gd name="connsiteX2" fmla="*/ 296027 w 296182"/>
                    <a:gd name="connsiteY2" fmla="*/ 170601 h 515877"/>
                    <a:gd name="connsiteX3" fmla="*/ 155051 w 296182"/>
                    <a:gd name="connsiteY3" fmla="*/ 53182 h 515877"/>
                    <a:gd name="connsiteX4" fmla="*/ 63908 w 296182"/>
                    <a:gd name="connsiteY4" fmla="*/ 171219 h 515877"/>
                    <a:gd name="connsiteX5" fmla="*/ 266369 w 296182"/>
                    <a:gd name="connsiteY5" fmla="*/ 335453 h 515877"/>
                    <a:gd name="connsiteX6" fmla="*/ 255830 w 296182"/>
                    <a:gd name="connsiteY6" fmla="*/ 511901 h 515877"/>
                    <a:gd name="connsiteX7" fmla="*/ 5791 w 296182"/>
                    <a:gd name="connsiteY7" fmla="*/ 515877 h 515877"/>
                    <a:gd name="connsiteX8" fmla="*/ 0 w 296182"/>
                    <a:gd name="connsiteY8" fmla="*/ 92939 h 515877"/>
                    <a:gd name="connsiteX9" fmla="*/ 61152 w 296182"/>
                    <a:gd name="connsiteY9" fmla="*/ 0 h 515877"/>
                    <a:gd name="connsiteX0" fmla="*/ 61152 w 296182"/>
                    <a:gd name="connsiteY0" fmla="*/ 0 h 515877"/>
                    <a:gd name="connsiteX1" fmla="*/ 170237 w 296182"/>
                    <a:gd name="connsiteY1" fmla="*/ 1 h 515877"/>
                    <a:gd name="connsiteX2" fmla="*/ 296027 w 296182"/>
                    <a:gd name="connsiteY2" fmla="*/ 170601 h 515877"/>
                    <a:gd name="connsiteX3" fmla="*/ 155051 w 296182"/>
                    <a:gd name="connsiteY3" fmla="*/ 53182 h 515877"/>
                    <a:gd name="connsiteX4" fmla="*/ 63908 w 296182"/>
                    <a:gd name="connsiteY4" fmla="*/ 171219 h 515877"/>
                    <a:gd name="connsiteX5" fmla="*/ 266369 w 296182"/>
                    <a:gd name="connsiteY5" fmla="*/ 335453 h 515877"/>
                    <a:gd name="connsiteX6" fmla="*/ 255830 w 296182"/>
                    <a:gd name="connsiteY6" fmla="*/ 511901 h 515877"/>
                    <a:gd name="connsiteX7" fmla="*/ 5791 w 296182"/>
                    <a:gd name="connsiteY7" fmla="*/ 515877 h 515877"/>
                    <a:gd name="connsiteX8" fmla="*/ 0 w 296182"/>
                    <a:gd name="connsiteY8" fmla="*/ 92939 h 515877"/>
                    <a:gd name="connsiteX9" fmla="*/ 61152 w 296182"/>
                    <a:gd name="connsiteY9" fmla="*/ 0 h 515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6182" h="515877">
                      <a:moveTo>
                        <a:pt x="61152" y="0"/>
                      </a:moveTo>
                      <a:lnTo>
                        <a:pt x="170237" y="1"/>
                      </a:lnTo>
                      <a:cubicBezTo>
                        <a:pt x="280625" y="635"/>
                        <a:pt x="298105" y="96619"/>
                        <a:pt x="296027" y="170601"/>
                      </a:cubicBezTo>
                      <a:lnTo>
                        <a:pt x="155051" y="53182"/>
                      </a:lnTo>
                      <a:cubicBezTo>
                        <a:pt x="103481" y="9402"/>
                        <a:pt x="-16548" y="78085"/>
                        <a:pt x="63908" y="171219"/>
                      </a:cubicBezTo>
                      <a:lnTo>
                        <a:pt x="266369" y="335453"/>
                      </a:lnTo>
                      <a:lnTo>
                        <a:pt x="255830" y="511901"/>
                      </a:lnTo>
                      <a:lnTo>
                        <a:pt x="5791" y="515877"/>
                      </a:lnTo>
                      <a:cubicBezTo>
                        <a:pt x="3861" y="374898"/>
                        <a:pt x="1930" y="233918"/>
                        <a:pt x="0" y="92939"/>
                      </a:cubicBezTo>
                      <a:cubicBezTo>
                        <a:pt x="3269" y="49735"/>
                        <a:pt x="1649" y="11421"/>
                        <a:pt x="61152"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a:endParaRPr lang="en-US" sz="900">
                    <a:solidFill>
                      <a:prstClr val="white"/>
                    </a:solidFill>
                    <a:latin typeface="Univers for KPMG" panose="020B0603020202020204" pitchFamily="34" charset="0"/>
                  </a:endParaRPr>
                </a:p>
              </p:txBody>
            </p:sp>
            <p:cxnSp>
              <p:nvCxnSpPr>
                <p:cNvPr id="70" name="Straight Connector 268"/>
                <p:cNvCxnSpPr/>
                <p:nvPr/>
              </p:nvCxnSpPr>
              <p:spPr>
                <a:xfrm>
                  <a:off x="2843687" y="5845314"/>
                  <a:ext cx="0" cy="12288"/>
                </a:xfrm>
                <a:prstGeom prst="line">
                  <a:avLst/>
                </a:prstGeom>
                <a:solidFill>
                  <a:schemeClr val="bg1"/>
                </a:solidFill>
                <a:ln>
                  <a:solidFill>
                    <a:schemeClr val="bg1"/>
                  </a:solidFill>
                </a:ln>
              </p:spPr>
              <p:style>
                <a:lnRef idx="1">
                  <a:schemeClr val="dk1"/>
                </a:lnRef>
                <a:fillRef idx="0">
                  <a:schemeClr val="dk1"/>
                </a:fillRef>
                <a:effectRef idx="0">
                  <a:schemeClr val="dk1"/>
                </a:effectRef>
                <a:fontRef idx="minor">
                  <a:schemeClr val="tx1"/>
                </a:fontRef>
              </p:style>
            </p:cxnSp>
            <p:cxnSp>
              <p:nvCxnSpPr>
                <p:cNvPr id="71" name="Straight Connector 269"/>
                <p:cNvCxnSpPr/>
                <p:nvPr/>
              </p:nvCxnSpPr>
              <p:spPr>
                <a:xfrm>
                  <a:off x="2850994" y="5845269"/>
                  <a:ext cx="0" cy="12288"/>
                </a:xfrm>
                <a:prstGeom prst="line">
                  <a:avLst/>
                </a:prstGeom>
                <a:solidFill>
                  <a:schemeClr val="bg1"/>
                </a:solidFill>
                <a:ln>
                  <a:solidFill>
                    <a:schemeClr val="bg1"/>
                  </a:solidFill>
                </a:ln>
              </p:spPr>
              <p:style>
                <a:lnRef idx="1">
                  <a:schemeClr val="dk1"/>
                </a:lnRef>
                <a:fillRef idx="0">
                  <a:schemeClr val="dk1"/>
                </a:fillRef>
                <a:effectRef idx="0">
                  <a:schemeClr val="dk1"/>
                </a:effectRef>
                <a:fontRef idx="minor">
                  <a:schemeClr val="tx1"/>
                </a:fontRef>
              </p:style>
            </p:cxnSp>
          </p:grpSp>
          <p:grpSp>
            <p:nvGrpSpPr>
              <p:cNvPr id="55" name="Group 253"/>
              <p:cNvGrpSpPr/>
              <p:nvPr/>
            </p:nvGrpSpPr>
            <p:grpSpPr>
              <a:xfrm>
                <a:off x="610292" y="4741067"/>
                <a:ext cx="2475317" cy="1191790"/>
                <a:chOff x="81717" y="4056446"/>
                <a:chExt cx="2154618" cy="1050795"/>
              </a:xfrm>
            </p:grpSpPr>
            <p:sp>
              <p:nvSpPr>
                <p:cNvPr id="56" name="Rectangle 254"/>
                <p:cNvSpPr/>
                <p:nvPr/>
              </p:nvSpPr>
              <p:spPr>
                <a:xfrm>
                  <a:off x="217904" y="4056446"/>
                  <a:ext cx="1710325" cy="432497"/>
                </a:xfrm>
                <a:prstGeom prst="rect">
                  <a:avLst/>
                </a:prstGeom>
              </p:spPr>
              <p:txBody>
                <a:bodyPr wrap="square">
                  <a:spAutoFit/>
                </a:bodyPr>
                <a:lstStyle/>
                <a:p>
                  <a:pPr algn="ctr" defTabSz="685800"/>
                  <a:r>
                    <a:rPr lang="en-US" sz="1200" b="1" u="sng">
                      <a:solidFill>
                        <a:srgbClr val="EAAA00">
                          <a:lumMod val="20000"/>
                          <a:lumOff val="80000"/>
                        </a:srgbClr>
                      </a:solidFill>
                      <a:latin typeface="Univers for KPMG" panose="020B0603020202020204" pitchFamily="34" charset="0"/>
                    </a:rPr>
                    <a:t>Institutionalize community engagement and equity</a:t>
                  </a:r>
                  <a:endParaRPr lang="en-US" sz="1050" u="sng">
                    <a:solidFill>
                      <a:srgbClr val="EAAA00">
                        <a:lumMod val="20000"/>
                        <a:lumOff val="80000"/>
                      </a:srgbClr>
                    </a:solidFill>
                    <a:latin typeface="Univers for KPMG" panose="020B0603020202020204" pitchFamily="34" charset="0"/>
                  </a:endParaRPr>
                </a:p>
              </p:txBody>
            </p:sp>
            <p:sp>
              <p:nvSpPr>
                <p:cNvPr id="57" name="TextBox 255"/>
                <p:cNvSpPr txBox="1"/>
                <p:nvPr/>
              </p:nvSpPr>
              <p:spPr>
                <a:xfrm>
                  <a:off x="81717" y="4415246"/>
                  <a:ext cx="2154618" cy="691995"/>
                </a:xfrm>
                <a:prstGeom prst="rect">
                  <a:avLst/>
                </a:prstGeom>
                <a:noFill/>
              </p:spPr>
              <p:txBody>
                <a:bodyPr wrap="square" rtlCol="0">
                  <a:spAutoFit/>
                </a:bodyPr>
                <a:lstStyle/>
                <a:p>
                  <a:pPr defTabSz="685800"/>
                  <a:r>
                    <a:rPr lang="en-US" sz="1050">
                      <a:solidFill>
                        <a:prstClr val="white"/>
                      </a:solidFill>
                      <a:latin typeface="Univers for KPMG" panose="020B0603020202020204" pitchFamily="34" charset="0"/>
                      <a:cs typeface="Arial" panose="020B0604020202020204" pitchFamily="34" charset="0"/>
                    </a:rPr>
                    <a:t>Integrate principles of community engagement and health equity into every policy, program, and service rather than fund them separately. </a:t>
                  </a:r>
                </a:p>
              </p:txBody>
            </p:sp>
          </p:grpSp>
        </p:grpSp>
        <p:grpSp>
          <p:nvGrpSpPr>
            <p:cNvPr id="72" name="Group 22"/>
            <p:cNvGrpSpPr/>
            <p:nvPr/>
          </p:nvGrpSpPr>
          <p:grpSpPr>
            <a:xfrm>
              <a:off x="5109886" y="4130094"/>
              <a:ext cx="2133484" cy="1638953"/>
              <a:chOff x="3585886" y="4130094"/>
              <a:chExt cx="2133484" cy="1638953"/>
            </a:xfrm>
          </p:grpSpPr>
          <p:sp>
            <p:nvSpPr>
              <p:cNvPr id="73" name="Rectangle 271"/>
              <p:cNvSpPr/>
              <p:nvPr/>
            </p:nvSpPr>
            <p:spPr>
              <a:xfrm>
                <a:off x="3755148" y="4754752"/>
                <a:ext cx="1575784" cy="294317"/>
              </a:xfrm>
              <a:prstGeom prst="rect">
                <a:avLst/>
              </a:prstGeom>
            </p:spPr>
            <p:txBody>
              <a:bodyPr wrap="square">
                <a:spAutoFit/>
              </a:bodyPr>
              <a:lstStyle/>
              <a:p>
                <a:pPr algn="ctr" defTabSz="685800"/>
                <a:r>
                  <a:rPr lang="en-US" sz="1200" b="1" u="sng">
                    <a:solidFill>
                      <a:srgbClr val="005EB8">
                        <a:lumMod val="20000"/>
                        <a:lumOff val="80000"/>
                      </a:srgbClr>
                    </a:solidFill>
                    <a:latin typeface="Univers for KPMG" panose="020B0603020202020204" pitchFamily="34" charset="0"/>
                  </a:rPr>
                  <a:t>Operationalize equity</a:t>
                </a:r>
                <a:endParaRPr lang="en-US" sz="1050" u="sng">
                  <a:solidFill>
                    <a:srgbClr val="005EB8">
                      <a:lumMod val="20000"/>
                      <a:lumOff val="80000"/>
                    </a:srgbClr>
                  </a:solidFill>
                  <a:latin typeface="Univers for KPMG" panose="020B0603020202020204" pitchFamily="34" charset="0"/>
                </a:endParaRPr>
              </a:p>
            </p:txBody>
          </p:sp>
          <p:sp>
            <p:nvSpPr>
              <p:cNvPr id="74" name="TextBox 272"/>
              <p:cNvSpPr txBox="1"/>
              <p:nvPr/>
            </p:nvSpPr>
            <p:spPr>
              <a:xfrm>
                <a:off x="3585886" y="4984201"/>
                <a:ext cx="2133484" cy="784846"/>
              </a:xfrm>
              <a:prstGeom prst="rect">
                <a:avLst/>
              </a:prstGeom>
              <a:noFill/>
            </p:spPr>
            <p:txBody>
              <a:bodyPr wrap="square" rtlCol="0">
                <a:spAutoFit/>
              </a:bodyPr>
              <a:lstStyle/>
              <a:p>
                <a:pPr defTabSz="685800"/>
                <a:r>
                  <a:rPr lang="en-US" sz="1050" dirty="0">
                    <a:solidFill>
                      <a:prstClr val="white"/>
                    </a:solidFill>
                    <a:latin typeface="Univers for KPMG" panose="020B0603020202020204" pitchFamily="34" charset="0"/>
                    <a:cs typeface="Arial" panose="020B0604020202020204" pitchFamily="34" charset="0"/>
                  </a:rPr>
                  <a:t>Develop structured equity review processes and measurements to include in the review and evaluation of every program/project. </a:t>
                </a:r>
              </a:p>
            </p:txBody>
          </p:sp>
          <p:grpSp>
            <p:nvGrpSpPr>
              <p:cNvPr id="75" name="Group 273"/>
              <p:cNvGrpSpPr/>
              <p:nvPr/>
            </p:nvGrpSpPr>
            <p:grpSpPr>
              <a:xfrm>
                <a:off x="4308935" y="4130094"/>
                <a:ext cx="556974" cy="481396"/>
                <a:chOff x="2482850" y="1000125"/>
                <a:chExt cx="4656139" cy="4024317"/>
              </a:xfrm>
              <a:solidFill>
                <a:schemeClr val="bg1"/>
              </a:solidFill>
              <a:effectLst/>
            </p:grpSpPr>
            <p:sp>
              <p:nvSpPr>
                <p:cNvPr id="76" name="Rounded Rectangle 274"/>
                <p:cNvSpPr/>
                <p:nvPr/>
              </p:nvSpPr>
              <p:spPr>
                <a:xfrm>
                  <a:off x="3180080" y="2689862"/>
                  <a:ext cx="972824" cy="1691638"/>
                </a:xfrm>
                <a:prstGeom prst="roundRect">
                  <a:avLst>
                    <a:gd name="adj" fmla="val 9654"/>
                  </a:avLst>
                </a:prstGeom>
                <a:grpFill/>
                <a:ln w="12700" cap="flat" cmpd="sng" algn="ctr">
                  <a:noFill/>
                  <a:prstDash val="solid"/>
                  <a:miter lim="800000"/>
                </a:ln>
                <a:effectLst/>
              </p:spPr>
              <p:txBody>
                <a:bodyPr rtlCol="0" anchor="ctr"/>
                <a:lstStyle/>
                <a:p>
                  <a:pPr algn="ctr" defTabSz="685800"/>
                  <a:endParaRPr lang="en-US" sz="1050" kern="0">
                    <a:solidFill>
                      <a:prstClr val="white"/>
                    </a:solidFill>
                    <a:latin typeface="Univers for KPMG" panose="020B0603020202020204" pitchFamily="34" charset="0"/>
                  </a:endParaRPr>
                </a:p>
              </p:txBody>
            </p:sp>
            <p:sp>
              <p:nvSpPr>
                <p:cNvPr id="77" name="Rounded Rectangle 275"/>
                <p:cNvSpPr/>
                <p:nvPr/>
              </p:nvSpPr>
              <p:spPr>
                <a:xfrm>
                  <a:off x="5948045" y="1571628"/>
                  <a:ext cx="972824" cy="2819402"/>
                </a:xfrm>
                <a:prstGeom prst="roundRect">
                  <a:avLst>
                    <a:gd name="adj" fmla="val 9654"/>
                  </a:avLst>
                </a:prstGeom>
                <a:grpFill/>
                <a:ln w="12700" cap="flat" cmpd="sng" algn="ctr">
                  <a:noFill/>
                  <a:prstDash val="solid"/>
                  <a:miter lim="800000"/>
                </a:ln>
                <a:effectLst/>
              </p:spPr>
              <p:txBody>
                <a:bodyPr rtlCol="0" anchor="ctr"/>
                <a:lstStyle/>
                <a:p>
                  <a:pPr algn="ctr" defTabSz="685800"/>
                  <a:endParaRPr lang="en-US" sz="1050" kern="0">
                    <a:solidFill>
                      <a:prstClr val="white"/>
                    </a:solidFill>
                    <a:latin typeface="Univers for KPMG" panose="020B0603020202020204" pitchFamily="34" charset="0"/>
                  </a:endParaRPr>
                </a:p>
              </p:txBody>
            </p:sp>
            <p:sp>
              <p:nvSpPr>
                <p:cNvPr id="78" name="Freeform 276"/>
                <p:cNvSpPr/>
                <p:nvPr/>
              </p:nvSpPr>
              <p:spPr>
                <a:xfrm>
                  <a:off x="2482850" y="1000125"/>
                  <a:ext cx="4656139" cy="4024317"/>
                </a:xfrm>
                <a:custGeom>
                  <a:avLst/>
                  <a:gdLst>
                    <a:gd name="connsiteX0" fmla="*/ 190500 w 4652963"/>
                    <a:gd name="connsiteY0" fmla="*/ 0 h 4041775"/>
                    <a:gd name="connsiteX1" fmla="*/ 381000 w 4652963"/>
                    <a:gd name="connsiteY1" fmla="*/ 190500 h 4041775"/>
                    <a:gd name="connsiteX2" fmla="*/ 381000 w 4652963"/>
                    <a:gd name="connsiteY2" fmla="*/ 3643316 h 4041775"/>
                    <a:gd name="connsiteX3" fmla="*/ 4462463 w 4652963"/>
                    <a:gd name="connsiteY3" fmla="*/ 3643316 h 4041775"/>
                    <a:gd name="connsiteX4" fmla="*/ 4652963 w 4652963"/>
                    <a:gd name="connsiteY4" fmla="*/ 3833816 h 4041775"/>
                    <a:gd name="connsiteX5" fmla="*/ 4462463 w 4652963"/>
                    <a:gd name="connsiteY5" fmla="*/ 4024316 h 4041775"/>
                    <a:gd name="connsiteX6" fmla="*/ 342900 w 4652963"/>
                    <a:gd name="connsiteY6" fmla="*/ 4024316 h 4041775"/>
                    <a:gd name="connsiteX7" fmla="*/ 304507 w 4652963"/>
                    <a:gd name="connsiteY7" fmla="*/ 4020445 h 4041775"/>
                    <a:gd name="connsiteX8" fmla="*/ 283675 w 4652963"/>
                    <a:gd name="connsiteY8" fmla="*/ 4013979 h 4041775"/>
                    <a:gd name="connsiteX9" fmla="*/ 264651 w 4652963"/>
                    <a:gd name="connsiteY9" fmla="*/ 4026805 h 4041775"/>
                    <a:gd name="connsiteX10" fmla="*/ 190500 w 4652963"/>
                    <a:gd name="connsiteY10" fmla="*/ 4041775 h 4041775"/>
                    <a:gd name="connsiteX11" fmla="*/ 0 w 4652963"/>
                    <a:gd name="connsiteY11" fmla="*/ 3851275 h 4041775"/>
                    <a:gd name="connsiteX12" fmla="*/ 0 w 4652963"/>
                    <a:gd name="connsiteY12" fmla="*/ 190500 h 4041775"/>
                    <a:gd name="connsiteX13" fmla="*/ 190500 w 4652963"/>
                    <a:gd name="connsiteY13" fmla="*/ 0 h 4041775"/>
                    <a:gd name="connsiteX0" fmla="*/ 190500 w 4652963"/>
                    <a:gd name="connsiteY0" fmla="*/ 0 h 4041775"/>
                    <a:gd name="connsiteX1" fmla="*/ 381000 w 4652963"/>
                    <a:gd name="connsiteY1" fmla="*/ 190500 h 4041775"/>
                    <a:gd name="connsiteX2" fmla="*/ 381000 w 4652963"/>
                    <a:gd name="connsiteY2" fmla="*/ 3643316 h 4041775"/>
                    <a:gd name="connsiteX3" fmla="*/ 4462463 w 4652963"/>
                    <a:gd name="connsiteY3" fmla="*/ 3643316 h 4041775"/>
                    <a:gd name="connsiteX4" fmla="*/ 4652963 w 4652963"/>
                    <a:gd name="connsiteY4" fmla="*/ 3833816 h 4041775"/>
                    <a:gd name="connsiteX5" fmla="*/ 4462463 w 4652963"/>
                    <a:gd name="connsiteY5" fmla="*/ 4024316 h 4041775"/>
                    <a:gd name="connsiteX6" fmla="*/ 342900 w 4652963"/>
                    <a:gd name="connsiteY6" fmla="*/ 4024316 h 4041775"/>
                    <a:gd name="connsiteX7" fmla="*/ 304507 w 4652963"/>
                    <a:gd name="connsiteY7" fmla="*/ 4020445 h 4041775"/>
                    <a:gd name="connsiteX8" fmla="*/ 264651 w 4652963"/>
                    <a:gd name="connsiteY8" fmla="*/ 4026805 h 4041775"/>
                    <a:gd name="connsiteX9" fmla="*/ 190500 w 4652963"/>
                    <a:gd name="connsiteY9" fmla="*/ 4041775 h 4041775"/>
                    <a:gd name="connsiteX10" fmla="*/ 0 w 4652963"/>
                    <a:gd name="connsiteY10" fmla="*/ 3851275 h 4041775"/>
                    <a:gd name="connsiteX11" fmla="*/ 0 w 4652963"/>
                    <a:gd name="connsiteY11" fmla="*/ 190500 h 4041775"/>
                    <a:gd name="connsiteX12" fmla="*/ 190500 w 4652963"/>
                    <a:gd name="connsiteY12" fmla="*/ 0 h 4041775"/>
                    <a:gd name="connsiteX0" fmla="*/ 190500 w 4652963"/>
                    <a:gd name="connsiteY0" fmla="*/ 0 h 4041775"/>
                    <a:gd name="connsiteX1" fmla="*/ 381000 w 4652963"/>
                    <a:gd name="connsiteY1" fmla="*/ 190500 h 4041775"/>
                    <a:gd name="connsiteX2" fmla="*/ 381000 w 4652963"/>
                    <a:gd name="connsiteY2" fmla="*/ 3643316 h 4041775"/>
                    <a:gd name="connsiteX3" fmla="*/ 4462463 w 4652963"/>
                    <a:gd name="connsiteY3" fmla="*/ 3643316 h 4041775"/>
                    <a:gd name="connsiteX4" fmla="*/ 4652963 w 4652963"/>
                    <a:gd name="connsiteY4" fmla="*/ 3833816 h 4041775"/>
                    <a:gd name="connsiteX5" fmla="*/ 4462463 w 4652963"/>
                    <a:gd name="connsiteY5" fmla="*/ 4024316 h 4041775"/>
                    <a:gd name="connsiteX6" fmla="*/ 342900 w 4652963"/>
                    <a:gd name="connsiteY6" fmla="*/ 4024316 h 4041775"/>
                    <a:gd name="connsiteX7" fmla="*/ 304507 w 4652963"/>
                    <a:gd name="connsiteY7" fmla="*/ 4020445 h 4041775"/>
                    <a:gd name="connsiteX8" fmla="*/ 190500 w 4652963"/>
                    <a:gd name="connsiteY8" fmla="*/ 4041775 h 4041775"/>
                    <a:gd name="connsiteX9" fmla="*/ 0 w 4652963"/>
                    <a:gd name="connsiteY9" fmla="*/ 3851275 h 4041775"/>
                    <a:gd name="connsiteX10" fmla="*/ 0 w 4652963"/>
                    <a:gd name="connsiteY10" fmla="*/ 190500 h 4041775"/>
                    <a:gd name="connsiteX11" fmla="*/ 190500 w 4652963"/>
                    <a:gd name="connsiteY11" fmla="*/ 0 h 4041775"/>
                    <a:gd name="connsiteX0" fmla="*/ 193650 w 4656113"/>
                    <a:gd name="connsiteY0" fmla="*/ 0 h 4051624"/>
                    <a:gd name="connsiteX1" fmla="*/ 384150 w 4656113"/>
                    <a:gd name="connsiteY1" fmla="*/ 190500 h 4051624"/>
                    <a:gd name="connsiteX2" fmla="*/ 384150 w 4656113"/>
                    <a:gd name="connsiteY2" fmla="*/ 3643316 h 4051624"/>
                    <a:gd name="connsiteX3" fmla="*/ 4465613 w 4656113"/>
                    <a:gd name="connsiteY3" fmla="*/ 3643316 h 4051624"/>
                    <a:gd name="connsiteX4" fmla="*/ 4656113 w 4656113"/>
                    <a:gd name="connsiteY4" fmla="*/ 3833816 h 4051624"/>
                    <a:gd name="connsiteX5" fmla="*/ 4465613 w 4656113"/>
                    <a:gd name="connsiteY5" fmla="*/ 4024316 h 4051624"/>
                    <a:gd name="connsiteX6" fmla="*/ 346050 w 4656113"/>
                    <a:gd name="connsiteY6" fmla="*/ 4024316 h 4051624"/>
                    <a:gd name="connsiteX7" fmla="*/ 193650 w 4656113"/>
                    <a:gd name="connsiteY7" fmla="*/ 4041775 h 4051624"/>
                    <a:gd name="connsiteX8" fmla="*/ 3150 w 4656113"/>
                    <a:gd name="connsiteY8" fmla="*/ 3851275 h 4051624"/>
                    <a:gd name="connsiteX9" fmla="*/ 3150 w 4656113"/>
                    <a:gd name="connsiteY9" fmla="*/ 190500 h 4051624"/>
                    <a:gd name="connsiteX10" fmla="*/ 193650 w 4656113"/>
                    <a:gd name="connsiteY10" fmla="*/ 0 h 4051624"/>
                    <a:gd name="connsiteX0" fmla="*/ 193675 w 4656138"/>
                    <a:gd name="connsiteY0" fmla="*/ 0 h 4051624"/>
                    <a:gd name="connsiteX1" fmla="*/ 384175 w 4656138"/>
                    <a:gd name="connsiteY1" fmla="*/ 190500 h 4051624"/>
                    <a:gd name="connsiteX2" fmla="*/ 384175 w 4656138"/>
                    <a:gd name="connsiteY2" fmla="*/ 3643316 h 4051624"/>
                    <a:gd name="connsiteX3" fmla="*/ 4465638 w 4656138"/>
                    <a:gd name="connsiteY3" fmla="*/ 3643316 h 4051624"/>
                    <a:gd name="connsiteX4" fmla="*/ 4656138 w 4656138"/>
                    <a:gd name="connsiteY4" fmla="*/ 3833816 h 4051624"/>
                    <a:gd name="connsiteX5" fmla="*/ 4465638 w 4656138"/>
                    <a:gd name="connsiteY5" fmla="*/ 4024316 h 4051624"/>
                    <a:gd name="connsiteX6" fmla="*/ 346075 w 4656138"/>
                    <a:gd name="connsiteY6" fmla="*/ 4024316 h 4051624"/>
                    <a:gd name="connsiteX7" fmla="*/ 193675 w 4656138"/>
                    <a:gd name="connsiteY7" fmla="*/ 4041775 h 4051624"/>
                    <a:gd name="connsiteX8" fmla="*/ 3175 w 4656138"/>
                    <a:gd name="connsiteY8" fmla="*/ 3851275 h 4051624"/>
                    <a:gd name="connsiteX9" fmla="*/ 0 w 4656138"/>
                    <a:gd name="connsiteY9" fmla="*/ 3622675 h 4051624"/>
                    <a:gd name="connsiteX10" fmla="*/ 3175 w 4656138"/>
                    <a:gd name="connsiteY10" fmla="*/ 190500 h 4051624"/>
                    <a:gd name="connsiteX11" fmla="*/ 193675 w 4656138"/>
                    <a:gd name="connsiteY11" fmla="*/ 0 h 4051624"/>
                    <a:gd name="connsiteX0" fmla="*/ 193675 w 4656138"/>
                    <a:gd name="connsiteY0" fmla="*/ 0 h 4068100"/>
                    <a:gd name="connsiteX1" fmla="*/ 384175 w 4656138"/>
                    <a:gd name="connsiteY1" fmla="*/ 190500 h 4068100"/>
                    <a:gd name="connsiteX2" fmla="*/ 384175 w 4656138"/>
                    <a:gd name="connsiteY2" fmla="*/ 3643316 h 4068100"/>
                    <a:gd name="connsiteX3" fmla="*/ 4465638 w 4656138"/>
                    <a:gd name="connsiteY3" fmla="*/ 3643316 h 4068100"/>
                    <a:gd name="connsiteX4" fmla="*/ 4656138 w 4656138"/>
                    <a:gd name="connsiteY4" fmla="*/ 3833816 h 4068100"/>
                    <a:gd name="connsiteX5" fmla="*/ 4465638 w 4656138"/>
                    <a:gd name="connsiteY5" fmla="*/ 4024316 h 4068100"/>
                    <a:gd name="connsiteX6" fmla="*/ 346075 w 4656138"/>
                    <a:gd name="connsiteY6" fmla="*/ 4024316 h 4068100"/>
                    <a:gd name="connsiteX7" fmla="*/ 193675 w 4656138"/>
                    <a:gd name="connsiteY7" fmla="*/ 4041775 h 4068100"/>
                    <a:gd name="connsiteX8" fmla="*/ 0 w 4656138"/>
                    <a:gd name="connsiteY8" fmla="*/ 3622675 h 4068100"/>
                    <a:gd name="connsiteX9" fmla="*/ 3175 w 4656138"/>
                    <a:gd name="connsiteY9" fmla="*/ 190500 h 4068100"/>
                    <a:gd name="connsiteX10" fmla="*/ 193675 w 4656138"/>
                    <a:gd name="connsiteY10" fmla="*/ 0 h 4068100"/>
                    <a:gd name="connsiteX0" fmla="*/ 279843 w 4742306"/>
                    <a:gd name="connsiteY0" fmla="*/ 0 h 4039680"/>
                    <a:gd name="connsiteX1" fmla="*/ 470343 w 4742306"/>
                    <a:gd name="connsiteY1" fmla="*/ 190500 h 4039680"/>
                    <a:gd name="connsiteX2" fmla="*/ 470343 w 4742306"/>
                    <a:gd name="connsiteY2" fmla="*/ 3643316 h 4039680"/>
                    <a:gd name="connsiteX3" fmla="*/ 4551806 w 4742306"/>
                    <a:gd name="connsiteY3" fmla="*/ 3643316 h 4039680"/>
                    <a:gd name="connsiteX4" fmla="*/ 4742306 w 4742306"/>
                    <a:gd name="connsiteY4" fmla="*/ 3833816 h 4039680"/>
                    <a:gd name="connsiteX5" fmla="*/ 4551806 w 4742306"/>
                    <a:gd name="connsiteY5" fmla="*/ 4024316 h 4039680"/>
                    <a:gd name="connsiteX6" fmla="*/ 432243 w 4742306"/>
                    <a:gd name="connsiteY6" fmla="*/ 4024316 h 4039680"/>
                    <a:gd name="connsiteX7" fmla="*/ 86168 w 4742306"/>
                    <a:gd name="connsiteY7" fmla="*/ 3622675 h 4039680"/>
                    <a:gd name="connsiteX8" fmla="*/ 89343 w 4742306"/>
                    <a:gd name="connsiteY8" fmla="*/ 190500 h 4039680"/>
                    <a:gd name="connsiteX9" fmla="*/ 279843 w 4742306"/>
                    <a:gd name="connsiteY9" fmla="*/ 0 h 4039680"/>
                    <a:gd name="connsiteX0" fmla="*/ 279843 w 4742306"/>
                    <a:gd name="connsiteY0" fmla="*/ 0 h 4024316"/>
                    <a:gd name="connsiteX1" fmla="*/ 470343 w 4742306"/>
                    <a:gd name="connsiteY1" fmla="*/ 190500 h 4024316"/>
                    <a:gd name="connsiteX2" fmla="*/ 470343 w 4742306"/>
                    <a:gd name="connsiteY2" fmla="*/ 3643316 h 4024316"/>
                    <a:gd name="connsiteX3" fmla="*/ 4551806 w 4742306"/>
                    <a:gd name="connsiteY3" fmla="*/ 3643316 h 4024316"/>
                    <a:gd name="connsiteX4" fmla="*/ 4742306 w 4742306"/>
                    <a:gd name="connsiteY4" fmla="*/ 3833816 h 4024316"/>
                    <a:gd name="connsiteX5" fmla="*/ 4551806 w 4742306"/>
                    <a:gd name="connsiteY5" fmla="*/ 4024316 h 4024316"/>
                    <a:gd name="connsiteX6" fmla="*/ 432243 w 4742306"/>
                    <a:gd name="connsiteY6" fmla="*/ 4024316 h 4024316"/>
                    <a:gd name="connsiteX7" fmla="*/ 86168 w 4742306"/>
                    <a:gd name="connsiteY7" fmla="*/ 3622675 h 4024316"/>
                    <a:gd name="connsiteX8" fmla="*/ 89343 w 4742306"/>
                    <a:gd name="connsiteY8" fmla="*/ 190500 h 4024316"/>
                    <a:gd name="connsiteX9" fmla="*/ 279843 w 4742306"/>
                    <a:gd name="connsiteY9" fmla="*/ 0 h 4024316"/>
                    <a:gd name="connsiteX0" fmla="*/ 264769 w 4727232"/>
                    <a:gd name="connsiteY0" fmla="*/ 0 h 4024316"/>
                    <a:gd name="connsiteX1" fmla="*/ 455269 w 4727232"/>
                    <a:gd name="connsiteY1" fmla="*/ 190500 h 4024316"/>
                    <a:gd name="connsiteX2" fmla="*/ 455269 w 4727232"/>
                    <a:gd name="connsiteY2" fmla="*/ 3643316 h 4024316"/>
                    <a:gd name="connsiteX3" fmla="*/ 4536732 w 4727232"/>
                    <a:gd name="connsiteY3" fmla="*/ 3643316 h 4024316"/>
                    <a:gd name="connsiteX4" fmla="*/ 4727232 w 4727232"/>
                    <a:gd name="connsiteY4" fmla="*/ 3833816 h 4024316"/>
                    <a:gd name="connsiteX5" fmla="*/ 4536732 w 4727232"/>
                    <a:gd name="connsiteY5" fmla="*/ 4024316 h 4024316"/>
                    <a:gd name="connsiteX6" fmla="*/ 417169 w 4727232"/>
                    <a:gd name="connsiteY6" fmla="*/ 4024316 h 4024316"/>
                    <a:gd name="connsiteX7" fmla="*/ 71094 w 4727232"/>
                    <a:gd name="connsiteY7" fmla="*/ 3622675 h 4024316"/>
                    <a:gd name="connsiteX8" fmla="*/ 74269 w 4727232"/>
                    <a:gd name="connsiteY8" fmla="*/ 190500 h 4024316"/>
                    <a:gd name="connsiteX9" fmla="*/ 264769 w 4727232"/>
                    <a:gd name="connsiteY9" fmla="*/ 0 h 4024316"/>
                    <a:gd name="connsiteX0" fmla="*/ 193675 w 4656138"/>
                    <a:gd name="connsiteY0" fmla="*/ 0 h 4024316"/>
                    <a:gd name="connsiteX1" fmla="*/ 384175 w 4656138"/>
                    <a:gd name="connsiteY1" fmla="*/ 190500 h 4024316"/>
                    <a:gd name="connsiteX2" fmla="*/ 384175 w 4656138"/>
                    <a:gd name="connsiteY2" fmla="*/ 3643316 h 4024316"/>
                    <a:gd name="connsiteX3" fmla="*/ 4465638 w 4656138"/>
                    <a:gd name="connsiteY3" fmla="*/ 3643316 h 4024316"/>
                    <a:gd name="connsiteX4" fmla="*/ 4656138 w 4656138"/>
                    <a:gd name="connsiteY4" fmla="*/ 3833816 h 4024316"/>
                    <a:gd name="connsiteX5" fmla="*/ 4465638 w 4656138"/>
                    <a:gd name="connsiteY5" fmla="*/ 4024316 h 4024316"/>
                    <a:gd name="connsiteX6" fmla="*/ 346075 w 4656138"/>
                    <a:gd name="connsiteY6" fmla="*/ 4024316 h 4024316"/>
                    <a:gd name="connsiteX7" fmla="*/ 0 w 4656138"/>
                    <a:gd name="connsiteY7" fmla="*/ 3622675 h 4024316"/>
                    <a:gd name="connsiteX8" fmla="*/ 3175 w 4656138"/>
                    <a:gd name="connsiteY8" fmla="*/ 190500 h 4024316"/>
                    <a:gd name="connsiteX9" fmla="*/ 193675 w 4656138"/>
                    <a:gd name="connsiteY9" fmla="*/ 0 h 4024316"/>
                    <a:gd name="connsiteX0" fmla="*/ 193675 w 4656138"/>
                    <a:gd name="connsiteY0" fmla="*/ 0 h 4024316"/>
                    <a:gd name="connsiteX1" fmla="*/ 384175 w 4656138"/>
                    <a:gd name="connsiteY1" fmla="*/ 190500 h 4024316"/>
                    <a:gd name="connsiteX2" fmla="*/ 384175 w 4656138"/>
                    <a:gd name="connsiteY2" fmla="*/ 3643316 h 4024316"/>
                    <a:gd name="connsiteX3" fmla="*/ 4465638 w 4656138"/>
                    <a:gd name="connsiteY3" fmla="*/ 3643316 h 4024316"/>
                    <a:gd name="connsiteX4" fmla="*/ 4656138 w 4656138"/>
                    <a:gd name="connsiteY4" fmla="*/ 3833816 h 4024316"/>
                    <a:gd name="connsiteX5" fmla="*/ 4465638 w 4656138"/>
                    <a:gd name="connsiteY5" fmla="*/ 4024316 h 4024316"/>
                    <a:gd name="connsiteX6" fmla="*/ 346075 w 4656138"/>
                    <a:gd name="connsiteY6" fmla="*/ 4024316 h 4024316"/>
                    <a:gd name="connsiteX7" fmla="*/ 0 w 4656138"/>
                    <a:gd name="connsiteY7" fmla="*/ 3622675 h 4024316"/>
                    <a:gd name="connsiteX8" fmla="*/ 3175 w 4656138"/>
                    <a:gd name="connsiteY8" fmla="*/ 190500 h 4024316"/>
                    <a:gd name="connsiteX9" fmla="*/ 193675 w 4656138"/>
                    <a:gd name="connsiteY9" fmla="*/ 0 h 4024316"/>
                    <a:gd name="connsiteX0" fmla="*/ 193675 w 4656138"/>
                    <a:gd name="connsiteY0" fmla="*/ 0 h 4024316"/>
                    <a:gd name="connsiteX1" fmla="*/ 384175 w 4656138"/>
                    <a:gd name="connsiteY1" fmla="*/ 190500 h 4024316"/>
                    <a:gd name="connsiteX2" fmla="*/ 384175 w 4656138"/>
                    <a:gd name="connsiteY2" fmla="*/ 3643316 h 4024316"/>
                    <a:gd name="connsiteX3" fmla="*/ 4465638 w 4656138"/>
                    <a:gd name="connsiteY3" fmla="*/ 3643316 h 4024316"/>
                    <a:gd name="connsiteX4" fmla="*/ 4656138 w 4656138"/>
                    <a:gd name="connsiteY4" fmla="*/ 3833816 h 4024316"/>
                    <a:gd name="connsiteX5" fmla="*/ 4465638 w 4656138"/>
                    <a:gd name="connsiteY5" fmla="*/ 4024316 h 4024316"/>
                    <a:gd name="connsiteX6" fmla="*/ 346075 w 4656138"/>
                    <a:gd name="connsiteY6" fmla="*/ 4024316 h 4024316"/>
                    <a:gd name="connsiteX7" fmla="*/ 0 w 4656138"/>
                    <a:gd name="connsiteY7" fmla="*/ 3622675 h 4024316"/>
                    <a:gd name="connsiteX8" fmla="*/ 3175 w 4656138"/>
                    <a:gd name="connsiteY8" fmla="*/ 190500 h 4024316"/>
                    <a:gd name="connsiteX9" fmla="*/ 193675 w 4656138"/>
                    <a:gd name="connsiteY9" fmla="*/ 0 h 4024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56138" h="4024316">
                      <a:moveTo>
                        <a:pt x="193675" y="0"/>
                      </a:moveTo>
                      <a:cubicBezTo>
                        <a:pt x="298885" y="0"/>
                        <a:pt x="384175" y="85290"/>
                        <a:pt x="384175" y="190500"/>
                      </a:cubicBezTo>
                      <a:lnTo>
                        <a:pt x="384175" y="3643316"/>
                      </a:lnTo>
                      <a:lnTo>
                        <a:pt x="4465638" y="3643316"/>
                      </a:lnTo>
                      <a:cubicBezTo>
                        <a:pt x="4570848" y="3643316"/>
                        <a:pt x="4656138" y="3728606"/>
                        <a:pt x="4656138" y="3833816"/>
                      </a:cubicBezTo>
                      <a:cubicBezTo>
                        <a:pt x="4656138" y="3939026"/>
                        <a:pt x="4570848" y="4024316"/>
                        <a:pt x="4465638" y="4024316"/>
                      </a:cubicBezTo>
                      <a:lnTo>
                        <a:pt x="346075" y="4024316"/>
                      </a:lnTo>
                      <a:cubicBezTo>
                        <a:pt x="78052" y="3963726"/>
                        <a:pt x="31750" y="3886994"/>
                        <a:pt x="0" y="3622675"/>
                      </a:cubicBezTo>
                      <a:cubicBezTo>
                        <a:pt x="1058" y="2478617"/>
                        <a:pt x="2117" y="1334558"/>
                        <a:pt x="3175" y="190500"/>
                      </a:cubicBezTo>
                      <a:cubicBezTo>
                        <a:pt x="3175" y="85290"/>
                        <a:pt x="88465" y="0"/>
                        <a:pt x="193675" y="0"/>
                      </a:cubicBezTo>
                      <a:close/>
                    </a:path>
                  </a:pathLst>
                </a:custGeom>
                <a:grpFill/>
                <a:ln w="12700" cap="flat" cmpd="sng" algn="ctr">
                  <a:noFill/>
                  <a:prstDash val="solid"/>
                  <a:miter lim="800000"/>
                </a:ln>
                <a:effectLst/>
              </p:spPr>
              <p:txBody>
                <a:bodyPr rtlCol="0" anchor="ctr"/>
                <a:lstStyle/>
                <a:p>
                  <a:pPr algn="ctr" defTabSz="685800"/>
                  <a:endParaRPr lang="en-US" sz="1050" kern="0">
                    <a:solidFill>
                      <a:prstClr val="white"/>
                    </a:solidFill>
                    <a:latin typeface="Univers for KPMG" panose="020B0603020202020204" pitchFamily="34" charset="0"/>
                  </a:endParaRPr>
                </a:p>
              </p:txBody>
            </p:sp>
            <p:sp>
              <p:nvSpPr>
                <p:cNvPr id="79" name="Rounded Rectangle 277"/>
                <p:cNvSpPr/>
                <p:nvPr/>
              </p:nvSpPr>
              <p:spPr>
                <a:xfrm>
                  <a:off x="4577080" y="2108197"/>
                  <a:ext cx="972824" cy="2285997"/>
                </a:xfrm>
                <a:prstGeom prst="roundRect">
                  <a:avLst>
                    <a:gd name="adj" fmla="val 9654"/>
                  </a:avLst>
                </a:prstGeom>
                <a:grpFill/>
                <a:ln w="12700" cap="flat" cmpd="sng" algn="ctr">
                  <a:noFill/>
                  <a:prstDash val="solid"/>
                  <a:miter lim="800000"/>
                </a:ln>
                <a:effectLst/>
              </p:spPr>
              <p:txBody>
                <a:bodyPr rtlCol="0" anchor="ctr"/>
                <a:lstStyle/>
                <a:p>
                  <a:pPr algn="ctr" defTabSz="685800"/>
                  <a:endParaRPr lang="en-US" sz="1050" kern="0">
                    <a:solidFill>
                      <a:prstClr val="white"/>
                    </a:solidFill>
                    <a:latin typeface="Univers for KPMG" panose="020B0603020202020204" pitchFamily="34" charset="0"/>
                  </a:endParaRPr>
                </a:p>
              </p:txBody>
            </p:sp>
          </p:grpSp>
        </p:grpSp>
        <p:grpSp>
          <p:nvGrpSpPr>
            <p:cNvPr id="80" name="Group 20"/>
            <p:cNvGrpSpPr/>
            <p:nvPr/>
          </p:nvGrpSpPr>
          <p:grpSpPr>
            <a:xfrm>
              <a:off x="7836016" y="4223986"/>
              <a:ext cx="2133484" cy="1373380"/>
              <a:chOff x="6312016" y="4223986"/>
              <a:chExt cx="2133484" cy="1373380"/>
            </a:xfrm>
          </p:grpSpPr>
          <p:grpSp>
            <p:nvGrpSpPr>
              <p:cNvPr id="81" name="Group 279"/>
              <p:cNvGrpSpPr/>
              <p:nvPr/>
            </p:nvGrpSpPr>
            <p:grpSpPr>
              <a:xfrm>
                <a:off x="7114386" y="4223986"/>
                <a:ext cx="659192" cy="467806"/>
                <a:chOff x="6510123" y="2448951"/>
                <a:chExt cx="410080" cy="291020"/>
              </a:xfrm>
              <a:solidFill>
                <a:schemeClr val="bg1"/>
              </a:solidFill>
            </p:grpSpPr>
            <p:grpSp>
              <p:nvGrpSpPr>
                <p:cNvPr id="85" name="Group 283"/>
                <p:cNvGrpSpPr/>
                <p:nvPr/>
              </p:nvGrpSpPr>
              <p:grpSpPr>
                <a:xfrm>
                  <a:off x="6806675" y="2459374"/>
                  <a:ext cx="113528" cy="116228"/>
                  <a:chOff x="3435351" y="1536700"/>
                  <a:chExt cx="200025" cy="204788"/>
                </a:xfrm>
                <a:grpFill/>
              </p:grpSpPr>
              <p:sp>
                <p:nvSpPr>
                  <p:cNvPr id="105" name="Freeform 303"/>
                  <p:cNvSpPr>
                    <a:spLocks/>
                  </p:cNvSpPr>
                  <p:nvPr/>
                </p:nvSpPr>
                <p:spPr bwMode="auto">
                  <a:xfrm>
                    <a:off x="3506789" y="1536700"/>
                    <a:ext cx="49213" cy="41275"/>
                  </a:xfrm>
                  <a:custGeom>
                    <a:avLst/>
                    <a:gdLst>
                      <a:gd name="T0" fmla="*/ 31 w 31"/>
                      <a:gd name="T1" fmla="*/ 21 h 26"/>
                      <a:gd name="T2" fmla="*/ 31 w 31"/>
                      <a:gd name="T3" fmla="*/ 23 h 26"/>
                      <a:gd name="T4" fmla="*/ 29 w 31"/>
                      <a:gd name="T5" fmla="*/ 24 h 26"/>
                      <a:gd name="T6" fmla="*/ 26 w 31"/>
                      <a:gd name="T7" fmla="*/ 26 h 26"/>
                      <a:gd name="T8" fmla="*/ 5 w 31"/>
                      <a:gd name="T9" fmla="*/ 26 h 26"/>
                      <a:gd name="T10" fmla="*/ 3 w 31"/>
                      <a:gd name="T11" fmla="*/ 24 h 26"/>
                      <a:gd name="T12" fmla="*/ 2 w 31"/>
                      <a:gd name="T13" fmla="*/ 23 h 26"/>
                      <a:gd name="T14" fmla="*/ 0 w 31"/>
                      <a:gd name="T15" fmla="*/ 21 h 26"/>
                      <a:gd name="T16" fmla="*/ 0 w 31"/>
                      <a:gd name="T17" fmla="*/ 5 h 26"/>
                      <a:gd name="T18" fmla="*/ 2 w 31"/>
                      <a:gd name="T19" fmla="*/ 3 h 26"/>
                      <a:gd name="T20" fmla="*/ 3 w 31"/>
                      <a:gd name="T21" fmla="*/ 2 h 26"/>
                      <a:gd name="T22" fmla="*/ 5 w 31"/>
                      <a:gd name="T23" fmla="*/ 0 h 26"/>
                      <a:gd name="T24" fmla="*/ 26 w 31"/>
                      <a:gd name="T25" fmla="*/ 0 h 26"/>
                      <a:gd name="T26" fmla="*/ 29 w 31"/>
                      <a:gd name="T27" fmla="*/ 2 h 26"/>
                      <a:gd name="T28" fmla="*/ 31 w 31"/>
                      <a:gd name="T29" fmla="*/ 3 h 26"/>
                      <a:gd name="T30" fmla="*/ 31 w 31"/>
                      <a:gd name="T31" fmla="*/ 5 h 26"/>
                      <a:gd name="T32" fmla="*/ 31 w 31"/>
                      <a:gd name="T33"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26">
                        <a:moveTo>
                          <a:pt x="31" y="21"/>
                        </a:moveTo>
                        <a:lnTo>
                          <a:pt x="31" y="23"/>
                        </a:lnTo>
                        <a:lnTo>
                          <a:pt x="29" y="24"/>
                        </a:lnTo>
                        <a:lnTo>
                          <a:pt x="26" y="26"/>
                        </a:lnTo>
                        <a:lnTo>
                          <a:pt x="5" y="26"/>
                        </a:lnTo>
                        <a:lnTo>
                          <a:pt x="3" y="24"/>
                        </a:lnTo>
                        <a:lnTo>
                          <a:pt x="2" y="23"/>
                        </a:lnTo>
                        <a:lnTo>
                          <a:pt x="0" y="21"/>
                        </a:lnTo>
                        <a:lnTo>
                          <a:pt x="0" y="5"/>
                        </a:lnTo>
                        <a:lnTo>
                          <a:pt x="2" y="3"/>
                        </a:lnTo>
                        <a:lnTo>
                          <a:pt x="3" y="2"/>
                        </a:lnTo>
                        <a:lnTo>
                          <a:pt x="5" y="0"/>
                        </a:lnTo>
                        <a:lnTo>
                          <a:pt x="26" y="0"/>
                        </a:lnTo>
                        <a:lnTo>
                          <a:pt x="29" y="2"/>
                        </a:lnTo>
                        <a:lnTo>
                          <a:pt x="31" y="3"/>
                        </a:lnTo>
                        <a:lnTo>
                          <a:pt x="31" y="5"/>
                        </a:lnTo>
                        <a:lnTo>
                          <a:pt x="31" y="2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106" name="Freeform 304"/>
                  <p:cNvSpPr>
                    <a:spLocks/>
                  </p:cNvSpPr>
                  <p:nvPr/>
                </p:nvSpPr>
                <p:spPr bwMode="auto">
                  <a:xfrm>
                    <a:off x="3435351" y="1573213"/>
                    <a:ext cx="53975" cy="55563"/>
                  </a:xfrm>
                  <a:custGeom>
                    <a:avLst/>
                    <a:gdLst>
                      <a:gd name="T0" fmla="*/ 31 w 34"/>
                      <a:gd name="T1" fmla="*/ 9 h 35"/>
                      <a:gd name="T2" fmla="*/ 32 w 34"/>
                      <a:gd name="T3" fmla="*/ 11 h 35"/>
                      <a:gd name="T4" fmla="*/ 34 w 34"/>
                      <a:gd name="T5" fmla="*/ 13 h 35"/>
                      <a:gd name="T6" fmla="*/ 32 w 34"/>
                      <a:gd name="T7" fmla="*/ 16 h 35"/>
                      <a:gd name="T8" fmla="*/ 23 w 34"/>
                      <a:gd name="T9" fmla="*/ 34 h 35"/>
                      <a:gd name="T10" fmla="*/ 21 w 34"/>
                      <a:gd name="T11" fmla="*/ 35 h 35"/>
                      <a:gd name="T12" fmla="*/ 18 w 34"/>
                      <a:gd name="T13" fmla="*/ 35 h 35"/>
                      <a:gd name="T14" fmla="*/ 16 w 34"/>
                      <a:gd name="T15" fmla="*/ 35 h 35"/>
                      <a:gd name="T16" fmla="*/ 3 w 34"/>
                      <a:gd name="T17" fmla="*/ 27 h 35"/>
                      <a:gd name="T18" fmla="*/ 0 w 34"/>
                      <a:gd name="T19" fmla="*/ 25 h 35"/>
                      <a:gd name="T20" fmla="*/ 0 w 34"/>
                      <a:gd name="T21" fmla="*/ 22 h 35"/>
                      <a:gd name="T22" fmla="*/ 2 w 34"/>
                      <a:gd name="T23" fmla="*/ 21 h 35"/>
                      <a:gd name="T24" fmla="*/ 11 w 34"/>
                      <a:gd name="T25" fmla="*/ 3 h 35"/>
                      <a:gd name="T26" fmla="*/ 13 w 34"/>
                      <a:gd name="T27" fmla="*/ 1 h 35"/>
                      <a:gd name="T28" fmla="*/ 15 w 34"/>
                      <a:gd name="T29" fmla="*/ 0 h 35"/>
                      <a:gd name="T30" fmla="*/ 18 w 34"/>
                      <a:gd name="T31" fmla="*/ 1 h 35"/>
                      <a:gd name="T32" fmla="*/ 31 w 34"/>
                      <a:gd name="T33" fmla="*/ 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5">
                        <a:moveTo>
                          <a:pt x="31" y="9"/>
                        </a:moveTo>
                        <a:lnTo>
                          <a:pt x="32" y="11"/>
                        </a:lnTo>
                        <a:lnTo>
                          <a:pt x="34" y="13"/>
                        </a:lnTo>
                        <a:lnTo>
                          <a:pt x="32" y="16"/>
                        </a:lnTo>
                        <a:lnTo>
                          <a:pt x="23" y="34"/>
                        </a:lnTo>
                        <a:lnTo>
                          <a:pt x="21" y="35"/>
                        </a:lnTo>
                        <a:lnTo>
                          <a:pt x="18" y="35"/>
                        </a:lnTo>
                        <a:lnTo>
                          <a:pt x="16" y="35"/>
                        </a:lnTo>
                        <a:lnTo>
                          <a:pt x="3" y="27"/>
                        </a:lnTo>
                        <a:lnTo>
                          <a:pt x="0" y="25"/>
                        </a:lnTo>
                        <a:lnTo>
                          <a:pt x="0" y="22"/>
                        </a:lnTo>
                        <a:lnTo>
                          <a:pt x="2" y="21"/>
                        </a:lnTo>
                        <a:lnTo>
                          <a:pt x="11" y="3"/>
                        </a:lnTo>
                        <a:lnTo>
                          <a:pt x="13" y="1"/>
                        </a:lnTo>
                        <a:lnTo>
                          <a:pt x="15" y="0"/>
                        </a:lnTo>
                        <a:lnTo>
                          <a:pt x="18" y="1"/>
                        </a:lnTo>
                        <a:lnTo>
                          <a:pt x="31" y="9"/>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107" name="Freeform 305"/>
                  <p:cNvSpPr>
                    <a:spLocks/>
                  </p:cNvSpPr>
                  <p:nvPr/>
                </p:nvSpPr>
                <p:spPr bwMode="auto">
                  <a:xfrm>
                    <a:off x="3438526" y="1657350"/>
                    <a:ext cx="53975" cy="53975"/>
                  </a:xfrm>
                  <a:custGeom>
                    <a:avLst/>
                    <a:gdLst>
                      <a:gd name="T0" fmla="*/ 16 w 34"/>
                      <a:gd name="T1" fmla="*/ 0 h 34"/>
                      <a:gd name="T2" fmla="*/ 19 w 34"/>
                      <a:gd name="T3" fmla="*/ 0 h 34"/>
                      <a:gd name="T4" fmla="*/ 21 w 34"/>
                      <a:gd name="T5" fmla="*/ 0 h 34"/>
                      <a:gd name="T6" fmla="*/ 22 w 34"/>
                      <a:gd name="T7" fmla="*/ 1 h 34"/>
                      <a:gd name="T8" fmla="*/ 32 w 34"/>
                      <a:gd name="T9" fmla="*/ 19 h 34"/>
                      <a:gd name="T10" fmla="*/ 34 w 34"/>
                      <a:gd name="T11" fmla="*/ 21 h 34"/>
                      <a:gd name="T12" fmla="*/ 32 w 34"/>
                      <a:gd name="T13" fmla="*/ 24 h 34"/>
                      <a:gd name="T14" fmla="*/ 30 w 34"/>
                      <a:gd name="T15" fmla="*/ 26 h 34"/>
                      <a:gd name="T16" fmla="*/ 18 w 34"/>
                      <a:gd name="T17" fmla="*/ 34 h 34"/>
                      <a:gd name="T18" fmla="*/ 16 w 34"/>
                      <a:gd name="T19" fmla="*/ 34 h 34"/>
                      <a:gd name="T20" fmla="*/ 13 w 34"/>
                      <a:gd name="T21" fmla="*/ 34 h 34"/>
                      <a:gd name="T22" fmla="*/ 11 w 34"/>
                      <a:gd name="T23" fmla="*/ 32 h 34"/>
                      <a:gd name="T24" fmla="*/ 1 w 34"/>
                      <a:gd name="T25" fmla="*/ 14 h 34"/>
                      <a:gd name="T26" fmla="*/ 0 w 34"/>
                      <a:gd name="T27" fmla="*/ 11 h 34"/>
                      <a:gd name="T28" fmla="*/ 1 w 34"/>
                      <a:gd name="T29" fmla="*/ 9 h 34"/>
                      <a:gd name="T30" fmla="*/ 3 w 34"/>
                      <a:gd name="T31" fmla="*/ 8 h 34"/>
                      <a:gd name="T32" fmla="*/ 16 w 34"/>
                      <a:gd name="T3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4">
                        <a:moveTo>
                          <a:pt x="16" y="0"/>
                        </a:moveTo>
                        <a:lnTo>
                          <a:pt x="19" y="0"/>
                        </a:lnTo>
                        <a:lnTo>
                          <a:pt x="21" y="0"/>
                        </a:lnTo>
                        <a:lnTo>
                          <a:pt x="22" y="1"/>
                        </a:lnTo>
                        <a:lnTo>
                          <a:pt x="32" y="19"/>
                        </a:lnTo>
                        <a:lnTo>
                          <a:pt x="34" y="21"/>
                        </a:lnTo>
                        <a:lnTo>
                          <a:pt x="32" y="24"/>
                        </a:lnTo>
                        <a:lnTo>
                          <a:pt x="30" y="26"/>
                        </a:lnTo>
                        <a:lnTo>
                          <a:pt x="18" y="34"/>
                        </a:lnTo>
                        <a:lnTo>
                          <a:pt x="16" y="34"/>
                        </a:lnTo>
                        <a:lnTo>
                          <a:pt x="13" y="34"/>
                        </a:lnTo>
                        <a:lnTo>
                          <a:pt x="11" y="32"/>
                        </a:lnTo>
                        <a:lnTo>
                          <a:pt x="1" y="14"/>
                        </a:lnTo>
                        <a:lnTo>
                          <a:pt x="0" y="11"/>
                        </a:lnTo>
                        <a:lnTo>
                          <a:pt x="1" y="9"/>
                        </a:lnTo>
                        <a:lnTo>
                          <a:pt x="3" y="8"/>
                        </a:lnTo>
                        <a:lnTo>
                          <a:pt x="1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108" name="Freeform 306"/>
                  <p:cNvSpPr>
                    <a:spLocks/>
                  </p:cNvSpPr>
                  <p:nvPr/>
                </p:nvSpPr>
                <p:spPr bwMode="auto">
                  <a:xfrm>
                    <a:off x="3514726" y="1703388"/>
                    <a:ext cx="46038" cy="38100"/>
                  </a:xfrm>
                  <a:custGeom>
                    <a:avLst/>
                    <a:gdLst>
                      <a:gd name="T0" fmla="*/ 0 w 29"/>
                      <a:gd name="T1" fmla="*/ 5 h 24"/>
                      <a:gd name="T2" fmla="*/ 0 w 29"/>
                      <a:gd name="T3" fmla="*/ 1 h 24"/>
                      <a:gd name="T4" fmla="*/ 2 w 29"/>
                      <a:gd name="T5" fmla="*/ 0 h 24"/>
                      <a:gd name="T6" fmla="*/ 5 w 29"/>
                      <a:gd name="T7" fmla="*/ 0 h 24"/>
                      <a:gd name="T8" fmla="*/ 24 w 29"/>
                      <a:gd name="T9" fmla="*/ 0 h 24"/>
                      <a:gd name="T10" fmla="*/ 27 w 29"/>
                      <a:gd name="T11" fmla="*/ 0 h 24"/>
                      <a:gd name="T12" fmla="*/ 29 w 29"/>
                      <a:gd name="T13" fmla="*/ 1 h 24"/>
                      <a:gd name="T14" fmla="*/ 29 w 29"/>
                      <a:gd name="T15" fmla="*/ 5 h 24"/>
                      <a:gd name="T16" fmla="*/ 29 w 29"/>
                      <a:gd name="T17" fmla="*/ 19 h 24"/>
                      <a:gd name="T18" fmla="*/ 29 w 29"/>
                      <a:gd name="T19" fmla="*/ 22 h 24"/>
                      <a:gd name="T20" fmla="*/ 27 w 29"/>
                      <a:gd name="T21" fmla="*/ 24 h 24"/>
                      <a:gd name="T22" fmla="*/ 24 w 29"/>
                      <a:gd name="T23" fmla="*/ 24 h 24"/>
                      <a:gd name="T24" fmla="*/ 5 w 29"/>
                      <a:gd name="T25" fmla="*/ 24 h 24"/>
                      <a:gd name="T26" fmla="*/ 2 w 29"/>
                      <a:gd name="T27" fmla="*/ 24 h 24"/>
                      <a:gd name="T28" fmla="*/ 0 w 29"/>
                      <a:gd name="T29" fmla="*/ 22 h 24"/>
                      <a:gd name="T30" fmla="*/ 0 w 29"/>
                      <a:gd name="T31" fmla="*/ 19 h 24"/>
                      <a:gd name="T32" fmla="*/ 0 w 29"/>
                      <a:gd name="T3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4">
                        <a:moveTo>
                          <a:pt x="0" y="5"/>
                        </a:moveTo>
                        <a:lnTo>
                          <a:pt x="0" y="1"/>
                        </a:lnTo>
                        <a:lnTo>
                          <a:pt x="2" y="0"/>
                        </a:lnTo>
                        <a:lnTo>
                          <a:pt x="5" y="0"/>
                        </a:lnTo>
                        <a:lnTo>
                          <a:pt x="24" y="0"/>
                        </a:lnTo>
                        <a:lnTo>
                          <a:pt x="27" y="0"/>
                        </a:lnTo>
                        <a:lnTo>
                          <a:pt x="29" y="1"/>
                        </a:lnTo>
                        <a:lnTo>
                          <a:pt x="29" y="5"/>
                        </a:lnTo>
                        <a:lnTo>
                          <a:pt x="29" y="19"/>
                        </a:lnTo>
                        <a:lnTo>
                          <a:pt x="29" y="22"/>
                        </a:lnTo>
                        <a:lnTo>
                          <a:pt x="27" y="24"/>
                        </a:lnTo>
                        <a:lnTo>
                          <a:pt x="24" y="24"/>
                        </a:lnTo>
                        <a:lnTo>
                          <a:pt x="5" y="24"/>
                        </a:lnTo>
                        <a:lnTo>
                          <a:pt x="2" y="24"/>
                        </a:lnTo>
                        <a:lnTo>
                          <a:pt x="0" y="22"/>
                        </a:lnTo>
                        <a:lnTo>
                          <a:pt x="0" y="19"/>
                        </a:lnTo>
                        <a:lnTo>
                          <a:pt x="0" y="5"/>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109" name="Freeform 307"/>
                  <p:cNvSpPr>
                    <a:spLocks/>
                  </p:cNvSpPr>
                  <p:nvPr/>
                </p:nvSpPr>
                <p:spPr bwMode="auto">
                  <a:xfrm>
                    <a:off x="3581401" y="1652588"/>
                    <a:ext cx="53975" cy="52388"/>
                  </a:xfrm>
                  <a:custGeom>
                    <a:avLst/>
                    <a:gdLst>
                      <a:gd name="T0" fmla="*/ 3 w 34"/>
                      <a:gd name="T1" fmla="*/ 25 h 33"/>
                      <a:gd name="T2" fmla="*/ 0 w 34"/>
                      <a:gd name="T3" fmla="*/ 24 h 33"/>
                      <a:gd name="T4" fmla="*/ 0 w 34"/>
                      <a:gd name="T5" fmla="*/ 21 h 33"/>
                      <a:gd name="T6" fmla="*/ 0 w 34"/>
                      <a:gd name="T7" fmla="*/ 19 h 33"/>
                      <a:gd name="T8" fmla="*/ 11 w 34"/>
                      <a:gd name="T9" fmla="*/ 1 h 33"/>
                      <a:gd name="T10" fmla="*/ 13 w 34"/>
                      <a:gd name="T11" fmla="*/ 0 h 33"/>
                      <a:gd name="T12" fmla="*/ 14 w 34"/>
                      <a:gd name="T13" fmla="*/ 0 h 33"/>
                      <a:gd name="T14" fmla="*/ 18 w 34"/>
                      <a:gd name="T15" fmla="*/ 0 h 33"/>
                      <a:gd name="T16" fmla="*/ 30 w 34"/>
                      <a:gd name="T17" fmla="*/ 8 h 33"/>
                      <a:gd name="T18" fmla="*/ 32 w 34"/>
                      <a:gd name="T19" fmla="*/ 9 h 33"/>
                      <a:gd name="T20" fmla="*/ 34 w 34"/>
                      <a:gd name="T21" fmla="*/ 11 h 33"/>
                      <a:gd name="T22" fmla="*/ 32 w 34"/>
                      <a:gd name="T23" fmla="*/ 14 h 33"/>
                      <a:gd name="T24" fmla="*/ 22 w 34"/>
                      <a:gd name="T25" fmla="*/ 32 h 33"/>
                      <a:gd name="T26" fmla="*/ 21 w 34"/>
                      <a:gd name="T27" fmla="*/ 33 h 33"/>
                      <a:gd name="T28" fmla="*/ 18 w 34"/>
                      <a:gd name="T29" fmla="*/ 33 h 33"/>
                      <a:gd name="T30" fmla="*/ 16 w 34"/>
                      <a:gd name="T31" fmla="*/ 33 h 33"/>
                      <a:gd name="T32" fmla="*/ 3 w 34"/>
                      <a:gd name="T3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3">
                        <a:moveTo>
                          <a:pt x="3" y="25"/>
                        </a:moveTo>
                        <a:lnTo>
                          <a:pt x="0" y="24"/>
                        </a:lnTo>
                        <a:lnTo>
                          <a:pt x="0" y="21"/>
                        </a:lnTo>
                        <a:lnTo>
                          <a:pt x="0" y="19"/>
                        </a:lnTo>
                        <a:lnTo>
                          <a:pt x="11" y="1"/>
                        </a:lnTo>
                        <a:lnTo>
                          <a:pt x="13" y="0"/>
                        </a:lnTo>
                        <a:lnTo>
                          <a:pt x="14" y="0"/>
                        </a:lnTo>
                        <a:lnTo>
                          <a:pt x="18" y="0"/>
                        </a:lnTo>
                        <a:lnTo>
                          <a:pt x="30" y="8"/>
                        </a:lnTo>
                        <a:lnTo>
                          <a:pt x="32" y="9"/>
                        </a:lnTo>
                        <a:lnTo>
                          <a:pt x="34" y="11"/>
                        </a:lnTo>
                        <a:lnTo>
                          <a:pt x="32" y="14"/>
                        </a:lnTo>
                        <a:lnTo>
                          <a:pt x="22" y="32"/>
                        </a:lnTo>
                        <a:lnTo>
                          <a:pt x="21" y="33"/>
                        </a:lnTo>
                        <a:lnTo>
                          <a:pt x="18" y="33"/>
                        </a:lnTo>
                        <a:lnTo>
                          <a:pt x="16" y="33"/>
                        </a:lnTo>
                        <a:lnTo>
                          <a:pt x="3" y="25"/>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110" name="Freeform 308"/>
                  <p:cNvSpPr>
                    <a:spLocks/>
                  </p:cNvSpPr>
                  <p:nvPr/>
                </p:nvSpPr>
                <p:spPr bwMode="auto">
                  <a:xfrm>
                    <a:off x="3578226" y="1568450"/>
                    <a:ext cx="50800" cy="55563"/>
                  </a:xfrm>
                  <a:custGeom>
                    <a:avLst/>
                    <a:gdLst>
                      <a:gd name="T0" fmla="*/ 18 w 32"/>
                      <a:gd name="T1" fmla="*/ 35 h 35"/>
                      <a:gd name="T2" fmla="*/ 15 w 32"/>
                      <a:gd name="T3" fmla="*/ 35 h 35"/>
                      <a:gd name="T4" fmla="*/ 13 w 32"/>
                      <a:gd name="T5" fmla="*/ 35 h 35"/>
                      <a:gd name="T6" fmla="*/ 12 w 32"/>
                      <a:gd name="T7" fmla="*/ 32 h 35"/>
                      <a:gd name="T8" fmla="*/ 0 w 32"/>
                      <a:gd name="T9" fmla="*/ 16 h 35"/>
                      <a:gd name="T10" fmla="*/ 0 w 32"/>
                      <a:gd name="T11" fmla="*/ 12 h 35"/>
                      <a:gd name="T12" fmla="*/ 0 w 32"/>
                      <a:gd name="T13" fmla="*/ 11 h 35"/>
                      <a:gd name="T14" fmla="*/ 2 w 32"/>
                      <a:gd name="T15" fmla="*/ 9 h 35"/>
                      <a:gd name="T16" fmla="*/ 16 w 32"/>
                      <a:gd name="T17" fmla="*/ 1 h 35"/>
                      <a:gd name="T18" fmla="*/ 18 w 32"/>
                      <a:gd name="T19" fmla="*/ 0 h 35"/>
                      <a:gd name="T20" fmla="*/ 21 w 32"/>
                      <a:gd name="T21" fmla="*/ 1 h 35"/>
                      <a:gd name="T22" fmla="*/ 23 w 32"/>
                      <a:gd name="T23" fmla="*/ 3 h 35"/>
                      <a:gd name="T24" fmla="*/ 32 w 32"/>
                      <a:gd name="T25" fmla="*/ 20 h 35"/>
                      <a:gd name="T26" fmla="*/ 32 w 32"/>
                      <a:gd name="T27" fmla="*/ 22 h 35"/>
                      <a:gd name="T28" fmla="*/ 32 w 32"/>
                      <a:gd name="T29" fmla="*/ 25 h 35"/>
                      <a:gd name="T30" fmla="*/ 31 w 32"/>
                      <a:gd name="T31" fmla="*/ 27 h 35"/>
                      <a:gd name="T32" fmla="*/ 18 w 32"/>
                      <a:gd name="T3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35">
                        <a:moveTo>
                          <a:pt x="18" y="35"/>
                        </a:moveTo>
                        <a:lnTo>
                          <a:pt x="15" y="35"/>
                        </a:lnTo>
                        <a:lnTo>
                          <a:pt x="13" y="35"/>
                        </a:lnTo>
                        <a:lnTo>
                          <a:pt x="12" y="32"/>
                        </a:lnTo>
                        <a:lnTo>
                          <a:pt x="0" y="16"/>
                        </a:lnTo>
                        <a:lnTo>
                          <a:pt x="0" y="12"/>
                        </a:lnTo>
                        <a:lnTo>
                          <a:pt x="0" y="11"/>
                        </a:lnTo>
                        <a:lnTo>
                          <a:pt x="2" y="9"/>
                        </a:lnTo>
                        <a:lnTo>
                          <a:pt x="16" y="1"/>
                        </a:lnTo>
                        <a:lnTo>
                          <a:pt x="18" y="0"/>
                        </a:lnTo>
                        <a:lnTo>
                          <a:pt x="21" y="1"/>
                        </a:lnTo>
                        <a:lnTo>
                          <a:pt x="23" y="3"/>
                        </a:lnTo>
                        <a:lnTo>
                          <a:pt x="32" y="20"/>
                        </a:lnTo>
                        <a:lnTo>
                          <a:pt x="32" y="22"/>
                        </a:lnTo>
                        <a:lnTo>
                          <a:pt x="32" y="25"/>
                        </a:lnTo>
                        <a:lnTo>
                          <a:pt x="31" y="27"/>
                        </a:lnTo>
                        <a:lnTo>
                          <a:pt x="18" y="35"/>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111" name="Freeform 309"/>
                  <p:cNvSpPr>
                    <a:spLocks noEditPoints="1"/>
                  </p:cNvSpPr>
                  <p:nvPr/>
                </p:nvSpPr>
                <p:spPr bwMode="auto">
                  <a:xfrm>
                    <a:off x="3460751" y="1565275"/>
                    <a:ext cx="149225" cy="147638"/>
                  </a:xfrm>
                  <a:custGeom>
                    <a:avLst/>
                    <a:gdLst>
                      <a:gd name="T0" fmla="*/ 47 w 94"/>
                      <a:gd name="T1" fmla="*/ 0 h 93"/>
                      <a:gd name="T2" fmla="*/ 29 w 94"/>
                      <a:gd name="T3" fmla="*/ 5 h 93"/>
                      <a:gd name="T4" fmla="*/ 13 w 94"/>
                      <a:gd name="T5" fmla="*/ 14 h 93"/>
                      <a:gd name="T6" fmla="*/ 4 w 94"/>
                      <a:gd name="T7" fmla="*/ 29 h 93"/>
                      <a:gd name="T8" fmla="*/ 0 w 94"/>
                      <a:gd name="T9" fmla="*/ 47 h 93"/>
                      <a:gd name="T10" fmla="*/ 4 w 94"/>
                      <a:gd name="T11" fmla="*/ 64 h 93"/>
                      <a:gd name="T12" fmla="*/ 13 w 94"/>
                      <a:gd name="T13" fmla="*/ 80 h 93"/>
                      <a:gd name="T14" fmla="*/ 29 w 94"/>
                      <a:gd name="T15" fmla="*/ 90 h 93"/>
                      <a:gd name="T16" fmla="*/ 47 w 94"/>
                      <a:gd name="T17" fmla="*/ 93 h 93"/>
                      <a:gd name="T18" fmla="*/ 65 w 94"/>
                      <a:gd name="T19" fmla="*/ 90 h 93"/>
                      <a:gd name="T20" fmla="*/ 79 w 94"/>
                      <a:gd name="T21" fmla="*/ 80 h 93"/>
                      <a:gd name="T22" fmla="*/ 89 w 94"/>
                      <a:gd name="T23" fmla="*/ 64 h 93"/>
                      <a:gd name="T24" fmla="*/ 94 w 94"/>
                      <a:gd name="T25" fmla="*/ 47 h 93"/>
                      <a:gd name="T26" fmla="*/ 89 w 94"/>
                      <a:gd name="T27" fmla="*/ 29 h 93"/>
                      <a:gd name="T28" fmla="*/ 79 w 94"/>
                      <a:gd name="T29" fmla="*/ 14 h 93"/>
                      <a:gd name="T30" fmla="*/ 65 w 94"/>
                      <a:gd name="T31" fmla="*/ 5 h 93"/>
                      <a:gd name="T32" fmla="*/ 47 w 94"/>
                      <a:gd name="T33" fmla="*/ 0 h 93"/>
                      <a:gd name="T34" fmla="*/ 47 w 94"/>
                      <a:gd name="T35" fmla="*/ 69 h 93"/>
                      <a:gd name="T36" fmla="*/ 41 w 94"/>
                      <a:gd name="T37" fmla="*/ 67 h 93"/>
                      <a:gd name="T38" fmla="*/ 34 w 94"/>
                      <a:gd name="T39" fmla="*/ 64 h 93"/>
                      <a:gd name="T40" fmla="*/ 29 w 94"/>
                      <a:gd name="T41" fmla="*/ 59 h 93"/>
                      <a:gd name="T42" fmla="*/ 26 w 94"/>
                      <a:gd name="T43" fmla="*/ 55 h 93"/>
                      <a:gd name="T44" fmla="*/ 24 w 94"/>
                      <a:gd name="T45" fmla="*/ 47 h 93"/>
                      <a:gd name="T46" fmla="*/ 26 w 94"/>
                      <a:gd name="T47" fmla="*/ 40 h 93"/>
                      <a:gd name="T48" fmla="*/ 29 w 94"/>
                      <a:gd name="T49" fmla="*/ 34 h 93"/>
                      <a:gd name="T50" fmla="*/ 34 w 94"/>
                      <a:gd name="T51" fmla="*/ 29 h 93"/>
                      <a:gd name="T52" fmla="*/ 41 w 94"/>
                      <a:gd name="T53" fmla="*/ 26 h 93"/>
                      <a:gd name="T54" fmla="*/ 47 w 94"/>
                      <a:gd name="T55" fmla="*/ 24 h 93"/>
                      <a:gd name="T56" fmla="*/ 53 w 94"/>
                      <a:gd name="T57" fmla="*/ 26 h 93"/>
                      <a:gd name="T58" fmla="*/ 60 w 94"/>
                      <a:gd name="T59" fmla="*/ 29 h 93"/>
                      <a:gd name="T60" fmla="*/ 65 w 94"/>
                      <a:gd name="T61" fmla="*/ 34 h 93"/>
                      <a:gd name="T62" fmla="*/ 68 w 94"/>
                      <a:gd name="T63" fmla="*/ 40 h 93"/>
                      <a:gd name="T64" fmla="*/ 69 w 94"/>
                      <a:gd name="T65" fmla="*/ 47 h 93"/>
                      <a:gd name="T66" fmla="*/ 68 w 94"/>
                      <a:gd name="T67" fmla="*/ 55 h 93"/>
                      <a:gd name="T68" fmla="*/ 65 w 94"/>
                      <a:gd name="T69" fmla="*/ 59 h 93"/>
                      <a:gd name="T70" fmla="*/ 60 w 94"/>
                      <a:gd name="T71" fmla="*/ 64 h 93"/>
                      <a:gd name="T72" fmla="*/ 53 w 94"/>
                      <a:gd name="T73" fmla="*/ 67 h 93"/>
                      <a:gd name="T74" fmla="*/ 47 w 94"/>
                      <a:gd name="T75" fmla="*/ 6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4" h="93">
                        <a:moveTo>
                          <a:pt x="47" y="0"/>
                        </a:moveTo>
                        <a:lnTo>
                          <a:pt x="29" y="5"/>
                        </a:lnTo>
                        <a:lnTo>
                          <a:pt x="13" y="14"/>
                        </a:lnTo>
                        <a:lnTo>
                          <a:pt x="4" y="29"/>
                        </a:lnTo>
                        <a:lnTo>
                          <a:pt x="0" y="47"/>
                        </a:lnTo>
                        <a:lnTo>
                          <a:pt x="4" y="64"/>
                        </a:lnTo>
                        <a:lnTo>
                          <a:pt x="13" y="80"/>
                        </a:lnTo>
                        <a:lnTo>
                          <a:pt x="29" y="90"/>
                        </a:lnTo>
                        <a:lnTo>
                          <a:pt x="47" y="93"/>
                        </a:lnTo>
                        <a:lnTo>
                          <a:pt x="65" y="90"/>
                        </a:lnTo>
                        <a:lnTo>
                          <a:pt x="79" y="80"/>
                        </a:lnTo>
                        <a:lnTo>
                          <a:pt x="89" y="64"/>
                        </a:lnTo>
                        <a:lnTo>
                          <a:pt x="94" y="47"/>
                        </a:lnTo>
                        <a:lnTo>
                          <a:pt x="89" y="29"/>
                        </a:lnTo>
                        <a:lnTo>
                          <a:pt x="79" y="14"/>
                        </a:lnTo>
                        <a:lnTo>
                          <a:pt x="65" y="5"/>
                        </a:lnTo>
                        <a:lnTo>
                          <a:pt x="47" y="0"/>
                        </a:lnTo>
                        <a:close/>
                        <a:moveTo>
                          <a:pt x="47" y="69"/>
                        </a:moveTo>
                        <a:lnTo>
                          <a:pt x="41" y="67"/>
                        </a:lnTo>
                        <a:lnTo>
                          <a:pt x="34" y="64"/>
                        </a:lnTo>
                        <a:lnTo>
                          <a:pt x="29" y="59"/>
                        </a:lnTo>
                        <a:lnTo>
                          <a:pt x="26" y="55"/>
                        </a:lnTo>
                        <a:lnTo>
                          <a:pt x="24" y="47"/>
                        </a:lnTo>
                        <a:lnTo>
                          <a:pt x="26" y="40"/>
                        </a:lnTo>
                        <a:lnTo>
                          <a:pt x="29" y="34"/>
                        </a:lnTo>
                        <a:lnTo>
                          <a:pt x="34" y="29"/>
                        </a:lnTo>
                        <a:lnTo>
                          <a:pt x="41" y="26"/>
                        </a:lnTo>
                        <a:lnTo>
                          <a:pt x="47" y="24"/>
                        </a:lnTo>
                        <a:lnTo>
                          <a:pt x="53" y="26"/>
                        </a:lnTo>
                        <a:lnTo>
                          <a:pt x="60" y="29"/>
                        </a:lnTo>
                        <a:lnTo>
                          <a:pt x="65" y="34"/>
                        </a:lnTo>
                        <a:lnTo>
                          <a:pt x="68" y="40"/>
                        </a:lnTo>
                        <a:lnTo>
                          <a:pt x="69" y="47"/>
                        </a:lnTo>
                        <a:lnTo>
                          <a:pt x="68" y="55"/>
                        </a:lnTo>
                        <a:lnTo>
                          <a:pt x="65" y="59"/>
                        </a:lnTo>
                        <a:lnTo>
                          <a:pt x="60" y="64"/>
                        </a:lnTo>
                        <a:lnTo>
                          <a:pt x="53" y="67"/>
                        </a:lnTo>
                        <a:lnTo>
                          <a:pt x="47" y="69"/>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grpSp>
            <p:grpSp>
              <p:nvGrpSpPr>
                <p:cNvPr id="86" name="Group 284"/>
                <p:cNvGrpSpPr/>
                <p:nvPr/>
              </p:nvGrpSpPr>
              <p:grpSpPr>
                <a:xfrm>
                  <a:off x="6510123" y="2448951"/>
                  <a:ext cx="291025" cy="291020"/>
                  <a:chOff x="2998789" y="1628775"/>
                  <a:chExt cx="512763" cy="512763"/>
                </a:xfrm>
                <a:grpFill/>
              </p:grpSpPr>
              <p:sp>
                <p:nvSpPr>
                  <p:cNvPr id="87" name="Freeform 285"/>
                  <p:cNvSpPr>
                    <a:spLocks noEditPoints="1"/>
                  </p:cNvSpPr>
                  <p:nvPr/>
                </p:nvSpPr>
                <p:spPr bwMode="auto">
                  <a:xfrm>
                    <a:off x="3073401" y="1700213"/>
                    <a:ext cx="365125" cy="369888"/>
                  </a:xfrm>
                  <a:custGeom>
                    <a:avLst/>
                    <a:gdLst>
                      <a:gd name="T0" fmla="*/ 114 w 230"/>
                      <a:gd name="T1" fmla="*/ 233 h 233"/>
                      <a:gd name="T2" fmla="*/ 83 w 230"/>
                      <a:gd name="T3" fmla="*/ 229 h 233"/>
                      <a:gd name="T4" fmla="*/ 56 w 230"/>
                      <a:gd name="T5" fmla="*/ 217 h 233"/>
                      <a:gd name="T6" fmla="*/ 34 w 230"/>
                      <a:gd name="T7" fmla="*/ 198 h 233"/>
                      <a:gd name="T8" fmla="*/ 14 w 230"/>
                      <a:gd name="T9" fmla="*/ 175 h 233"/>
                      <a:gd name="T10" fmla="*/ 3 w 230"/>
                      <a:gd name="T11" fmla="*/ 147 h 233"/>
                      <a:gd name="T12" fmla="*/ 0 w 230"/>
                      <a:gd name="T13" fmla="*/ 116 h 233"/>
                      <a:gd name="T14" fmla="*/ 3 w 230"/>
                      <a:gd name="T15" fmla="*/ 85 h 233"/>
                      <a:gd name="T16" fmla="*/ 14 w 230"/>
                      <a:gd name="T17" fmla="*/ 58 h 233"/>
                      <a:gd name="T18" fmla="*/ 34 w 230"/>
                      <a:gd name="T19" fmla="*/ 34 h 233"/>
                      <a:gd name="T20" fmla="*/ 56 w 230"/>
                      <a:gd name="T21" fmla="*/ 16 h 233"/>
                      <a:gd name="T22" fmla="*/ 83 w 230"/>
                      <a:gd name="T23" fmla="*/ 5 h 233"/>
                      <a:gd name="T24" fmla="*/ 114 w 230"/>
                      <a:gd name="T25" fmla="*/ 0 h 233"/>
                      <a:gd name="T26" fmla="*/ 145 w 230"/>
                      <a:gd name="T27" fmla="*/ 5 h 233"/>
                      <a:gd name="T28" fmla="*/ 172 w 230"/>
                      <a:gd name="T29" fmla="*/ 16 h 233"/>
                      <a:gd name="T30" fmla="*/ 196 w 230"/>
                      <a:gd name="T31" fmla="*/ 34 h 233"/>
                      <a:gd name="T32" fmla="*/ 214 w 230"/>
                      <a:gd name="T33" fmla="*/ 58 h 233"/>
                      <a:gd name="T34" fmla="*/ 225 w 230"/>
                      <a:gd name="T35" fmla="*/ 85 h 233"/>
                      <a:gd name="T36" fmla="*/ 230 w 230"/>
                      <a:gd name="T37" fmla="*/ 116 h 233"/>
                      <a:gd name="T38" fmla="*/ 225 w 230"/>
                      <a:gd name="T39" fmla="*/ 147 h 233"/>
                      <a:gd name="T40" fmla="*/ 214 w 230"/>
                      <a:gd name="T41" fmla="*/ 175 h 233"/>
                      <a:gd name="T42" fmla="*/ 196 w 230"/>
                      <a:gd name="T43" fmla="*/ 198 h 233"/>
                      <a:gd name="T44" fmla="*/ 172 w 230"/>
                      <a:gd name="T45" fmla="*/ 217 h 233"/>
                      <a:gd name="T46" fmla="*/ 145 w 230"/>
                      <a:gd name="T47" fmla="*/ 229 h 233"/>
                      <a:gd name="T48" fmla="*/ 114 w 230"/>
                      <a:gd name="T49" fmla="*/ 233 h 233"/>
                      <a:gd name="T50" fmla="*/ 114 w 230"/>
                      <a:gd name="T51" fmla="*/ 21 h 233"/>
                      <a:gd name="T52" fmla="*/ 85 w 230"/>
                      <a:gd name="T53" fmla="*/ 26 h 233"/>
                      <a:gd name="T54" fmla="*/ 59 w 230"/>
                      <a:gd name="T55" fmla="*/ 39 h 233"/>
                      <a:gd name="T56" fmla="*/ 38 w 230"/>
                      <a:gd name="T57" fmla="*/ 60 h 233"/>
                      <a:gd name="T58" fmla="*/ 26 w 230"/>
                      <a:gd name="T59" fmla="*/ 87 h 233"/>
                      <a:gd name="T60" fmla="*/ 21 w 230"/>
                      <a:gd name="T61" fmla="*/ 116 h 233"/>
                      <a:gd name="T62" fmla="*/ 26 w 230"/>
                      <a:gd name="T63" fmla="*/ 147 h 233"/>
                      <a:gd name="T64" fmla="*/ 38 w 230"/>
                      <a:gd name="T65" fmla="*/ 172 h 233"/>
                      <a:gd name="T66" fmla="*/ 59 w 230"/>
                      <a:gd name="T67" fmla="*/ 193 h 233"/>
                      <a:gd name="T68" fmla="*/ 85 w 230"/>
                      <a:gd name="T69" fmla="*/ 208 h 233"/>
                      <a:gd name="T70" fmla="*/ 114 w 230"/>
                      <a:gd name="T71" fmla="*/ 212 h 233"/>
                      <a:gd name="T72" fmla="*/ 145 w 230"/>
                      <a:gd name="T73" fmla="*/ 208 h 233"/>
                      <a:gd name="T74" fmla="*/ 170 w 230"/>
                      <a:gd name="T75" fmla="*/ 193 h 233"/>
                      <a:gd name="T76" fmla="*/ 190 w 230"/>
                      <a:gd name="T77" fmla="*/ 172 h 233"/>
                      <a:gd name="T78" fmla="*/ 204 w 230"/>
                      <a:gd name="T79" fmla="*/ 147 h 233"/>
                      <a:gd name="T80" fmla="*/ 209 w 230"/>
                      <a:gd name="T81" fmla="*/ 116 h 233"/>
                      <a:gd name="T82" fmla="*/ 204 w 230"/>
                      <a:gd name="T83" fmla="*/ 87 h 233"/>
                      <a:gd name="T84" fmla="*/ 190 w 230"/>
                      <a:gd name="T85" fmla="*/ 60 h 233"/>
                      <a:gd name="T86" fmla="*/ 170 w 230"/>
                      <a:gd name="T87" fmla="*/ 39 h 233"/>
                      <a:gd name="T88" fmla="*/ 145 w 230"/>
                      <a:gd name="T89" fmla="*/ 26 h 233"/>
                      <a:gd name="T90" fmla="*/ 114 w 230"/>
                      <a:gd name="T91" fmla="*/ 2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233">
                        <a:moveTo>
                          <a:pt x="114" y="233"/>
                        </a:moveTo>
                        <a:lnTo>
                          <a:pt x="83" y="229"/>
                        </a:lnTo>
                        <a:lnTo>
                          <a:pt x="56" y="217"/>
                        </a:lnTo>
                        <a:lnTo>
                          <a:pt x="34" y="198"/>
                        </a:lnTo>
                        <a:lnTo>
                          <a:pt x="14" y="175"/>
                        </a:lnTo>
                        <a:lnTo>
                          <a:pt x="3" y="147"/>
                        </a:lnTo>
                        <a:lnTo>
                          <a:pt x="0" y="116"/>
                        </a:lnTo>
                        <a:lnTo>
                          <a:pt x="3" y="85"/>
                        </a:lnTo>
                        <a:lnTo>
                          <a:pt x="14" y="58"/>
                        </a:lnTo>
                        <a:lnTo>
                          <a:pt x="34" y="34"/>
                        </a:lnTo>
                        <a:lnTo>
                          <a:pt x="56" y="16"/>
                        </a:lnTo>
                        <a:lnTo>
                          <a:pt x="83" y="5"/>
                        </a:lnTo>
                        <a:lnTo>
                          <a:pt x="114" y="0"/>
                        </a:lnTo>
                        <a:lnTo>
                          <a:pt x="145" y="5"/>
                        </a:lnTo>
                        <a:lnTo>
                          <a:pt x="172" y="16"/>
                        </a:lnTo>
                        <a:lnTo>
                          <a:pt x="196" y="34"/>
                        </a:lnTo>
                        <a:lnTo>
                          <a:pt x="214" y="58"/>
                        </a:lnTo>
                        <a:lnTo>
                          <a:pt x="225" y="85"/>
                        </a:lnTo>
                        <a:lnTo>
                          <a:pt x="230" y="116"/>
                        </a:lnTo>
                        <a:lnTo>
                          <a:pt x="225" y="147"/>
                        </a:lnTo>
                        <a:lnTo>
                          <a:pt x="214" y="175"/>
                        </a:lnTo>
                        <a:lnTo>
                          <a:pt x="196" y="198"/>
                        </a:lnTo>
                        <a:lnTo>
                          <a:pt x="172" y="217"/>
                        </a:lnTo>
                        <a:lnTo>
                          <a:pt x="145" y="229"/>
                        </a:lnTo>
                        <a:lnTo>
                          <a:pt x="114" y="233"/>
                        </a:lnTo>
                        <a:close/>
                        <a:moveTo>
                          <a:pt x="114" y="21"/>
                        </a:moveTo>
                        <a:lnTo>
                          <a:pt x="85" y="26"/>
                        </a:lnTo>
                        <a:lnTo>
                          <a:pt x="59" y="39"/>
                        </a:lnTo>
                        <a:lnTo>
                          <a:pt x="38" y="60"/>
                        </a:lnTo>
                        <a:lnTo>
                          <a:pt x="26" y="87"/>
                        </a:lnTo>
                        <a:lnTo>
                          <a:pt x="21" y="116"/>
                        </a:lnTo>
                        <a:lnTo>
                          <a:pt x="26" y="147"/>
                        </a:lnTo>
                        <a:lnTo>
                          <a:pt x="38" y="172"/>
                        </a:lnTo>
                        <a:lnTo>
                          <a:pt x="59" y="193"/>
                        </a:lnTo>
                        <a:lnTo>
                          <a:pt x="85" y="208"/>
                        </a:lnTo>
                        <a:lnTo>
                          <a:pt x="114" y="212"/>
                        </a:lnTo>
                        <a:lnTo>
                          <a:pt x="145" y="208"/>
                        </a:lnTo>
                        <a:lnTo>
                          <a:pt x="170" y="193"/>
                        </a:lnTo>
                        <a:lnTo>
                          <a:pt x="190" y="172"/>
                        </a:lnTo>
                        <a:lnTo>
                          <a:pt x="204" y="147"/>
                        </a:lnTo>
                        <a:lnTo>
                          <a:pt x="209" y="116"/>
                        </a:lnTo>
                        <a:lnTo>
                          <a:pt x="204" y="87"/>
                        </a:lnTo>
                        <a:lnTo>
                          <a:pt x="190" y="60"/>
                        </a:lnTo>
                        <a:lnTo>
                          <a:pt x="170" y="39"/>
                        </a:lnTo>
                        <a:lnTo>
                          <a:pt x="145" y="26"/>
                        </a:lnTo>
                        <a:lnTo>
                          <a:pt x="114" y="2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88" name="Freeform 286"/>
                  <p:cNvSpPr>
                    <a:spLocks noEditPoints="1"/>
                  </p:cNvSpPr>
                  <p:nvPr/>
                </p:nvSpPr>
                <p:spPr bwMode="auto">
                  <a:xfrm>
                    <a:off x="3170239" y="1704975"/>
                    <a:ext cx="171450" cy="360363"/>
                  </a:xfrm>
                  <a:custGeom>
                    <a:avLst/>
                    <a:gdLst>
                      <a:gd name="T0" fmla="*/ 53 w 108"/>
                      <a:gd name="T1" fmla="*/ 227 h 227"/>
                      <a:gd name="T2" fmla="*/ 39 w 108"/>
                      <a:gd name="T3" fmla="*/ 222 h 227"/>
                      <a:gd name="T4" fmla="*/ 26 w 108"/>
                      <a:gd name="T5" fmla="*/ 211 h 227"/>
                      <a:gd name="T6" fmla="*/ 14 w 108"/>
                      <a:gd name="T7" fmla="*/ 195 h 227"/>
                      <a:gd name="T8" fmla="*/ 6 w 108"/>
                      <a:gd name="T9" fmla="*/ 171 h 227"/>
                      <a:gd name="T10" fmla="*/ 2 w 108"/>
                      <a:gd name="T11" fmla="*/ 144 h 227"/>
                      <a:gd name="T12" fmla="*/ 0 w 108"/>
                      <a:gd name="T13" fmla="*/ 113 h 227"/>
                      <a:gd name="T14" fmla="*/ 2 w 108"/>
                      <a:gd name="T15" fmla="*/ 82 h 227"/>
                      <a:gd name="T16" fmla="*/ 6 w 108"/>
                      <a:gd name="T17" fmla="*/ 55 h 227"/>
                      <a:gd name="T18" fmla="*/ 14 w 108"/>
                      <a:gd name="T19" fmla="*/ 33 h 227"/>
                      <a:gd name="T20" fmla="*/ 26 w 108"/>
                      <a:gd name="T21" fmla="*/ 15 h 227"/>
                      <a:gd name="T22" fmla="*/ 39 w 108"/>
                      <a:gd name="T23" fmla="*/ 4 h 227"/>
                      <a:gd name="T24" fmla="*/ 53 w 108"/>
                      <a:gd name="T25" fmla="*/ 0 h 227"/>
                      <a:gd name="T26" fmla="*/ 67 w 108"/>
                      <a:gd name="T27" fmla="*/ 4 h 227"/>
                      <a:gd name="T28" fmla="*/ 80 w 108"/>
                      <a:gd name="T29" fmla="*/ 15 h 227"/>
                      <a:gd name="T30" fmla="*/ 92 w 108"/>
                      <a:gd name="T31" fmla="*/ 33 h 227"/>
                      <a:gd name="T32" fmla="*/ 100 w 108"/>
                      <a:gd name="T33" fmla="*/ 55 h 227"/>
                      <a:gd name="T34" fmla="*/ 106 w 108"/>
                      <a:gd name="T35" fmla="*/ 82 h 227"/>
                      <a:gd name="T36" fmla="*/ 108 w 108"/>
                      <a:gd name="T37" fmla="*/ 113 h 227"/>
                      <a:gd name="T38" fmla="*/ 106 w 108"/>
                      <a:gd name="T39" fmla="*/ 144 h 227"/>
                      <a:gd name="T40" fmla="*/ 100 w 108"/>
                      <a:gd name="T41" fmla="*/ 171 h 227"/>
                      <a:gd name="T42" fmla="*/ 92 w 108"/>
                      <a:gd name="T43" fmla="*/ 195 h 227"/>
                      <a:gd name="T44" fmla="*/ 80 w 108"/>
                      <a:gd name="T45" fmla="*/ 211 h 227"/>
                      <a:gd name="T46" fmla="*/ 67 w 108"/>
                      <a:gd name="T47" fmla="*/ 222 h 227"/>
                      <a:gd name="T48" fmla="*/ 53 w 108"/>
                      <a:gd name="T49" fmla="*/ 227 h 227"/>
                      <a:gd name="T50" fmla="*/ 53 w 108"/>
                      <a:gd name="T51" fmla="*/ 21 h 227"/>
                      <a:gd name="T52" fmla="*/ 45 w 108"/>
                      <a:gd name="T53" fmla="*/ 24 h 227"/>
                      <a:gd name="T54" fmla="*/ 35 w 108"/>
                      <a:gd name="T55" fmla="*/ 37 h 227"/>
                      <a:gd name="T56" fmla="*/ 27 w 108"/>
                      <a:gd name="T57" fmla="*/ 57 h 227"/>
                      <a:gd name="T58" fmla="*/ 22 w 108"/>
                      <a:gd name="T59" fmla="*/ 82 h 227"/>
                      <a:gd name="T60" fmla="*/ 21 w 108"/>
                      <a:gd name="T61" fmla="*/ 113 h 227"/>
                      <a:gd name="T62" fmla="*/ 22 w 108"/>
                      <a:gd name="T63" fmla="*/ 145 h 227"/>
                      <a:gd name="T64" fmla="*/ 27 w 108"/>
                      <a:gd name="T65" fmla="*/ 171 h 227"/>
                      <a:gd name="T66" fmla="*/ 35 w 108"/>
                      <a:gd name="T67" fmla="*/ 190 h 227"/>
                      <a:gd name="T68" fmla="*/ 45 w 108"/>
                      <a:gd name="T69" fmla="*/ 201 h 227"/>
                      <a:gd name="T70" fmla="*/ 53 w 108"/>
                      <a:gd name="T71" fmla="*/ 206 h 227"/>
                      <a:gd name="T72" fmla="*/ 63 w 108"/>
                      <a:gd name="T73" fmla="*/ 201 h 227"/>
                      <a:gd name="T74" fmla="*/ 71 w 108"/>
                      <a:gd name="T75" fmla="*/ 190 h 227"/>
                      <a:gd name="T76" fmla="*/ 79 w 108"/>
                      <a:gd name="T77" fmla="*/ 171 h 227"/>
                      <a:gd name="T78" fmla="*/ 84 w 108"/>
                      <a:gd name="T79" fmla="*/ 145 h 227"/>
                      <a:gd name="T80" fmla="*/ 87 w 108"/>
                      <a:gd name="T81" fmla="*/ 113 h 227"/>
                      <a:gd name="T82" fmla="*/ 84 w 108"/>
                      <a:gd name="T83" fmla="*/ 82 h 227"/>
                      <a:gd name="T84" fmla="*/ 79 w 108"/>
                      <a:gd name="T85" fmla="*/ 57 h 227"/>
                      <a:gd name="T86" fmla="*/ 71 w 108"/>
                      <a:gd name="T87" fmla="*/ 37 h 227"/>
                      <a:gd name="T88" fmla="*/ 63 w 108"/>
                      <a:gd name="T89" fmla="*/ 24 h 227"/>
                      <a:gd name="T90" fmla="*/ 53 w 108"/>
                      <a:gd name="T91" fmla="*/ 2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 h="227">
                        <a:moveTo>
                          <a:pt x="53" y="227"/>
                        </a:moveTo>
                        <a:lnTo>
                          <a:pt x="39" y="222"/>
                        </a:lnTo>
                        <a:lnTo>
                          <a:pt x="26" y="211"/>
                        </a:lnTo>
                        <a:lnTo>
                          <a:pt x="14" y="195"/>
                        </a:lnTo>
                        <a:lnTo>
                          <a:pt x="6" y="171"/>
                        </a:lnTo>
                        <a:lnTo>
                          <a:pt x="2" y="144"/>
                        </a:lnTo>
                        <a:lnTo>
                          <a:pt x="0" y="113"/>
                        </a:lnTo>
                        <a:lnTo>
                          <a:pt x="2" y="82"/>
                        </a:lnTo>
                        <a:lnTo>
                          <a:pt x="6" y="55"/>
                        </a:lnTo>
                        <a:lnTo>
                          <a:pt x="14" y="33"/>
                        </a:lnTo>
                        <a:lnTo>
                          <a:pt x="26" y="15"/>
                        </a:lnTo>
                        <a:lnTo>
                          <a:pt x="39" y="4"/>
                        </a:lnTo>
                        <a:lnTo>
                          <a:pt x="53" y="0"/>
                        </a:lnTo>
                        <a:lnTo>
                          <a:pt x="67" y="4"/>
                        </a:lnTo>
                        <a:lnTo>
                          <a:pt x="80" y="15"/>
                        </a:lnTo>
                        <a:lnTo>
                          <a:pt x="92" y="33"/>
                        </a:lnTo>
                        <a:lnTo>
                          <a:pt x="100" y="55"/>
                        </a:lnTo>
                        <a:lnTo>
                          <a:pt x="106" y="82"/>
                        </a:lnTo>
                        <a:lnTo>
                          <a:pt x="108" y="113"/>
                        </a:lnTo>
                        <a:lnTo>
                          <a:pt x="106" y="144"/>
                        </a:lnTo>
                        <a:lnTo>
                          <a:pt x="100" y="171"/>
                        </a:lnTo>
                        <a:lnTo>
                          <a:pt x="92" y="195"/>
                        </a:lnTo>
                        <a:lnTo>
                          <a:pt x="80" y="211"/>
                        </a:lnTo>
                        <a:lnTo>
                          <a:pt x="67" y="222"/>
                        </a:lnTo>
                        <a:lnTo>
                          <a:pt x="53" y="227"/>
                        </a:lnTo>
                        <a:close/>
                        <a:moveTo>
                          <a:pt x="53" y="21"/>
                        </a:moveTo>
                        <a:lnTo>
                          <a:pt x="45" y="24"/>
                        </a:lnTo>
                        <a:lnTo>
                          <a:pt x="35" y="37"/>
                        </a:lnTo>
                        <a:lnTo>
                          <a:pt x="27" y="57"/>
                        </a:lnTo>
                        <a:lnTo>
                          <a:pt x="22" y="82"/>
                        </a:lnTo>
                        <a:lnTo>
                          <a:pt x="21" y="113"/>
                        </a:lnTo>
                        <a:lnTo>
                          <a:pt x="22" y="145"/>
                        </a:lnTo>
                        <a:lnTo>
                          <a:pt x="27" y="171"/>
                        </a:lnTo>
                        <a:lnTo>
                          <a:pt x="35" y="190"/>
                        </a:lnTo>
                        <a:lnTo>
                          <a:pt x="45" y="201"/>
                        </a:lnTo>
                        <a:lnTo>
                          <a:pt x="53" y="206"/>
                        </a:lnTo>
                        <a:lnTo>
                          <a:pt x="63" y="201"/>
                        </a:lnTo>
                        <a:lnTo>
                          <a:pt x="71" y="190"/>
                        </a:lnTo>
                        <a:lnTo>
                          <a:pt x="79" y="171"/>
                        </a:lnTo>
                        <a:lnTo>
                          <a:pt x="84" y="145"/>
                        </a:lnTo>
                        <a:lnTo>
                          <a:pt x="87" y="113"/>
                        </a:lnTo>
                        <a:lnTo>
                          <a:pt x="84" y="82"/>
                        </a:lnTo>
                        <a:lnTo>
                          <a:pt x="79" y="57"/>
                        </a:lnTo>
                        <a:lnTo>
                          <a:pt x="71" y="37"/>
                        </a:lnTo>
                        <a:lnTo>
                          <a:pt x="63" y="24"/>
                        </a:lnTo>
                        <a:lnTo>
                          <a:pt x="53" y="2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89" name="Freeform 287"/>
                  <p:cNvSpPr>
                    <a:spLocks/>
                  </p:cNvSpPr>
                  <p:nvPr/>
                </p:nvSpPr>
                <p:spPr bwMode="auto">
                  <a:xfrm>
                    <a:off x="3073401" y="1868488"/>
                    <a:ext cx="365125" cy="33338"/>
                  </a:xfrm>
                  <a:custGeom>
                    <a:avLst/>
                    <a:gdLst>
                      <a:gd name="T0" fmla="*/ 219 w 230"/>
                      <a:gd name="T1" fmla="*/ 21 h 21"/>
                      <a:gd name="T2" fmla="*/ 9 w 230"/>
                      <a:gd name="T3" fmla="*/ 21 h 21"/>
                      <a:gd name="T4" fmla="*/ 6 w 230"/>
                      <a:gd name="T5" fmla="*/ 20 h 21"/>
                      <a:gd name="T6" fmla="*/ 3 w 230"/>
                      <a:gd name="T7" fmla="*/ 18 h 21"/>
                      <a:gd name="T8" fmla="*/ 0 w 230"/>
                      <a:gd name="T9" fmla="*/ 15 h 21"/>
                      <a:gd name="T10" fmla="*/ 0 w 230"/>
                      <a:gd name="T11" fmla="*/ 10 h 21"/>
                      <a:gd name="T12" fmla="*/ 0 w 230"/>
                      <a:gd name="T13" fmla="*/ 7 h 21"/>
                      <a:gd name="T14" fmla="*/ 3 w 230"/>
                      <a:gd name="T15" fmla="*/ 4 h 21"/>
                      <a:gd name="T16" fmla="*/ 6 w 230"/>
                      <a:gd name="T17" fmla="*/ 0 h 21"/>
                      <a:gd name="T18" fmla="*/ 9 w 230"/>
                      <a:gd name="T19" fmla="*/ 0 h 21"/>
                      <a:gd name="T20" fmla="*/ 219 w 230"/>
                      <a:gd name="T21" fmla="*/ 0 h 21"/>
                      <a:gd name="T22" fmla="*/ 223 w 230"/>
                      <a:gd name="T23" fmla="*/ 0 h 21"/>
                      <a:gd name="T24" fmla="*/ 227 w 230"/>
                      <a:gd name="T25" fmla="*/ 4 h 21"/>
                      <a:gd name="T26" fmla="*/ 228 w 230"/>
                      <a:gd name="T27" fmla="*/ 7 h 21"/>
                      <a:gd name="T28" fmla="*/ 230 w 230"/>
                      <a:gd name="T29" fmla="*/ 10 h 21"/>
                      <a:gd name="T30" fmla="*/ 228 w 230"/>
                      <a:gd name="T31" fmla="*/ 15 h 21"/>
                      <a:gd name="T32" fmla="*/ 227 w 230"/>
                      <a:gd name="T33" fmla="*/ 18 h 21"/>
                      <a:gd name="T34" fmla="*/ 223 w 230"/>
                      <a:gd name="T35" fmla="*/ 20 h 21"/>
                      <a:gd name="T36" fmla="*/ 219 w 230"/>
                      <a:gd name="T3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21">
                        <a:moveTo>
                          <a:pt x="219" y="21"/>
                        </a:moveTo>
                        <a:lnTo>
                          <a:pt x="9" y="21"/>
                        </a:lnTo>
                        <a:lnTo>
                          <a:pt x="6" y="20"/>
                        </a:lnTo>
                        <a:lnTo>
                          <a:pt x="3" y="18"/>
                        </a:lnTo>
                        <a:lnTo>
                          <a:pt x="0" y="15"/>
                        </a:lnTo>
                        <a:lnTo>
                          <a:pt x="0" y="10"/>
                        </a:lnTo>
                        <a:lnTo>
                          <a:pt x="0" y="7"/>
                        </a:lnTo>
                        <a:lnTo>
                          <a:pt x="3" y="4"/>
                        </a:lnTo>
                        <a:lnTo>
                          <a:pt x="6" y="0"/>
                        </a:lnTo>
                        <a:lnTo>
                          <a:pt x="9" y="0"/>
                        </a:lnTo>
                        <a:lnTo>
                          <a:pt x="219" y="0"/>
                        </a:lnTo>
                        <a:lnTo>
                          <a:pt x="223" y="0"/>
                        </a:lnTo>
                        <a:lnTo>
                          <a:pt x="227" y="4"/>
                        </a:lnTo>
                        <a:lnTo>
                          <a:pt x="228" y="7"/>
                        </a:lnTo>
                        <a:lnTo>
                          <a:pt x="230" y="10"/>
                        </a:lnTo>
                        <a:lnTo>
                          <a:pt x="228" y="15"/>
                        </a:lnTo>
                        <a:lnTo>
                          <a:pt x="227" y="18"/>
                        </a:lnTo>
                        <a:lnTo>
                          <a:pt x="223" y="20"/>
                        </a:lnTo>
                        <a:lnTo>
                          <a:pt x="219" y="2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90" name="Freeform 288"/>
                  <p:cNvSpPr>
                    <a:spLocks/>
                  </p:cNvSpPr>
                  <p:nvPr/>
                </p:nvSpPr>
                <p:spPr bwMode="auto">
                  <a:xfrm>
                    <a:off x="3101976" y="1776413"/>
                    <a:ext cx="307975" cy="52388"/>
                  </a:xfrm>
                  <a:custGeom>
                    <a:avLst/>
                    <a:gdLst>
                      <a:gd name="T0" fmla="*/ 96 w 194"/>
                      <a:gd name="T1" fmla="*/ 33 h 33"/>
                      <a:gd name="T2" fmla="*/ 51 w 194"/>
                      <a:gd name="T3" fmla="*/ 29 h 33"/>
                      <a:gd name="T4" fmla="*/ 6 w 194"/>
                      <a:gd name="T5" fmla="*/ 21 h 33"/>
                      <a:gd name="T6" fmla="*/ 3 w 194"/>
                      <a:gd name="T7" fmla="*/ 20 h 33"/>
                      <a:gd name="T8" fmla="*/ 0 w 194"/>
                      <a:gd name="T9" fmla="*/ 16 h 33"/>
                      <a:gd name="T10" fmla="*/ 0 w 194"/>
                      <a:gd name="T11" fmla="*/ 12 h 33"/>
                      <a:gd name="T12" fmla="*/ 0 w 194"/>
                      <a:gd name="T13" fmla="*/ 8 h 33"/>
                      <a:gd name="T14" fmla="*/ 1 w 194"/>
                      <a:gd name="T15" fmla="*/ 4 h 33"/>
                      <a:gd name="T16" fmla="*/ 4 w 194"/>
                      <a:gd name="T17" fmla="*/ 2 h 33"/>
                      <a:gd name="T18" fmla="*/ 8 w 194"/>
                      <a:gd name="T19" fmla="*/ 0 h 33"/>
                      <a:gd name="T20" fmla="*/ 12 w 194"/>
                      <a:gd name="T21" fmla="*/ 0 h 33"/>
                      <a:gd name="T22" fmla="*/ 69 w 194"/>
                      <a:gd name="T23" fmla="*/ 10 h 33"/>
                      <a:gd name="T24" fmla="*/ 125 w 194"/>
                      <a:gd name="T25" fmla="*/ 10 h 33"/>
                      <a:gd name="T26" fmla="*/ 181 w 194"/>
                      <a:gd name="T27" fmla="*/ 0 h 33"/>
                      <a:gd name="T28" fmla="*/ 184 w 194"/>
                      <a:gd name="T29" fmla="*/ 0 h 33"/>
                      <a:gd name="T30" fmla="*/ 189 w 194"/>
                      <a:gd name="T31" fmla="*/ 2 h 33"/>
                      <a:gd name="T32" fmla="*/ 191 w 194"/>
                      <a:gd name="T33" fmla="*/ 4 h 33"/>
                      <a:gd name="T34" fmla="*/ 194 w 194"/>
                      <a:gd name="T35" fmla="*/ 8 h 33"/>
                      <a:gd name="T36" fmla="*/ 194 w 194"/>
                      <a:gd name="T37" fmla="*/ 12 h 33"/>
                      <a:gd name="T38" fmla="*/ 193 w 194"/>
                      <a:gd name="T39" fmla="*/ 16 h 33"/>
                      <a:gd name="T40" fmla="*/ 189 w 194"/>
                      <a:gd name="T41" fmla="*/ 20 h 33"/>
                      <a:gd name="T42" fmla="*/ 186 w 194"/>
                      <a:gd name="T43" fmla="*/ 21 h 33"/>
                      <a:gd name="T44" fmla="*/ 141 w 194"/>
                      <a:gd name="T45" fmla="*/ 29 h 33"/>
                      <a:gd name="T46" fmla="*/ 96 w 194"/>
                      <a:gd name="T4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4" h="33">
                        <a:moveTo>
                          <a:pt x="96" y="33"/>
                        </a:moveTo>
                        <a:lnTo>
                          <a:pt x="51" y="29"/>
                        </a:lnTo>
                        <a:lnTo>
                          <a:pt x="6" y="21"/>
                        </a:lnTo>
                        <a:lnTo>
                          <a:pt x="3" y="20"/>
                        </a:lnTo>
                        <a:lnTo>
                          <a:pt x="0" y="16"/>
                        </a:lnTo>
                        <a:lnTo>
                          <a:pt x="0" y="12"/>
                        </a:lnTo>
                        <a:lnTo>
                          <a:pt x="0" y="8"/>
                        </a:lnTo>
                        <a:lnTo>
                          <a:pt x="1" y="4"/>
                        </a:lnTo>
                        <a:lnTo>
                          <a:pt x="4" y="2"/>
                        </a:lnTo>
                        <a:lnTo>
                          <a:pt x="8" y="0"/>
                        </a:lnTo>
                        <a:lnTo>
                          <a:pt x="12" y="0"/>
                        </a:lnTo>
                        <a:lnTo>
                          <a:pt x="69" y="10"/>
                        </a:lnTo>
                        <a:lnTo>
                          <a:pt x="125" y="10"/>
                        </a:lnTo>
                        <a:lnTo>
                          <a:pt x="181" y="0"/>
                        </a:lnTo>
                        <a:lnTo>
                          <a:pt x="184" y="0"/>
                        </a:lnTo>
                        <a:lnTo>
                          <a:pt x="189" y="2"/>
                        </a:lnTo>
                        <a:lnTo>
                          <a:pt x="191" y="4"/>
                        </a:lnTo>
                        <a:lnTo>
                          <a:pt x="194" y="8"/>
                        </a:lnTo>
                        <a:lnTo>
                          <a:pt x="194" y="12"/>
                        </a:lnTo>
                        <a:lnTo>
                          <a:pt x="193" y="16"/>
                        </a:lnTo>
                        <a:lnTo>
                          <a:pt x="189" y="20"/>
                        </a:lnTo>
                        <a:lnTo>
                          <a:pt x="186" y="21"/>
                        </a:lnTo>
                        <a:lnTo>
                          <a:pt x="141" y="29"/>
                        </a:lnTo>
                        <a:lnTo>
                          <a:pt x="96" y="33"/>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91" name="Freeform 289"/>
                  <p:cNvSpPr>
                    <a:spLocks/>
                  </p:cNvSpPr>
                  <p:nvPr/>
                </p:nvSpPr>
                <p:spPr bwMode="auto">
                  <a:xfrm>
                    <a:off x="3101976" y="1939925"/>
                    <a:ext cx="307975" cy="53975"/>
                  </a:xfrm>
                  <a:custGeom>
                    <a:avLst/>
                    <a:gdLst>
                      <a:gd name="T0" fmla="*/ 9 w 194"/>
                      <a:gd name="T1" fmla="*/ 34 h 34"/>
                      <a:gd name="T2" fmla="*/ 4 w 194"/>
                      <a:gd name="T3" fmla="*/ 33 h 34"/>
                      <a:gd name="T4" fmla="*/ 1 w 194"/>
                      <a:gd name="T5" fmla="*/ 29 h 34"/>
                      <a:gd name="T6" fmla="*/ 0 w 194"/>
                      <a:gd name="T7" fmla="*/ 26 h 34"/>
                      <a:gd name="T8" fmla="*/ 0 w 194"/>
                      <a:gd name="T9" fmla="*/ 21 h 34"/>
                      <a:gd name="T10" fmla="*/ 0 w 194"/>
                      <a:gd name="T11" fmla="*/ 18 h 34"/>
                      <a:gd name="T12" fmla="*/ 3 w 194"/>
                      <a:gd name="T13" fmla="*/ 15 h 34"/>
                      <a:gd name="T14" fmla="*/ 6 w 194"/>
                      <a:gd name="T15" fmla="*/ 13 h 34"/>
                      <a:gd name="T16" fmla="*/ 51 w 194"/>
                      <a:gd name="T17" fmla="*/ 4 h 34"/>
                      <a:gd name="T18" fmla="*/ 96 w 194"/>
                      <a:gd name="T19" fmla="*/ 0 h 34"/>
                      <a:gd name="T20" fmla="*/ 141 w 194"/>
                      <a:gd name="T21" fmla="*/ 4 h 34"/>
                      <a:gd name="T22" fmla="*/ 186 w 194"/>
                      <a:gd name="T23" fmla="*/ 13 h 34"/>
                      <a:gd name="T24" fmla="*/ 189 w 194"/>
                      <a:gd name="T25" fmla="*/ 15 h 34"/>
                      <a:gd name="T26" fmla="*/ 193 w 194"/>
                      <a:gd name="T27" fmla="*/ 18 h 34"/>
                      <a:gd name="T28" fmla="*/ 194 w 194"/>
                      <a:gd name="T29" fmla="*/ 21 h 34"/>
                      <a:gd name="T30" fmla="*/ 194 w 194"/>
                      <a:gd name="T31" fmla="*/ 26 h 34"/>
                      <a:gd name="T32" fmla="*/ 191 w 194"/>
                      <a:gd name="T33" fmla="*/ 29 h 34"/>
                      <a:gd name="T34" fmla="*/ 189 w 194"/>
                      <a:gd name="T35" fmla="*/ 33 h 34"/>
                      <a:gd name="T36" fmla="*/ 184 w 194"/>
                      <a:gd name="T37" fmla="*/ 34 h 34"/>
                      <a:gd name="T38" fmla="*/ 181 w 194"/>
                      <a:gd name="T39" fmla="*/ 33 h 34"/>
                      <a:gd name="T40" fmla="*/ 125 w 194"/>
                      <a:gd name="T41" fmla="*/ 23 h 34"/>
                      <a:gd name="T42" fmla="*/ 69 w 194"/>
                      <a:gd name="T43" fmla="*/ 23 h 34"/>
                      <a:gd name="T44" fmla="*/ 12 w 194"/>
                      <a:gd name="T45" fmla="*/ 33 h 34"/>
                      <a:gd name="T46" fmla="*/ 9 w 194"/>
                      <a:gd name="T4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4" h="34">
                        <a:moveTo>
                          <a:pt x="9" y="34"/>
                        </a:moveTo>
                        <a:lnTo>
                          <a:pt x="4" y="33"/>
                        </a:lnTo>
                        <a:lnTo>
                          <a:pt x="1" y="29"/>
                        </a:lnTo>
                        <a:lnTo>
                          <a:pt x="0" y="26"/>
                        </a:lnTo>
                        <a:lnTo>
                          <a:pt x="0" y="21"/>
                        </a:lnTo>
                        <a:lnTo>
                          <a:pt x="0" y="18"/>
                        </a:lnTo>
                        <a:lnTo>
                          <a:pt x="3" y="15"/>
                        </a:lnTo>
                        <a:lnTo>
                          <a:pt x="6" y="13"/>
                        </a:lnTo>
                        <a:lnTo>
                          <a:pt x="51" y="4"/>
                        </a:lnTo>
                        <a:lnTo>
                          <a:pt x="96" y="0"/>
                        </a:lnTo>
                        <a:lnTo>
                          <a:pt x="141" y="4"/>
                        </a:lnTo>
                        <a:lnTo>
                          <a:pt x="186" y="13"/>
                        </a:lnTo>
                        <a:lnTo>
                          <a:pt x="189" y="15"/>
                        </a:lnTo>
                        <a:lnTo>
                          <a:pt x="193" y="18"/>
                        </a:lnTo>
                        <a:lnTo>
                          <a:pt x="194" y="21"/>
                        </a:lnTo>
                        <a:lnTo>
                          <a:pt x="194" y="26"/>
                        </a:lnTo>
                        <a:lnTo>
                          <a:pt x="191" y="29"/>
                        </a:lnTo>
                        <a:lnTo>
                          <a:pt x="189" y="33"/>
                        </a:lnTo>
                        <a:lnTo>
                          <a:pt x="184" y="34"/>
                        </a:lnTo>
                        <a:lnTo>
                          <a:pt x="181" y="33"/>
                        </a:lnTo>
                        <a:lnTo>
                          <a:pt x="125" y="23"/>
                        </a:lnTo>
                        <a:lnTo>
                          <a:pt x="69" y="23"/>
                        </a:lnTo>
                        <a:lnTo>
                          <a:pt x="12" y="33"/>
                        </a:lnTo>
                        <a:lnTo>
                          <a:pt x="9" y="34"/>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92" name="Freeform 290"/>
                  <p:cNvSpPr>
                    <a:spLocks/>
                  </p:cNvSpPr>
                  <p:nvPr/>
                </p:nvSpPr>
                <p:spPr bwMode="auto">
                  <a:xfrm>
                    <a:off x="3224214" y="1628775"/>
                    <a:ext cx="84138" cy="66675"/>
                  </a:xfrm>
                  <a:custGeom>
                    <a:avLst/>
                    <a:gdLst>
                      <a:gd name="T0" fmla="*/ 45 w 53"/>
                      <a:gd name="T1" fmla="*/ 0 h 42"/>
                      <a:gd name="T2" fmla="*/ 6 w 53"/>
                      <a:gd name="T3" fmla="*/ 0 h 42"/>
                      <a:gd name="T4" fmla="*/ 0 w 53"/>
                      <a:gd name="T5" fmla="*/ 42 h 42"/>
                      <a:gd name="T6" fmla="*/ 53 w 53"/>
                      <a:gd name="T7" fmla="*/ 42 h 42"/>
                      <a:gd name="T8" fmla="*/ 45 w 53"/>
                      <a:gd name="T9" fmla="*/ 0 h 42"/>
                    </a:gdLst>
                    <a:ahLst/>
                    <a:cxnLst>
                      <a:cxn ang="0">
                        <a:pos x="T0" y="T1"/>
                      </a:cxn>
                      <a:cxn ang="0">
                        <a:pos x="T2" y="T3"/>
                      </a:cxn>
                      <a:cxn ang="0">
                        <a:pos x="T4" y="T5"/>
                      </a:cxn>
                      <a:cxn ang="0">
                        <a:pos x="T6" y="T7"/>
                      </a:cxn>
                      <a:cxn ang="0">
                        <a:pos x="T8" y="T9"/>
                      </a:cxn>
                    </a:cxnLst>
                    <a:rect l="0" t="0" r="r" b="b"/>
                    <a:pathLst>
                      <a:path w="53" h="42">
                        <a:moveTo>
                          <a:pt x="45" y="0"/>
                        </a:moveTo>
                        <a:lnTo>
                          <a:pt x="6" y="0"/>
                        </a:lnTo>
                        <a:lnTo>
                          <a:pt x="0" y="42"/>
                        </a:lnTo>
                        <a:lnTo>
                          <a:pt x="53" y="42"/>
                        </a:lnTo>
                        <a:lnTo>
                          <a:pt x="4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93" name="Freeform 291"/>
                  <p:cNvSpPr>
                    <a:spLocks/>
                  </p:cNvSpPr>
                  <p:nvPr/>
                </p:nvSpPr>
                <p:spPr bwMode="auto">
                  <a:xfrm>
                    <a:off x="3108326" y="1641475"/>
                    <a:ext cx="96838" cy="95250"/>
                  </a:xfrm>
                  <a:custGeom>
                    <a:avLst/>
                    <a:gdLst>
                      <a:gd name="T0" fmla="*/ 34 w 61"/>
                      <a:gd name="T1" fmla="*/ 0 h 60"/>
                      <a:gd name="T2" fmla="*/ 26 w 61"/>
                      <a:gd name="T3" fmla="*/ 5 h 60"/>
                      <a:gd name="T4" fmla="*/ 7 w 61"/>
                      <a:gd name="T5" fmla="*/ 16 h 60"/>
                      <a:gd name="T6" fmla="*/ 0 w 61"/>
                      <a:gd name="T7" fmla="*/ 21 h 60"/>
                      <a:gd name="T8" fmla="*/ 15 w 61"/>
                      <a:gd name="T9" fmla="*/ 60 h 60"/>
                      <a:gd name="T10" fmla="*/ 29 w 61"/>
                      <a:gd name="T11" fmla="*/ 53 h 60"/>
                      <a:gd name="T12" fmla="*/ 47 w 61"/>
                      <a:gd name="T13" fmla="*/ 42 h 60"/>
                      <a:gd name="T14" fmla="*/ 61 w 61"/>
                      <a:gd name="T15" fmla="*/ 34 h 60"/>
                      <a:gd name="T16" fmla="*/ 34 w 61"/>
                      <a:gd name="T1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34" y="0"/>
                        </a:moveTo>
                        <a:lnTo>
                          <a:pt x="26" y="5"/>
                        </a:lnTo>
                        <a:lnTo>
                          <a:pt x="7" y="16"/>
                        </a:lnTo>
                        <a:lnTo>
                          <a:pt x="0" y="21"/>
                        </a:lnTo>
                        <a:lnTo>
                          <a:pt x="15" y="60"/>
                        </a:lnTo>
                        <a:lnTo>
                          <a:pt x="29" y="53"/>
                        </a:lnTo>
                        <a:lnTo>
                          <a:pt x="47" y="42"/>
                        </a:lnTo>
                        <a:lnTo>
                          <a:pt x="61" y="34"/>
                        </a:lnTo>
                        <a:lnTo>
                          <a:pt x="34"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94" name="Freeform 292"/>
                  <p:cNvSpPr>
                    <a:spLocks/>
                  </p:cNvSpPr>
                  <p:nvPr/>
                </p:nvSpPr>
                <p:spPr bwMode="auto">
                  <a:xfrm>
                    <a:off x="3022601" y="1720850"/>
                    <a:ext cx="93663" cy="96838"/>
                  </a:xfrm>
                  <a:custGeom>
                    <a:avLst/>
                    <a:gdLst>
                      <a:gd name="T0" fmla="*/ 19 w 59"/>
                      <a:gd name="T1" fmla="*/ 0 h 61"/>
                      <a:gd name="T2" fmla="*/ 16 w 59"/>
                      <a:gd name="T3" fmla="*/ 8 h 61"/>
                      <a:gd name="T4" fmla="*/ 4 w 59"/>
                      <a:gd name="T5" fmla="*/ 27 h 61"/>
                      <a:gd name="T6" fmla="*/ 0 w 59"/>
                      <a:gd name="T7" fmla="*/ 34 h 61"/>
                      <a:gd name="T8" fmla="*/ 33 w 59"/>
                      <a:gd name="T9" fmla="*/ 61 h 61"/>
                      <a:gd name="T10" fmla="*/ 40 w 59"/>
                      <a:gd name="T11" fmla="*/ 48 h 61"/>
                      <a:gd name="T12" fmla="*/ 51 w 59"/>
                      <a:gd name="T13" fmla="*/ 29 h 61"/>
                      <a:gd name="T14" fmla="*/ 59 w 59"/>
                      <a:gd name="T15" fmla="*/ 16 h 61"/>
                      <a:gd name="T16" fmla="*/ 19 w 59"/>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61">
                        <a:moveTo>
                          <a:pt x="19" y="0"/>
                        </a:moveTo>
                        <a:lnTo>
                          <a:pt x="16" y="8"/>
                        </a:lnTo>
                        <a:lnTo>
                          <a:pt x="4" y="27"/>
                        </a:lnTo>
                        <a:lnTo>
                          <a:pt x="0" y="34"/>
                        </a:lnTo>
                        <a:lnTo>
                          <a:pt x="33" y="61"/>
                        </a:lnTo>
                        <a:lnTo>
                          <a:pt x="40" y="48"/>
                        </a:lnTo>
                        <a:lnTo>
                          <a:pt x="51" y="29"/>
                        </a:lnTo>
                        <a:lnTo>
                          <a:pt x="59" y="16"/>
                        </a:lnTo>
                        <a:lnTo>
                          <a:pt x="19"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95" name="Freeform 293"/>
                  <p:cNvSpPr>
                    <a:spLocks/>
                  </p:cNvSpPr>
                  <p:nvPr/>
                </p:nvSpPr>
                <p:spPr bwMode="auto">
                  <a:xfrm>
                    <a:off x="3011489" y="1935163"/>
                    <a:ext cx="95250" cy="96838"/>
                  </a:xfrm>
                  <a:custGeom>
                    <a:avLst/>
                    <a:gdLst>
                      <a:gd name="T0" fmla="*/ 0 w 60"/>
                      <a:gd name="T1" fmla="*/ 26 h 61"/>
                      <a:gd name="T2" fmla="*/ 5 w 60"/>
                      <a:gd name="T3" fmla="*/ 34 h 61"/>
                      <a:gd name="T4" fmla="*/ 16 w 60"/>
                      <a:gd name="T5" fmla="*/ 53 h 61"/>
                      <a:gd name="T6" fmla="*/ 20 w 60"/>
                      <a:gd name="T7" fmla="*/ 61 h 61"/>
                      <a:gd name="T8" fmla="*/ 60 w 60"/>
                      <a:gd name="T9" fmla="*/ 45 h 61"/>
                      <a:gd name="T10" fmla="*/ 52 w 60"/>
                      <a:gd name="T11" fmla="*/ 32 h 61"/>
                      <a:gd name="T12" fmla="*/ 42 w 60"/>
                      <a:gd name="T13" fmla="*/ 13 h 61"/>
                      <a:gd name="T14" fmla="*/ 34 w 60"/>
                      <a:gd name="T15" fmla="*/ 0 h 61"/>
                      <a:gd name="T16" fmla="*/ 0 w 60"/>
                      <a:gd name="T17"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1">
                        <a:moveTo>
                          <a:pt x="0" y="26"/>
                        </a:moveTo>
                        <a:lnTo>
                          <a:pt x="5" y="34"/>
                        </a:lnTo>
                        <a:lnTo>
                          <a:pt x="16" y="53"/>
                        </a:lnTo>
                        <a:lnTo>
                          <a:pt x="20" y="61"/>
                        </a:lnTo>
                        <a:lnTo>
                          <a:pt x="60" y="45"/>
                        </a:lnTo>
                        <a:lnTo>
                          <a:pt x="52" y="32"/>
                        </a:lnTo>
                        <a:lnTo>
                          <a:pt x="42" y="13"/>
                        </a:lnTo>
                        <a:lnTo>
                          <a:pt x="34" y="0"/>
                        </a:lnTo>
                        <a:lnTo>
                          <a:pt x="0" y="2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96" name="Freeform 294"/>
                  <p:cNvSpPr>
                    <a:spLocks/>
                  </p:cNvSpPr>
                  <p:nvPr/>
                </p:nvSpPr>
                <p:spPr bwMode="auto">
                  <a:xfrm>
                    <a:off x="3090864" y="2022475"/>
                    <a:ext cx="96838" cy="93663"/>
                  </a:xfrm>
                  <a:custGeom>
                    <a:avLst/>
                    <a:gdLst>
                      <a:gd name="T0" fmla="*/ 0 w 61"/>
                      <a:gd name="T1" fmla="*/ 40 h 59"/>
                      <a:gd name="T2" fmla="*/ 8 w 61"/>
                      <a:gd name="T3" fmla="*/ 45 h 59"/>
                      <a:gd name="T4" fmla="*/ 26 w 61"/>
                      <a:gd name="T5" fmla="*/ 56 h 59"/>
                      <a:gd name="T6" fmla="*/ 34 w 61"/>
                      <a:gd name="T7" fmla="*/ 59 h 59"/>
                      <a:gd name="T8" fmla="*/ 61 w 61"/>
                      <a:gd name="T9" fmla="*/ 27 h 59"/>
                      <a:gd name="T10" fmla="*/ 48 w 61"/>
                      <a:gd name="T11" fmla="*/ 19 h 59"/>
                      <a:gd name="T12" fmla="*/ 29 w 61"/>
                      <a:gd name="T13" fmla="*/ 8 h 59"/>
                      <a:gd name="T14" fmla="*/ 15 w 61"/>
                      <a:gd name="T15" fmla="*/ 0 h 59"/>
                      <a:gd name="T16" fmla="*/ 0 w 61"/>
                      <a:gd name="T17"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0" y="40"/>
                        </a:moveTo>
                        <a:lnTo>
                          <a:pt x="8" y="45"/>
                        </a:lnTo>
                        <a:lnTo>
                          <a:pt x="26" y="56"/>
                        </a:lnTo>
                        <a:lnTo>
                          <a:pt x="34" y="59"/>
                        </a:lnTo>
                        <a:lnTo>
                          <a:pt x="61" y="27"/>
                        </a:lnTo>
                        <a:lnTo>
                          <a:pt x="48" y="19"/>
                        </a:lnTo>
                        <a:lnTo>
                          <a:pt x="29" y="8"/>
                        </a:lnTo>
                        <a:lnTo>
                          <a:pt x="15" y="0"/>
                        </a:lnTo>
                        <a:lnTo>
                          <a:pt x="0" y="4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97" name="Freeform 295"/>
                  <p:cNvSpPr>
                    <a:spLocks/>
                  </p:cNvSpPr>
                  <p:nvPr/>
                </p:nvSpPr>
                <p:spPr bwMode="auto">
                  <a:xfrm>
                    <a:off x="3203576" y="2073275"/>
                    <a:ext cx="84138" cy="68263"/>
                  </a:xfrm>
                  <a:custGeom>
                    <a:avLst/>
                    <a:gdLst>
                      <a:gd name="T0" fmla="*/ 6 w 53"/>
                      <a:gd name="T1" fmla="*/ 43 h 43"/>
                      <a:gd name="T2" fmla="*/ 14 w 53"/>
                      <a:gd name="T3" fmla="*/ 43 h 43"/>
                      <a:gd name="T4" fmla="*/ 37 w 53"/>
                      <a:gd name="T5" fmla="*/ 43 h 43"/>
                      <a:gd name="T6" fmla="*/ 46 w 53"/>
                      <a:gd name="T7" fmla="*/ 43 h 43"/>
                      <a:gd name="T8" fmla="*/ 53 w 53"/>
                      <a:gd name="T9" fmla="*/ 0 h 43"/>
                      <a:gd name="T10" fmla="*/ 37 w 53"/>
                      <a:gd name="T11" fmla="*/ 0 h 43"/>
                      <a:gd name="T12" fmla="*/ 0 w 53"/>
                      <a:gd name="T13" fmla="*/ 0 h 43"/>
                      <a:gd name="T14" fmla="*/ 6 w 53"/>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43">
                        <a:moveTo>
                          <a:pt x="6" y="43"/>
                        </a:moveTo>
                        <a:lnTo>
                          <a:pt x="14" y="43"/>
                        </a:lnTo>
                        <a:lnTo>
                          <a:pt x="37" y="43"/>
                        </a:lnTo>
                        <a:lnTo>
                          <a:pt x="46" y="43"/>
                        </a:lnTo>
                        <a:lnTo>
                          <a:pt x="53" y="0"/>
                        </a:lnTo>
                        <a:lnTo>
                          <a:pt x="37" y="0"/>
                        </a:lnTo>
                        <a:lnTo>
                          <a:pt x="0" y="0"/>
                        </a:lnTo>
                        <a:lnTo>
                          <a:pt x="6" y="43"/>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98" name="Freeform 296"/>
                  <p:cNvSpPr>
                    <a:spLocks/>
                  </p:cNvSpPr>
                  <p:nvPr/>
                </p:nvSpPr>
                <p:spPr bwMode="auto">
                  <a:xfrm>
                    <a:off x="3305176" y="2032000"/>
                    <a:ext cx="96838" cy="95250"/>
                  </a:xfrm>
                  <a:custGeom>
                    <a:avLst/>
                    <a:gdLst>
                      <a:gd name="T0" fmla="*/ 26 w 61"/>
                      <a:gd name="T1" fmla="*/ 60 h 60"/>
                      <a:gd name="T2" fmla="*/ 34 w 61"/>
                      <a:gd name="T3" fmla="*/ 57 h 60"/>
                      <a:gd name="T4" fmla="*/ 53 w 61"/>
                      <a:gd name="T5" fmla="*/ 45 h 60"/>
                      <a:gd name="T6" fmla="*/ 61 w 61"/>
                      <a:gd name="T7" fmla="*/ 40 h 60"/>
                      <a:gd name="T8" fmla="*/ 45 w 61"/>
                      <a:gd name="T9" fmla="*/ 0 h 60"/>
                      <a:gd name="T10" fmla="*/ 32 w 61"/>
                      <a:gd name="T11" fmla="*/ 8 h 60"/>
                      <a:gd name="T12" fmla="*/ 13 w 61"/>
                      <a:gd name="T13" fmla="*/ 20 h 60"/>
                      <a:gd name="T14" fmla="*/ 0 w 61"/>
                      <a:gd name="T15" fmla="*/ 28 h 60"/>
                      <a:gd name="T16" fmla="*/ 26 w 61"/>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26" y="60"/>
                        </a:moveTo>
                        <a:lnTo>
                          <a:pt x="34" y="57"/>
                        </a:lnTo>
                        <a:lnTo>
                          <a:pt x="53" y="45"/>
                        </a:lnTo>
                        <a:lnTo>
                          <a:pt x="61" y="40"/>
                        </a:lnTo>
                        <a:lnTo>
                          <a:pt x="45" y="0"/>
                        </a:lnTo>
                        <a:lnTo>
                          <a:pt x="32" y="8"/>
                        </a:lnTo>
                        <a:lnTo>
                          <a:pt x="13" y="20"/>
                        </a:lnTo>
                        <a:lnTo>
                          <a:pt x="0" y="28"/>
                        </a:lnTo>
                        <a:lnTo>
                          <a:pt x="26" y="6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99" name="Freeform 297"/>
                  <p:cNvSpPr>
                    <a:spLocks/>
                  </p:cNvSpPr>
                  <p:nvPr/>
                </p:nvSpPr>
                <p:spPr bwMode="auto">
                  <a:xfrm>
                    <a:off x="3392489" y="1952625"/>
                    <a:ext cx="93663" cy="96838"/>
                  </a:xfrm>
                  <a:custGeom>
                    <a:avLst/>
                    <a:gdLst>
                      <a:gd name="T0" fmla="*/ 40 w 59"/>
                      <a:gd name="T1" fmla="*/ 61 h 61"/>
                      <a:gd name="T2" fmla="*/ 45 w 59"/>
                      <a:gd name="T3" fmla="*/ 53 h 61"/>
                      <a:gd name="T4" fmla="*/ 56 w 59"/>
                      <a:gd name="T5" fmla="*/ 34 h 61"/>
                      <a:gd name="T6" fmla="*/ 59 w 59"/>
                      <a:gd name="T7" fmla="*/ 26 h 61"/>
                      <a:gd name="T8" fmla="*/ 27 w 59"/>
                      <a:gd name="T9" fmla="*/ 0 h 61"/>
                      <a:gd name="T10" fmla="*/ 19 w 59"/>
                      <a:gd name="T11" fmla="*/ 13 h 61"/>
                      <a:gd name="T12" fmla="*/ 8 w 59"/>
                      <a:gd name="T13" fmla="*/ 33 h 61"/>
                      <a:gd name="T14" fmla="*/ 0 w 59"/>
                      <a:gd name="T15" fmla="*/ 45 h 61"/>
                      <a:gd name="T16" fmla="*/ 40 w 59"/>
                      <a:gd name="T17"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61">
                        <a:moveTo>
                          <a:pt x="40" y="61"/>
                        </a:moveTo>
                        <a:lnTo>
                          <a:pt x="45" y="53"/>
                        </a:lnTo>
                        <a:lnTo>
                          <a:pt x="56" y="34"/>
                        </a:lnTo>
                        <a:lnTo>
                          <a:pt x="59" y="26"/>
                        </a:lnTo>
                        <a:lnTo>
                          <a:pt x="27" y="0"/>
                        </a:lnTo>
                        <a:lnTo>
                          <a:pt x="19" y="13"/>
                        </a:lnTo>
                        <a:lnTo>
                          <a:pt x="8" y="33"/>
                        </a:lnTo>
                        <a:lnTo>
                          <a:pt x="0" y="45"/>
                        </a:lnTo>
                        <a:lnTo>
                          <a:pt x="40" y="6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100" name="Freeform 298"/>
                  <p:cNvSpPr>
                    <a:spLocks/>
                  </p:cNvSpPr>
                  <p:nvPr/>
                </p:nvSpPr>
                <p:spPr bwMode="auto">
                  <a:xfrm>
                    <a:off x="3443289" y="1854200"/>
                    <a:ext cx="68263" cy="84138"/>
                  </a:xfrm>
                  <a:custGeom>
                    <a:avLst/>
                    <a:gdLst>
                      <a:gd name="T0" fmla="*/ 43 w 43"/>
                      <a:gd name="T1" fmla="*/ 46 h 53"/>
                      <a:gd name="T2" fmla="*/ 43 w 43"/>
                      <a:gd name="T3" fmla="*/ 37 h 53"/>
                      <a:gd name="T4" fmla="*/ 43 w 43"/>
                      <a:gd name="T5" fmla="*/ 14 h 53"/>
                      <a:gd name="T6" fmla="*/ 43 w 43"/>
                      <a:gd name="T7" fmla="*/ 6 h 53"/>
                      <a:gd name="T8" fmla="*/ 0 w 43"/>
                      <a:gd name="T9" fmla="*/ 0 h 53"/>
                      <a:gd name="T10" fmla="*/ 0 w 43"/>
                      <a:gd name="T11" fmla="*/ 14 h 53"/>
                      <a:gd name="T12" fmla="*/ 0 w 43"/>
                      <a:gd name="T13" fmla="*/ 53 h 53"/>
                      <a:gd name="T14" fmla="*/ 43 w 43"/>
                      <a:gd name="T15" fmla="*/ 46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53">
                        <a:moveTo>
                          <a:pt x="43" y="46"/>
                        </a:moveTo>
                        <a:lnTo>
                          <a:pt x="43" y="37"/>
                        </a:lnTo>
                        <a:lnTo>
                          <a:pt x="43" y="14"/>
                        </a:lnTo>
                        <a:lnTo>
                          <a:pt x="43" y="6"/>
                        </a:lnTo>
                        <a:lnTo>
                          <a:pt x="0" y="0"/>
                        </a:lnTo>
                        <a:lnTo>
                          <a:pt x="0" y="14"/>
                        </a:lnTo>
                        <a:lnTo>
                          <a:pt x="0" y="53"/>
                        </a:lnTo>
                        <a:lnTo>
                          <a:pt x="43" y="4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101" name="Freeform 299"/>
                  <p:cNvSpPr>
                    <a:spLocks/>
                  </p:cNvSpPr>
                  <p:nvPr/>
                </p:nvSpPr>
                <p:spPr bwMode="auto">
                  <a:xfrm>
                    <a:off x="3402014" y="1738313"/>
                    <a:ext cx="95250" cy="96838"/>
                  </a:xfrm>
                  <a:custGeom>
                    <a:avLst/>
                    <a:gdLst>
                      <a:gd name="T0" fmla="*/ 60 w 60"/>
                      <a:gd name="T1" fmla="*/ 34 h 61"/>
                      <a:gd name="T2" fmla="*/ 57 w 60"/>
                      <a:gd name="T3" fmla="*/ 26 h 61"/>
                      <a:gd name="T4" fmla="*/ 45 w 60"/>
                      <a:gd name="T5" fmla="*/ 8 h 61"/>
                      <a:gd name="T6" fmla="*/ 41 w 60"/>
                      <a:gd name="T7" fmla="*/ 0 h 61"/>
                      <a:gd name="T8" fmla="*/ 0 w 60"/>
                      <a:gd name="T9" fmla="*/ 15 h 61"/>
                      <a:gd name="T10" fmla="*/ 8 w 60"/>
                      <a:gd name="T11" fmla="*/ 29 h 61"/>
                      <a:gd name="T12" fmla="*/ 20 w 60"/>
                      <a:gd name="T13" fmla="*/ 49 h 61"/>
                      <a:gd name="T14" fmla="*/ 28 w 60"/>
                      <a:gd name="T15" fmla="*/ 61 h 61"/>
                      <a:gd name="T16" fmla="*/ 60 w 60"/>
                      <a:gd name="T17" fmla="*/ 3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61">
                        <a:moveTo>
                          <a:pt x="60" y="34"/>
                        </a:moveTo>
                        <a:lnTo>
                          <a:pt x="57" y="26"/>
                        </a:lnTo>
                        <a:lnTo>
                          <a:pt x="45" y="8"/>
                        </a:lnTo>
                        <a:lnTo>
                          <a:pt x="41" y="0"/>
                        </a:lnTo>
                        <a:lnTo>
                          <a:pt x="0" y="15"/>
                        </a:lnTo>
                        <a:lnTo>
                          <a:pt x="8" y="29"/>
                        </a:lnTo>
                        <a:lnTo>
                          <a:pt x="20" y="49"/>
                        </a:lnTo>
                        <a:lnTo>
                          <a:pt x="28" y="61"/>
                        </a:lnTo>
                        <a:lnTo>
                          <a:pt x="60" y="34"/>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102" name="Freeform 300"/>
                  <p:cNvSpPr>
                    <a:spLocks/>
                  </p:cNvSpPr>
                  <p:nvPr/>
                </p:nvSpPr>
                <p:spPr bwMode="auto">
                  <a:xfrm>
                    <a:off x="3321051" y="1652588"/>
                    <a:ext cx="96838" cy="93663"/>
                  </a:xfrm>
                  <a:custGeom>
                    <a:avLst/>
                    <a:gdLst>
                      <a:gd name="T0" fmla="*/ 61 w 61"/>
                      <a:gd name="T1" fmla="*/ 19 h 59"/>
                      <a:gd name="T2" fmla="*/ 55 w 61"/>
                      <a:gd name="T3" fmla="*/ 16 h 59"/>
                      <a:gd name="T4" fmla="*/ 35 w 61"/>
                      <a:gd name="T5" fmla="*/ 4 h 59"/>
                      <a:gd name="T6" fmla="*/ 27 w 61"/>
                      <a:gd name="T7" fmla="*/ 0 h 59"/>
                      <a:gd name="T8" fmla="*/ 0 w 61"/>
                      <a:gd name="T9" fmla="*/ 33 h 59"/>
                      <a:gd name="T10" fmla="*/ 14 w 61"/>
                      <a:gd name="T11" fmla="*/ 41 h 59"/>
                      <a:gd name="T12" fmla="*/ 34 w 61"/>
                      <a:gd name="T13" fmla="*/ 51 h 59"/>
                      <a:gd name="T14" fmla="*/ 46 w 61"/>
                      <a:gd name="T15" fmla="*/ 59 h 59"/>
                      <a:gd name="T16" fmla="*/ 61 w 61"/>
                      <a:gd name="T17" fmla="*/ 1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59">
                        <a:moveTo>
                          <a:pt x="61" y="19"/>
                        </a:moveTo>
                        <a:lnTo>
                          <a:pt x="55" y="16"/>
                        </a:lnTo>
                        <a:lnTo>
                          <a:pt x="35" y="4"/>
                        </a:lnTo>
                        <a:lnTo>
                          <a:pt x="27" y="0"/>
                        </a:lnTo>
                        <a:lnTo>
                          <a:pt x="0" y="33"/>
                        </a:lnTo>
                        <a:lnTo>
                          <a:pt x="14" y="41"/>
                        </a:lnTo>
                        <a:lnTo>
                          <a:pt x="34" y="51"/>
                        </a:lnTo>
                        <a:lnTo>
                          <a:pt x="46" y="59"/>
                        </a:lnTo>
                        <a:lnTo>
                          <a:pt x="61" y="19"/>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103" name="Freeform 301"/>
                  <p:cNvSpPr>
                    <a:spLocks noEditPoints="1"/>
                  </p:cNvSpPr>
                  <p:nvPr/>
                </p:nvSpPr>
                <p:spPr bwMode="auto">
                  <a:xfrm>
                    <a:off x="3043239" y="1670050"/>
                    <a:ext cx="423863" cy="428625"/>
                  </a:xfrm>
                  <a:custGeom>
                    <a:avLst/>
                    <a:gdLst>
                      <a:gd name="T0" fmla="*/ 133 w 267"/>
                      <a:gd name="T1" fmla="*/ 270 h 270"/>
                      <a:gd name="T2" fmla="*/ 98 w 267"/>
                      <a:gd name="T3" fmla="*/ 265 h 270"/>
                      <a:gd name="T4" fmla="*/ 65 w 267"/>
                      <a:gd name="T5" fmla="*/ 252 h 270"/>
                      <a:gd name="T6" fmla="*/ 38 w 267"/>
                      <a:gd name="T7" fmla="*/ 231 h 270"/>
                      <a:gd name="T8" fmla="*/ 17 w 267"/>
                      <a:gd name="T9" fmla="*/ 204 h 270"/>
                      <a:gd name="T10" fmla="*/ 4 w 267"/>
                      <a:gd name="T11" fmla="*/ 172 h 270"/>
                      <a:gd name="T12" fmla="*/ 0 w 267"/>
                      <a:gd name="T13" fmla="*/ 135 h 270"/>
                      <a:gd name="T14" fmla="*/ 4 w 267"/>
                      <a:gd name="T15" fmla="*/ 100 h 270"/>
                      <a:gd name="T16" fmla="*/ 17 w 267"/>
                      <a:gd name="T17" fmla="*/ 67 h 270"/>
                      <a:gd name="T18" fmla="*/ 38 w 267"/>
                      <a:gd name="T19" fmla="*/ 40 h 270"/>
                      <a:gd name="T20" fmla="*/ 65 w 267"/>
                      <a:gd name="T21" fmla="*/ 19 h 270"/>
                      <a:gd name="T22" fmla="*/ 98 w 267"/>
                      <a:gd name="T23" fmla="*/ 5 h 270"/>
                      <a:gd name="T24" fmla="*/ 133 w 267"/>
                      <a:gd name="T25" fmla="*/ 0 h 270"/>
                      <a:gd name="T26" fmla="*/ 168 w 267"/>
                      <a:gd name="T27" fmla="*/ 5 h 270"/>
                      <a:gd name="T28" fmla="*/ 201 w 267"/>
                      <a:gd name="T29" fmla="*/ 19 h 270"/>
                      <a:gd name="T30" fmla="*/ 228 w 267"/>
                      <a:gd name="T31" fmla="*/ 40 h 270"/>
                      <a:gd name="T32" fmla="*/ 249 w 267"/>
                      <a:gd name="T33" fmla="*/ 67 h 270"/>
                      <a:gd name="T34" fmla="*/ 262 w 267"/>
                      <a:gd name="T35" fmla="*/ 100 h 270"/>
                      <a:gd name="T36" fmla="*/ 267 w 267"/>
                      <a:gd name="T37" fmla="*/ 135 h 270"/>
                      <a:gd name="T38" fmla="*/ 262 w 267"/>
                      <a:gd name="T39" fmla="*/ 172 h 270"/>
                      <a:gd name="T40" fmla="*/ 249 w 267"/>
                      <a:gd name="T41" fmla="*/ 204 h 270"/>
                      <a:gd name="T42" fmla="*/ 228 w 267"/>
                      <a:gd name="T43" fmla="*/ 231 h 270"/>
                      <a:gd name="T44" fmla="*/ 201 w 267"/>
                      <a:gd name="T45" fmla="*/ 252 h 270"/>
                      <a:gd name="T46" fmla="*/ 168 w 267"/>
                      <a:gd name="T47" fmla="*/ 265 h 270"/>
                      <a:gd name="T48" fmla="*/ 133 w 267"/>
                      <a:gd name="T49" fmla="*/ 270 h 270"/>
                      <a:gd name="T50" fmla="*/ 133 w 267"/>
                      <a:gd name="T51" fmla="*/ 40 h 270"/>
                      <a:gd name="T52" fmla="*/ 104 w 267"/>
                      <a:gd name="T53" fmla="*/ 45 h 270"/>
                      <a:gd name="T54" fmla="*/ 78 w 267"/>
                      <a:gd name="T55" fmla="*/ 59 h 270"/>
                      <a:gd name="T56" fmla="*/ 57 w 267"/>
                      <a:gd name="T57" fmla="*/ 80 h 270"/>
                      <a:gd name="T58" fmla="*/ 45 w 267"/>
                      <a:gd name="T59" fmla="*/ 106 h 270"/>
                      <a:gd name="T60" fmla="*/ 40 w 267"/>
                      <a:gd name="T61" fmla="*/ 135 h 270"/>
                      <a:gd name="T62" fmla="*/ 45 w 267"/>
                      <a:gd name="T63" fmla="*/ 166 h 270"/>
                      <a:gd name="T64" fmla="*/ 57 w 267"/>
                      <a:gd name="T65" fmla="*/ 191 h 270"/>
                      <a:gd name="T66" fmla="*/ 78 w 267"/>
                      <a:gd name="T67" fmla="*/ 212 h 270"/>
                      <a:gd name="T68" fmla="*/ 104 w 267"/>
                      <a:gd name="T69" fmla="*/ 225 h 270"/>
                      <a:gd name="T70" fmla="*/ 133 w 267"/>
                      <a:gd name="T71" fmla="*/ 230 h 270"/>
                      <a:gd name="T72" fmla="*/ 162 w 267"/>
                      <a:gd name="T73" fmla="*/ 225 h 270"/>
                      <a:gd name="T74" fmla="*/ 188 w 267"/>
                      <a:gd name="T75" fmla="*/ 212 h 270"/>
                      <a:gd name="T76" fmla="*/ 209 w 267"/>
                      <a:gd name="T77" fmla="*/ 191 h 270"/>
                      <a:gd name="T78" fmla="*/ 221 w 267"/>
                      <a:gd name="T79" fmla="*/ 166 h 270"/>
                      <a:gd name="T80" fmla="*/ 226 w 267"/>
                      <a:gd name="T81" fmla="*/ 135 h 270"/>
                      <a:gd name="T82" fmla="*/ 221 w 267"/>
                      <a:gd name="T83" fmla="*/ 106 h 270"/>
                      <a:gd name="T84" fmla="*/ 209 w 267"/>
                      <a:gd name="T85" fmla="*/ 80 h 270"/>
                      <a:gd name="T86" fmla="*/ 188 w 267"/>
                      <a:gd name="T87" fmla="*/ 59 h 270"/>
                      <a:gd name="T88" fmla="*/ 162 w 267"/>
                      <a:gd name="T89" fmla="*/ 45 h 270"/>
                      <a:gd name="T90" fmla="*/ 133 w 267"/>
                      <a:gd name="T91" fmla="*/ 4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7" h="270">
                        <a:moveTo>
                          <a:pt x="133" y="270"/>
                        </a:moveTo>
                        <a:lnTo>
                          <a:pt x="98" y="265"/>
                        </a:lnTo>
                        <a:lnTo>
                          <a:pt x="65" y="252"/>
                        </a:lnTo>
                        <a:lnTo>
                          <a:pt x="38" y="231"/>
                        </a:lnTo>
                        <a:lnTo>
                          <a:pt x="17" y="204"/>
                        </a:lnTo>
                        <a:lnTo>
                          <a:pt x="4" y="172"/>
                        </a:lnTo>
                        <a:lnTo>
                          <a:pt x="0" y="135"/>
                        </a:lnTo>
                        <a:lnTo>
                          <a:pt x="4" y="100"/>
                        </a:lnTo>
                        <a:lnTo>
                          <a:pt x="17" y="67"/>
                        </a:lnTo>
                        <a:lnTo>
                          <a:pt x="38" y="40"/>
                        </a:lnTo>
                        <a:lnTo>
                          <a:pt x="65" y="19"/>
                        </a:lnTo>
                        <a:lnTo>
                          <a:pt x="98" y="5"/>
                        </a:lnTo>
                        <a:lnTo>
                          <a:pt x="133" y="0"/>
                        </a:lnTo>
                        <a:lnTo>
                          <a:pt x="168" y="5"/>
                        </a:lnTo>
                        <a:lnTo>
                          <a:pt x="201" y="19"/>
                        </a:lnTo>
                        <a:lnTo>
                          <a:pt x="228" y="40"/>
                        </a:lnTo>
                        <a:lnTo>
                          <a:pt x="249" y="67"/>
                        </a:lnTo>
                        <a:lnTo>
                          <a:pt x="262" y="100"/>
                        </a:lnTo>
                        <a:lnTo>
                          <a:pt x="267" y="135"/>
                        </a:lnTo>
                        <a:lnTo>
                          <a:pt x="262" y="172"/>
                        </a:lnTo>
                        <a:lnTo>
                          <a:pt x="249" y="204"/>
                        </a:lnTo>
                        <a:lnTo>
                          <a:pt x="228" y="231"/>
                        </a:lnTo>
                        <a:lnTo>
                          <a:pt x="201" y="252"/>
                        </a:lnTo>
                        <a:lnTo>
                          <a:pt x="168" y="265"/>
                        </a:lnTo>
                        <a:lnTo>
                          <a:pt x="133" y="270"/>
                        </a:lnTo>
                        <a:close/>
                        <a:moveTo>
                          <a:pt x="133" y="40"/>
                        </a:moveTo>
                        <a:lnTo>
                          <a:pt x="104" y="45"/>
                        </a:lnTo>
                        <a:lnTo>
                          <a:pt x="78" y="59"/>
                        </a:lnTo>
                        <a:lnTo>
                          <a:pt x="57" y="80"/>
                        </a:lnTo>
                        <a:lnTo>
                          <a:pt x="45" y="106"/>
                        </a:lnTo>
                        <a:lnTo>
                          <a:pt x="40" y="135"/>
                        </a:lnTo>
                        <a:lnTo>
                          <a:pt x="45" y="166"/>
                        </a:lnTo>
                        <a:lnTo>
                          <a:pt x="57" y="191"/>
                        </a:lnTo>
                        <a:lnTo>
                          <a:pt x="78" y="212"/>
                        </a:lnTo>
                        <a:lnTo>
                          <a:pt x="104" y="225"/>
                        </a:lnTo>
                        <a:lnTo>
                          <a:pt x="133" y="230"/>
                        </a:lnTo>
                        <a:lnTo>
                          <a:pt x="162" y="225"/>
                        </a:lnTo>
                        <a:lnTo>
                          <a:pt x="188" y="212"/>
                        </a:lnTo>
                        <a:lnTo>
                          <a:pt x="209" y="191"/>
                        </a:lnTo>
                        <a:lnTo>
                          <a:pt x="221" y="166"/>
                        </a:lnTo>
                        <a:lnTo>
                          <a:pt x="226" y="135"/>
                        </a:lnTo>
                        <a:lnTo>
                          <a:pt x="221" y="106"/>
                        </a:lnTo>
                        <a:lnTo>
                          <a:pt x="209" y="80"/>
                        </a:lnTo>
                        <a:lnTo>
                          <a:pt x="188" y="59"/>
                        </a:lnTo>
                        <a:lnTo>
                          <a:pt x="162" y="45"/>
                        </a:lnTo>
                        <a:lnTo>
                          <a:pt x="133" y="4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sp>
                <p:nvSpPr>
                  <p:cNvPr id="104" name="Freeform 302"/>
                  <p:cNvSpPr>
                    <a:spLocks/>
                  </p:cNvSpPr>
                  <p:nvPr/>
                </p:nvSpPr>
                <p:spPr bwMode="auto">
                  <a:xfrm>
                    <a:off x="2998789" y="1833563"/>
                    <a:ext cx="66675" cy="84138"/>
                  </a:xfrm>
                  <a:custGeom>
                    <a:avLst/>
                    <a:gdLst>
                      <a:gd name="T0" fmla="*/ 0 w 42"/>
                      <a:gd name="T1" fmla="*/ 6 h 53"/>
                      <a:gd name="T2" fmla="*/ 0 w 42"/>
                      <a:gd name="T3" fmla="*/ 37 h 53"/>
                      <a:gd name="T4" fmla="*/ 0 w 42"/>
                      <a:gd name="T5" fmla="*/ 46 h 53"/>
                      <a:gd name="T6" fmla="*/ 42 w 42"/>
                      <a:gd name="T7" fmla="*/ 53 h 53"/>
                      <a:gd name="T8" fmla="*/ 42 w 42"/>
                      <a:gd name="T9" fmla="*/ 37 h 53"/>
                      <a:gd name="T10" fmla="*/ 42 w 42"/>
                      <a:gd name="T11" fmla="*/ 14 h 53"/>
                      <a:gd name="T12" fmla="*/ 42 w 42"/>
                      <a:gd name="T13" fmla="*/ 0 h 53"/>
                      <a:gd name="T14" fmla="*/ 0 w 42"/>
                      <a:gd name="T15" fmla="*/ 6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53">
                        <a:moveTo>
                          <a:pt x="0" y="6"/>
                        </a:moveTo>
                        <a:lnTo>
                          <a:pt x="0" y="37"/>
                        </a:lnTo>
                        <a:lnTo>
                          <a:pt x="0" y="46"/>
                        </a:lnTo>
                        <a:lnTo>
                          <a:pt x="42" y="53"/>
                        </a:lnTo>
                        <a:lnTo>
                          <a:pt x="42" y="37"/>
                        </a:lnTo>
                        <a:lnTo>
                          <a:pt x="42" y="14"/>
                        </a:lnTo>
                        <a:lnTo>
                          <a:pt x="42" y="0"/>
                        </a:lnTo>
                        <a:lnTo>
                          <a:pt x="0" y="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endParaRPr lang="en-US" sz="1050">
                      <a:solidFill>
                        <a:srgbClr val="000000"/>
                      </a:solidFill>
                      <a:latin typeface="Univers for KPMG" panose="020B0603020202020204" pitchFamily="34" charset="0"/>
                    </a:endParaRPr>
                  </a:p>
                </p:txBody>
              </p:sp>
            </p:grpSp>
          </p:grpSp>
          <p:grpSp>
            <p:nvGrpSpPr>
              <p:cNvPr id="82" name="Group 280"/>
              <p:cNvGrpSpPr/>
              <p:nvPr/>
            </p:nvGrpSpPr>
            <p:grpSpPr>
              <a:xfrm>
                <a:off x="6312016" y="4727955"/>
                <a:ext cx="2133484" cy="869411"/>
                <a:chOff x="269144" y="4058491"/>
                <a:chExt cx="1857072" cy="766555"/>
              </a:xfrm>
            </p:grpSpPr>
            <p:sp>
              <p:nvSpPr>
                <p:cNvPr id="83" name="Rectangle 281"/>
                <p:cNvSpPr/>
                <p:nvPr/>
              </p:nvSpPr>
              <p:spPr>
                <a:xfrm>
                  <a:off x="489654" y="4058491"/>
                  <a:ext cx="1371627" cy="259498"/>
                </a:xfrm>
                <a:prstGeom prst="rect">
                  <a:avLst/>
                </a:prstGeom>
              </p:spPr>
              <p:txBody>
                <a:bodyPr wrap="square">
                  <a:spAutoFit/>
                </a:bodyPr>
                <a:lstStyle/>
                <a:p>
                  <a:pPr algn="ctr" defTabSz="685800"/>
                  <a:r>
                    <a:rPr lang="en-US" sz="1200" b="1" u="sng">
                      <a:solidFill>
                        <a:srgbClr val="00A3A1">
                          <a:lumMod val="20000"/>
                          <a:lumOff val="80000"/>
                        </a:srgbClr>
                      </a:solidFill>
                      <a:latin typeface="Univers for KPMG" panose="020B0603020202020204" pitchFamily="34" charset="0"/>
                    </a:rPr>
                    <a:t>Prioritize innovation</a:t>
                  </a:r>
                  <a:endParaRPr lang="en-US" sz="1050" u="sng">
                    <a:solidFill>
                      <a:srgbClr val="00A3A1">
                        <a:lumMod val="20000"/>
                        <a:lumOff val="80000"/>
                      </a:srgbClr>
                    </a:solidFill>
                    <a:latin typeface="Univers for KPMG" panose="020B0603020202020204" pitchFamily="34" charset="0"/>
                  </a:endParaRPr>
                </a:p>
              </p:txBody>
            </p:sp>
            <p:sp>
              <p:nvSpPr>
                <p:cNvPr id="84" name="TextBox 282"/>
                <p:cNvSpPr txBox="1"/>
                <p:nvPr/>
              </p:nvSpPr>
              <p:spPr>
                <a:xfrm>
                  <a:off x="269144" y="4284426"/>
                  <a:ext cx="1857072" cy="540620"/>
                </a:xfrm>
                <a:prstGeom prst="rect">
                  <a:avLst/>
                </a:prstGeom>
                <a:noFill/>
              </p:spPr>
              <p:txBody>
                <a:bodyPr wrap="square" rtlCol="0">
                  <a:spAutoFit/>
                </a:bodyPr>
                <a:lstStyle/>
                <a:p>
                  <a:pPr defTabSz="685800"/>
                  <a:r>
                    <a:rPr lang="en-US" sz="1050" dirty="0">
                      <a:solidFill>
                        <a:prstClr val="white"/>
                      </a:solidFill>
                      <a:latin typeface="Univers for KPMG" panose="020B0603020202020204" pitchFamily="34" charset="0"/>
                      <a:cs typeface="Arial" panose="020B0604020202020204" pitchFamily="34" charset="0"/>
                    </a:rPr>
                    <a:t>Make funding innovative, evidence-informed solutions, that have not yet been tried in Massachusetts, a priority. </a:t>
                  </a:r>
                </a:p>
              </p:txBody>
            </p:sp>
          </p:grpSp>
        </p:grpSp>
      </p:grpSp>
      <p:sp>
        <p:nvSpPr>
          <p:cNvPr id="115" name="Title 1">
            <a:extLst>
              <a:ext uri="{FF2B5EF4-FFF2-40B4-BE49-F238E27FC236}">
                <a16:creationId xmlns:a16="http://schemas.microsoft.com/office/drawing/2014/main" id="{C889A831-5592-46D7-B848-7DA03F166AE9}"/>
              </a:ext>
            </a:extLst>
          </p:cNvPr>
          <p:cNvSpPr txBox="1">
            <a:spLocks/>
          </p:cNvSpPr>
          <p:nvPr/>
        </p:nvSpPr>
        <p:spPr>
          <a:xfrm>
            <a:off x="128964" y="493561"/>
            <a:ext cx="7886700" cy="646385"/>
          </a:xfrm>
          <a:prstGeom prst="rect">
            <a:avLst/>
          </a:prstGeom>
        </p:spPr>
        <p:txBody>
          <a:bodyPr vert="horz" lIns="0" tIns="0" rIns="0" bIns="0" rtlCol="0" anchor="t" anchorCtr="0">
            <a:noAutofit/>
          </a:bodyPr>
          <a:lstStyle>
            <a:lvl1pPr algn="l" defTabSz="914400" rtl="0" eaLnBrk="1" latinLnBrk="0" hangingPunct="1">
              <a:lnSpc>
                <a:spcPct val="72000"/>
              </a:lnSpc>
              <a:spcBef>
                <a:spcPct val="0"/>
              </a:spcBef>
              <a:buNone/>
              <a:defRPr sz="3600" kern="1200">
                <a:solidFill>
                  <a:schemeClr val="tx2"/>
                </a:solidFill>
                <a:latin typeface="+mn-lt"/>
                <a:ea typeface="+mj-ea"/>
                <a:cs typeface="+mj-cs"/>
              </a:defRPr>
            </a:lvl1pPr>
          </a:lstStyle>
          <a:p>
            <a:pPr defTabSz="685800">
              <a:lnSpc>
                <a:spcPct val="100000"/>
              </a:lnSpc>
              <a:defRPr/>
            </a:pPr>
            <a:r>
              <a:rPr lang="en-US" sz="2400" dirty="0">
                <a:solidFill>
                  <a:srgbClr val="00338D"/>
                </a:solidFill>
                <a:latin typeface="Arial"/>
              </a:rPr>
              <a:t>Opportunities identified in Workshop 1</a:t>
            </a:r>
          </a:p>
        </p:txBody>
      </p:sp>
    </p:spTree>
    <p:extLst>
      <p:ext uri="{BB962C8B-B14F-4D97-AF65-F5344CB8AC3E}">
        <p14:creationId xmlns:p14="http://schemas.microsoft.com/office/powerpoint/2010/main" val="12068690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1D05E-6844-4018-9011-CD1E07EA1F29}"/>
              </a:ext>
            </a:extLst>
          </p:cNvPr>
          <p:cNvSpPr>
            <a:spLocks noGrp="1"/>
          </p:cNvSpPr>
          <p:nvPr>
            <p:ph type="ctrTitle"/>
          </p:nvPr>
        </p:nvSpPr>
        <p:spPr>
          <a:xfrm>
            <a:off x="782228" y="2112750"/>
            <a:ext cx="3646969" cy="2632500"/>
          </a:xfrm>
        </p:spPr>
        <p:txBody>
          <a:bodyPr>
            <a:noAutofit/>
          </a:bodyPr>
          <a:lstStyle/>
          <a:p>
            <a:br>
              <a:rPr lang="en-US" sz="1050" b="1"/>
            </a:br>
            <a:br>
              <a:rPr lang="en-US" sz="1500"/>
            </a:br>
            <a:r>
              <a:rPr lang="en-US" sz="6000"/>
              <a:t>Thank you!</a:t>
            </a:r>
            <a:endParaRPr lang="en-US" sz="5400"/>
          </a:p>
        </p:txBody>
      </p:sp>
    </p:spTree>
    <p:extLst>
      <p:ext uri="{BB962C8B-B14F-4D97-AF65-F5344CB8AC3E}">
        <p14:creationId xmlns:p14="http://schemas.microsoft.com/office/powerpoint/2010/main" val="38574305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2BB748-0364-4F01-9611-8F6600DB9DD6}"/>
              </a:ext>
            </a:extLst>
          </p:cNvPr>
          <p:cNvSpPr>
            <a:spLocks noGrp="1"/>
          </p:cNvSpPr>
          <p:nvPr>
            <p:ph type="ctrTitle"/>
          </p:nvPr>
        </p:nvSpPr>
        <p:spPr>
          <a:xfrm>
            <a:off x="110939" y="1933725"/>
            <a:ext cx="4271650" cy="2632500"/>
          </a:xfrm>
        </p:spPr>
        <p:txBody>
          <a:bodyPr/>
          <a:lstStyle/>
          <a:p>
            <a:r>
              <a:rPr lang="en-US" dirty="0"/>
              <a:t>Appendix </a:t>
            </a:r>
          </a:p>
        </p:txBody>
      </p:sp>
      <p:sp>
        <p:nvSpPr>
          <p:cNvPr id="3" name="Text Placeholder 2">
            <a:extLst>
              <a:ext uri="{FF2B5EF4-FFF2-40B4-BE49-F238E27FC236}">
                <a16:creationId xmlns:a16="http://schemas.microsoft.com/office/drawing/2014/main" id="{5E5E5B0C-F18D-4AF0-A3EB-12D5829944FA}"/>
              </a:ext>
            </a:extLst>
          </p:cNvPr>
          <p:cNvSpPr>
            <a:spLocks noGrp="1"/>
          </p:cNvSpPr>
          <p:nvPr>
            <p:ph type="body" sz="quarter" idx="11"/>
          </p:nvPr>
        </p:nvSpPr>
        <p:spPr>
          <a:xfrm>
            <a:off x="757564" y="3249975"/>
            <a:ext cx="3625025" cy="1122299"/>
          </a:xfrm>
        </p:spPr>
        <p:txBody>
          <a:bodyPr/>
          <a:lstStyle/>
          <a:p>
            <a:r>
              <a:rPr lang="en-US" sz="1500"/>
              <a:t>Gap Analysis and Environmental Scan Highlights</a:t>
            </a:r>
          </a:p>
        </p:txBody>
      </p:sp>
    </p:spTree>
    <p:extLst>
      <p:ext uri="{BB962C8B-B14F-4D97-AF65-F5344CB8AC3E}">
        <p14:creationId xmlns:p14="http://schemas.microsoft.com/office/powerpoint/2010/main" val="1846272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B8AEAD24-D0DF-460C-90FE-A8BB1ED37B14}"/>
              </a:ext>
            </a:extLst>
          </p:cNvPr>
          <p:cNvSpPr txBox="1">
            <a:spLocks/>
          </p:cNvSpPr>
          <p:nvPr/>
        </p:nvSpPr>
        <p:spPr>
          <a:xfrm>
            <a:off x="628650" y="5666112"/>
            <a:ext cx="8320964" cy="338932"/>
          </a:xfrm>
          <a:prstGeom prst="rect">
            <a:avLst/>
          </a:prstGeom>
        </p:spPr>
        <p:txBody>
          <a:bodyPr vert="horz" lIns="68580" tIns="34290" rIns="68580" bIns="3429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a:defRPr/>
            </a:pPr>
            <a:endParaRPr lang="en-US" sz="1800" b="1">
              <a:solidFill>
                <a:sysClr val="windowText" lastClr="000000"/>
              </a:solidFill>
              <a:latin typeface="Calibri Light" panose="020F0302020204030204"/>
            </a:endParaRPr>
          </a:p>
        </p:txBody>
      </p:sp>
      <p:sp>
        <p:nvSpPr>
          <p:cNvPr id="9" name="Title 1">
            <a:extLst>
              <a:ext uri="{FF2B5EF4-FFF2-40B4-BE49-F238E27FC236}">
                <a16:creationId xmlns:a16="http://schemas.microsoft.com/office/drawing/2014/main" id="{AF72BEED-B572-43C3-B4C0-AAA983F0A352}"/>
              </a:ext>
            </a:extLst>
          </p:cNvPr>
          <p:cNvSpPr txBox="1">
            <a:spLocks/>
          </p:cNvSpPr>
          <p:nvPr/>
        </p:nvSpPr>
        <p:spPr>
          <a:xfrm>
            <a:off x="228600" y="275253"/>
            <a:ext cx="8534400" cy="604597"/>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3600" kern="1200">
                <a:solidFill>
                  <a:schemeClr val="tx2"/>
                </a:solidFill>
                <a:latin typeface="+mn-lt"/>
                <a:ea typeface="+mj-ea"/>
                <a:cs typeface="+mj-cs"/>
              </a:defRPr>
            </a:lvl1pPr>
          </a:lstStyle>
          <a:p>
            <a:pPr defTabSz="685800">
              <a:defRPr/>
            </a:pPr>
            <a:r>
              <a:rPr lang="en-US" sz="2400" dirty="0">
                <a:solidFill>
                  <a:srgbClr val="00338D"/>
                </a:solidFill>
                <a:latin typeface="Arial"/>
              </a:rPr>
              <a:t>Highlights from the gap analysis and environmental scan</a:t>
            </a:r>
          </a:p>
        </p:txBody>
      </p:sp>
      <p:graphicFrame>
        <p:nvGraphicFramePr>
          <p:cNvPr id="4" name="Table 8">
            <a:extLst>
              <a:ext uri="{FF2B5EF4-FFF2-40B4-BE49-F238E27FC236}">
                <a16:creationId xmlns:a16="http://schemas.microsoft.com/office/drawing/2014/main" id="{EBCBEEA8-B771-4AC5-90C2-052B30FDD534}"/>
              </a:ext>
            </a:extLst>
          </p:cNvPr>
          <p:cNvGraphicFramePr>
            <a:graphicFrameLocks noGrp="1"/>
          </p:cNvGraphicFramePr>
          <p:nvPr>
            <p:extLst>
              <p:ext uri="{D42A27DB-BD31-4B8C-83A1-F6EECF244321}">
                <p14:modId xmlns:p14="http://schemas.microsoft.com/office/powerpoint/2010/main" val="2572097677"/>
              </p:ext>
            </p:extLst>
          </p:nvPr>
        </p:nvGraphicFramePr>
        <p:xfrm>
          <a:off x="349624" y="879850"/>
          <a:ext cx="8320964" cy="5014444"/>
        </p:xfrm>
        <a:graphic>
          <a:graphicData uri="http://schemas.openxmlformats.org/drawingml/2006/table">
            <a:tbl>
              <a:tblPr firstRow="1" bandRow="1">
                <a:tableStyleId>{5C22544A-7EE6-4342-B048-85BDC9FD1C3A}</a:tableStyleId>
              </a:tblPr>
              <a:tblGrid>
                <a:gridCol w="1035633">
                  <a:extLst>
                    <a:ext uri="{9D8B030D-6E8A-4147-A177-3AD203B41FA5}">
                      <a16:colId xmlns:a16="http://schemas.microsoft.com/office/drawing/2014/main" val="1121411227"/>
                    </a:ext>
                  </a:extLst>
                </a:gridCol>
                <a:gridCol w="7285331">
                  <a:extLst>
                    <a:ext uri="{9D8B030D-6E8A-4147-A177-3AD203B41FA5}">
                      <a16:colId xmlns:a16="http://schemas.microsoft.com/office/drawing/2014/main" val="613668119"/>
                    </a:ext>
                  </a:extLst>
                </a:gridCol>
              </a:tblGrid>
              <a:tr h="300001">
                <a:tc>
                  <a:txBody>
                    <a:bodyPr/>
                    <a:lstStyle/>
                    <a:p>
                      <a:pPr algn="ctr"/>
                      <a:r>
                        <a:rPr lang="en-US" sz="1200" dirty="0">
                          <a:latin typeface="Univers 45 Light"/>
                        </a:rPr>
                        <a:t>Topic</a:t>
                      </a:r>
                    </a:p>
                  </a:txBody>
                  <a:tcPr marL="68580" marR="68580" marT="34290" marB="34290" anchor="ctr">
                    <a:solidFill>
                      <a:srgbClr val="00338D"/>
                    </a:solidFill>
                  </a:tcPr>
                </a:tc>
                <a:tc>
                  <a:txBody>
                    <a:bodyPr/>
                    <a:lstStyle/>
                    <a:p>
                      <a:pPr algn="ctr"/>
                      <a:r>
                        <a:rPr lang="en-US" sz="1200" dirty="0">
                          <a:latin typeface="Univers 45 Light"/>
                        </a:rPr>
                        <a:t>Highlights</a:t>
                      </a:r>
                    </a:p>
                  </a:txBody>
                  <a:tcPr marL="68580" marR="68580" marT="34290" marB="34290" anchor="ctr">
                    <a:solidFill>
                      <a:srgbClr val="00338D"/>
                    </a:solidFill>
                  </a:tcPr>
                </a:tc>
                <a:extLst>
                  <a:ext uri="{0D108BD9-81ED-4DB2-BD59-A6C34878D82A}">
                    <a16:rowId xmlns:a16="http://schemas.microsoft.com/office/drawing/2014/main" val="2302244768"/>
                  </a:ext>
                </a:extLst>
              </a:tr>
              <a:tr h="11727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Univers 45 Light"/>
                        </a:rPr>
                        <a:t>Data Collection and Performance Management</a:t>
                      </a:r>
                    </a:p>
                  </a:txBody>
                  <a:tcPr marL="68580" marR="68580" marT="34290" marB="34290" anchor="ctr"/>
                </a:tc>
                <a:tc>
                  <a: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a:solidFill>
                            <a:schemeClr val="tx1"/>
                          </a:solidFill>
                          <a:latin typeface="Univers 45 Light"/>
                        </a:rPr>
                        <a:t>All states reviewed continue to measure the opioid overdose crisis through mostly downstream, negative medical outcom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a:solidFill>
                            <a:schemeClr val="tx1"/>
                          </a:solidFill>
                          <a:latin typeface="Univers 45 Light"/>
                        </a:rPr>
                        <a:t>None of the states reviewed captured more upstream and qualitative metrics to elevate the role of monitoring positive outcome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a:solidFill>
                            <a:schemeClr val="tx1"/>
                          </a:solidFill>
                          <a:latin typeface="Univers 45 Light"/>
                        </a:rPr>
                        <a:t>Massachusetts largely publishes data on the opioid crisis in static, tabular reports, which differs from several other states and jurisdictions where access to KPIs is more interactive (e.g., using Tableau dashboards). </a:t>
                      </a:r>
                    </a:p>
                  </a:txBody>
                  <a:tcPr marL="68580" marR="68580" marT="34290" marB="34290" anchor="ctr"/>
                </a:tc>
                <a:extLst>
                  <a:ext uri="{0D108BD9-81ED-4DB2-BD59-A6C34878D82A}">
                    <a16:rowId xmlns:a16="http://schemas.microsoft.com/office/drawing/2014/main" val="1626284778"/>
                  </a:ext>
                </a:extLst>
              </a:tr>
              <a:tr h="6689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Univers 45 Light"/>
                        </a:rPr>
                        <a:t>Legislation and Regulation</a:t>
                      </a:r>
                      <a:endParaRPr lang="en-US" sz="900" b="1" strike="sngStrike" baseline="0">
                        <a:solidFill>
                          <a:schemeClr val="tx1"/>
                        </a:solidFill>
                        <a:latin typeface="Univers 45 Light"/>
                      </a:endParaRPr>
                    </a:p>
                  </a:txBody>
                  <a:tcPr marL="68580" marR="68580" marT="34290" marB="34290" anchor="ctr"/>
                </a:tc>
                <a:tc>
                  <a:txBody>
                    <a:bodyPr/>
                    <a:lstStyle/>
                    <a:p>
                      <a:pPr marL="228600" marR="0" lvl="0" indent="-228600" algn="l" rtl="0" eaLnBrk="1" fontAlgn="auto" latinLnBrk="0" hangingPunct="1">
                        <a:lnSpc>
                          <a:spcPct val="100000"/>
                        </a:lnSpc>
                        <a:spcBef>
                          <a:spcPts val="0"/>
                        </a:spcBef>
                        <a:spcAft>
                          <a:spcPts val="0"/>
                        </a:spcAft>
                        <a:buClrTx/>
                        <a:buSzTx/>
                        <a:buFontTx/>
                        <a:buAutoNum type="arabicPeriod"/>
                      </a:pPr>
                      <a:r>
                        <a:rPr lang="en-US" sz="1000" b="0">
                          <a:solidFill>
                            <a:schemeClr val="tx1"/>
                          </a:solidFill>
                          <a:latin typeface="Univers 45 Light"/>
                        </a:rPr>
                        <a:t>The majority of states have introduced legislation to create opioid settlement funds and advisory councils similar to Massachusetts’ approach to the ORRF Advisory Council and its funding priorities.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a:solidFill>
                            <a:schemeClr val="tx1"/>
                          </a:solidFill>
                          <a:latin typeface="Univers 45 Light"/>
                        </a:rPr>
                        <a:t>Most states are in the initial planning stages and have not yet identified priorities or allocated funds.</a:t>
                      </a:r>
                    </a:p>
                  </a:txBody>
                  <a:tcPr marL="68580" marR="68580" marT="34290" marB="34290" anchor="ctr"/>
                </a:tc>
                <a:extLst>
                  <a:ext uri="{0D108BD9-81ED-4DB2-BD59-A6C34878D82A}">
                    <a16:rowId xmlns:a16="http://schemas.microsoft.com/office/drawing/2014/main" val="3472608351"/>
                  </a:ext>
                </a:extLst>
              </a:tr>
              <a:tr h="9909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Univers 45 Light"/>
                        </a:rPr>
                        <a:t>Funding Approaches</a:t>
                      </a:r>
                      <a:endParaRPr lang="en-US" sz="900" b="1" strike="sngStrike" baseline="0">
                        <a:solidFill>
                          <a:schemeClr val="tx1"/>
                        </a:solidFill>
                        <a:latin typeface="Univers 45 Light"/>
                      </a:endParaRPr>
                    </a:p>
                  </a:txBody>
                  <a:tcPr marL="68580" marR="68580" marT="34290" marB="34290" anchor="ctr"/>
                </a:tc>
                <a:tc>
                  <a: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dirty="0">
                          <a:solidFill>
                            <a:schemeClr val="tx1"/>
                          </a:solidFill>
                          <a:latin typeface="Univers 45 Light"/>
                        </a:rPr>
                        <a:t>All states reviewed use a multipronged, interagency approach.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dirty="0">
                          <a:solidFill>
                            <a:schemeClr val="tx1"/>
                          </a:solidFill>
                          <a:latin typeface="Univers 45 Light"/>
                        </a:rPr>
                        <a:t>Two areas that are not as pronounced in the Massachusetts funding strategy and have been observed in other states are investments in new data collection and research.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dirty="0">
                          <a:solidFill>
                            <a:schemeClr val="tx1"/>
                          </a:solidFill>
                          <a:latin typeface="Univers 45 Light"/>
                        </a:rPr>
                        <a:t>Without a central database of programs and services, it is challenging to identify which initiatives Massachusetts has already trialed, how success was measured, and which ones would represent new options to complement existing efforts. </a:t>
                      </a:r>
                    </a:p>
                  </a:txBody>
                  <a:tcPr marL="68580" marR="68580" marT="34290" marB="34290" anchor="ctr"/>
                </a:tc>
                <a:extLst>
                  <a:ext uri="{0D108BD9-81ED-4DB2-BD59-A6C34878D82A}">
                    <a16:rowId xmlns:a16="http://schemas.microsoft.com/office/drawing/2014/main" val="80936294"/>
                  </a:ext>
                </a:extLst>
              </a:tr>
              <a:tr h="6272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Univers 45 Light"/>
                        </a:rPr>
                        <a:t>Program Design</a:t>
                      </a:r>
                    </a:p>
                  </a:txBody>
                  <a:tcPr marL="68580" marR="68580" marT="34290" marB="34290" anchor="ctr"/>
                </a:tc>
                <a:tc>
                  <a: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strike="noStrike" baseline="0">
                          <a:solidFill>
                            <a:schemeClr val="tx1"/>
                          </a:solidFill>
                          <a:latin typeface="Univers 45 Light"/>
                        </a:rPr>
                        <a:t>Several innovative examples of programs from other states were found in prevention efforts, interagency collaboration, treatment, and recovery for the ORRF to consider as it works to finalize its strategic plan initiative.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strike="noStrike" baseline="0">
                          <a:solidFill>
                            <a:schemeClr val="tx1"/>
                          </a:solidFill>
                          <a:latin typeface="Univers 45 Light"/>
                        </a:rPr>
                        <a:t>Innovative examples included methadone delivery services and overdose spike text alerts.</a:t>
                      </a:r>
                    </a:p>
                  </a:txBody>
                  <a:tcPr marL="68580" marR="68580" marT="34290" marB="34290" anchor="ctr"/>
                </a:tc>
                <a:extLst>
                  <a:ext uri="{0D108BD9-81ED-4DB2-BD59-A6C34878D82A}">
                    <a16:rowId xmlns:a16="http://schemas.microsoft.com/office/drawing/2014/main" val="327874945"/>
                  </a:ext>
                </a:extLst>
              </a:tr>
              <a:tr h="8090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Univers 45 Light"/>
                        </a:rPr>
                        <a:t>Community Engagement and Health Equity</a:t>
                      </a:r>
                    </a:p>
                  </a:txBody>
                  <a:tcPr marL="68580" marR="68580" marT="34290" marB="34290" anchor="ctr"/>
                </a:tc>
                <a:tc>
                  <a: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strike="noStrike" baseline="0" dirty="0">
                          <a:solidFill>
                            <a:schemeClr val="tx1"/>
                          </a:solidFill>
                          <a:latin typeface="Univers 45 Light"/>
                        </a:rPr>
                        <a:t>In some jurisdictions, community members are being hired as experts and co-researchers, which is an expansion of the more traditional role of providing inpu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b="0" strike="noStrike" baseline="0" dirty="0">
                          <a:solidFill>
                            <a:schemeClr val="tx1"/>
                          </a:solidFill>
                          <a:latin typeface="Univers 45 Light"/>
                        </a:rPr>
                        <a:t>Funding small, community-based, grassroots initiatives, particularly those led by women and people of color, could be an important strategy to reduce disparities across communities.</a:t>
                      </a:r>
                    </a:p>
                  </a:txBody>
                  <a:tcPr marL="68580" marR="68580" marT="34290" marB="34290" anchor="ctr"/>
                </a:tc>
                <a:extLst>
                  <a:ext uri="{0D108BD9-81ED-4DB2-BD59-A6C34878D82A}">
                    <a16:rowId xmlns:a16="http://schemas.microsoft.com/office/drawing/2014/main" val="2907854598"/>
                  </a:ext>
                </a:extLst>
              </a:tr>
              <a:tr h="4454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tx1"/>
                          </a:solidFill>
                          <a:latin typeface="Univers 45 Light"/>
                        </a:rPr>
                        <a:t>Other</a:t>
                      </a:r>
                    </a:p>
                  </a:txBody>
                  <a:tcPr marL="68580" marR="68580" marT="34290" marB="34290" anchor="ctr"/>
                </a:tc>
                <a:tc>
                  <a: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000" kern="1200" dirty="0">
                          <a:solidFill>
                            <a:schemeClr val="dk1"/>
                          </a:solidFill>
                          <a:effectLst/>
                          <a:latin typeface="Univers 45 Light"/>
                          <a:ea typeface="+mn-ea"/>
                          <a:cs typeface="+mn-cs"/>
                        </a:rPr>
                        <a:t>Many of the innovative strategies used by peer nations would require Massachusetts to consider legislative changes and/or to seek waiver authority from the federal government to initiate pilots. </a:t>
                      </a:r>
                      <a:endParaRPr lang="en-US" sz="1000" b="0" dirty="0">
                        <a:solidFill>
                          <a:schemeClr val="tx1"/>
                        </a:solidFill>
                        <a:latin typeface="Univers 45 Light"/>
                      </a:endParaRPr>
                    </a:p>
                  </a:txBody>
                  <a:tcPr marL="68580" marR="68580" marT="34290" marB="34290" anchor="ctr"/>
                </a:tc>
                <a:extLst>
                  <a:ext uri="{0D108BD9-81ED-4DB2-BD59-A6C34878D82A}">
                    <a16:rowId xmlns:a16="http://schemas.microsoft.com/office/drawing/2014/main" val="1728443879"/>
                  </a:ext>
                </a:extLst>
              </a:tr>
            </a:tbl>
          </a:graphicData>
        </a:graphic>
      </p:graphicFrame>
    </p:spTree>
    <p:extLst>
      <p:ext uri="{BB962C8B-B14F-4D97-AF65-F5344CB8AC3E}">
        <p14:creationId xmlns:p14="http://schemas.microsoft.com/office/powerpoint/2010/main" val="30785414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09538"/>
            <a:ext cx="5029200" cy="762000"/>
          </a:xfrm>
        </p:spPr>
        <p:txBody>
          <a:bodyPr anchor="ctr"/>
          <a:lstStyle/>
          <a:p>
            <a:r>
              <a:rPr lang="en-US" dirty="0">
                <a:latin typeface="Calibri" panose="020F0502020204030204" pitchFamily="34" charset="0"/>
              </a:rPr>
              <a:t>Upcoming Meetings</a:t>
            </a:r>
          </a:p>
        </p:txBody>
      </p:sp>
      <p:graphicFrame>
        <p:nvGraphicFramePr>
          <p:cNvPr id="5" name="Table 4"/>
          <p:cNvGraphicFramePr>
            <a:graphicFrameLocks noGrp="1"/>
          </p:cNvGraphicFramePr>
          <p:nvPr>
            <p:extLst>
              <p:ext uri="{D42A27DB-BD31-4B8C-83A1-F6EECF244321}">
                <p14:modId xmlns:p14="http://schemas.microsoft.com/office/powerpoint/2010/main" val="2439594700"/>
              </p:ext>
            </p:extLst>
          </p:nvPr>
        </p:nvGraphicFramePr>
        <p:xfrm>
          <a:off x="460022" y="1676400"/>
          <a:ext cx="8223956" cy="2921000"/>
        </p:xfrm>
        <a:graphic>
          <a:graphicData uri="http://schemas.openxmlformats.org/drawingml/2006/table">
            <a:tbl>
              <a:tblPr firstRow="1" bandRow="1">
                <a:tableStyleId>{2A488322-F2BA-4B5B-9748-0D474271808F}</a:tableStyleId>
              </a:tblPr>
              <a:tblGrid>
                <a:gridCol w="2849316">
                  <a:extLst>
                    <a:ext uri="{9D8B030D-6E8A-4147-A177-3AD203B41FA5}">
                      <a16:colId xmlns:a16="http://schemas.microsoft.com/office/drawing/2014/main" val="20000"/>
                    </a:ext>
                  </a:extLst>
                </a:gridCol>
                <a:gridCol w="2819400">
                  <a:extLst>
                    <a:ext uri="{9D8B030D-6E8A-4147-A177-3AD203B41FA5}">
                      <a16:colId xmlns:a16="http://schemas.microsoft.com/office/drawing/2014/main" val="20001"/>
                    </a:ext>
                  </a:extLst>
                </a:gridCol>
                <a:gridCol w="2555240">
                  <a:extLst>
                    <a:ext uri="{9D8B030D-6E8A-4147-A177-3AD203B41FA5}">
                      <a16:colId xmlns:a16="http://schemas.microsoft.com/office/drawing/2014/main" val="20002"/>
                    </a:ext>
                  </a:extLst>
                </a:gridCol>
              </a:tblGrid>
              <a:tr h="584200">
                <a:tc>
                  <a:txBody>
                    <a:bodyPr/>
                    <a:lstStyle/>
                    <a:p>
                      <a:pPr marL="112713" indent="0"/>
                      <a:r>
                        <a:rPr lang="en-US" sz="2200" dirty="0">
                          <a:latin typeface="Calibri" panose="020F0502020204030204" pitchFamily="34" charset="0"/>
                          <a:cs typeface="Calibri" panose="020F0502020204030204" pitchFamily="34" charset="0"/>
                        </a:rPr>
                        <a:t>D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a:txBody>
                    <a:bodyPr/>
                    <a:lstStyle/>
                    <a:p>
                      <a:pPr algn="ctr"/>
                      <a:r>
                        <a:rPr lang="en-US" sz="2200" dirty="0">
                          <a:latin typeface="Calibri" panose="020F0502020204030204" pitchFamily="34" charset="0"/>
                          <a:cs typeface="Calibri" panose="020F0502020204030204" pitchFamily="34" charset="0"/>
                        </a:rPr>
                        <a:t>Ti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366"/>
                    </a:solidFill>
                  </a:tcPr>
                </a:tc>
                <a:tc>
                  <a:txBody>
                    <a:bodyPr/>
                    <a:lstStyle/>
                    <a:p>
                      <a:pPr algn="ctr"/>
                      <a:r>
                        <a:rPr lang="en-US" sz="2200" dirty="0">
                          <a:latin typeface="Calibri" panose="020F0502020204030204" pitchFamily="34" charset="0"/>
                          <a:cs typeface="Calibri" panose="020F0502020204030204" pitchFamily="34" charset="0"/>
                        </a:rPr>
                        <a:t>Loc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366"/>
                    </a:solidFill>
                  </a:tcPr>
                </a:tc>
                <a:extLst>
                  <a:ext uri="{0D108BD9-81ED-4DB2-BD59-A6C34878D82A}">
                    <a16:rowId xmlns:a16="http://schemas.microsoft.com/office/drawing/2014/main" val="10000"/>
                  </a:ext>
                </a:extLst>
              </a:tr>
              <a:tr h="584200">
                <a:tc>
                  <a:txBody>
                    <a:bodyPr/>
                    <a:lstStyle/>
                    <a:p>
                      <a:pPr marL="119063" marR="0" lvl="0" indent="0" algn="l" defTabSz="914400" rtl="0" eaLnBrk="1" fontAlgn="auto" latinLnBrk="0" hangingPunct="1">
                        <a:lnSpc>
                          <a:spcPct val="100000"/>
                        </a:lnSpc>
                        <a:spcBef>
                          <a:spcPts val="0"/>
                        </a:spcBef>
                        <a:spcAft>
                          <a:spcPts val="0"/>
                        </a:spcAft>
                        <a:buClrTx/>
                        <a:buSzTx/>
                        <a:buFontTx/>
                        <a:buNone/>
                        <a:tabLst/>
                        <a:defRPr/>
                      </a:pPr>
                      <a:r>
                        <a:rPr lang="en-US" sz="2000" i="1" dirty="0">
                          <a:solidFill>
                            <a:schemeClr val="tx1"/>
                          </a:solidFill>
                          <a:latin typeface="Calibri" panose="020F0502020204030204" pitchFamily="34" charset="0"/>
                        </a:rPr>
                        <a:t>December 6</a:t>
                      </a:r>
                      <a:r>
                        <a:rPr lang="en-US" sz="2000" i="1" baseline="30000" dirty="0">
                          <a:solidFill>
                            <a:schemeClr val="tx1"/>
                          </a:solidFill>
                          <a:latin typeface="Calibri" panose="020F0502020204030204" pitchFamily="34" charset="0"/>
                        </a:rPr>
                        <a:t>th</a:t>
                      </a:r>
                      <a:r>
                        <a:rPr lang="en-US" sz="2000" i="1" dirty="0">
                          <a:solidFill>
                            <a:schemeClr val="tx1"/>
                          </a:solidFill>
                          <a:latin typeface="Calibri" panose="020F0502020204030204" pitchFamily="34" charset="0"/>
                        </a:rPr>
                        <a:t>, 2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0" i="1" dirty="0">
                          <a:solidFill>
                            <a:schemeClr val="tx1"/>
                          </a:solidFill>
                          <a:latin typeface="Calibri" panose="020F0502020204030204" pitchFamily="34" charset="0"/>
                        </a:rPr>
                        <a:t>3:00-4: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0" i="1" dirty="0">
                          <a:solidFill>
                            <a:schemeClr val="tx1"/>
                          </a:solidFill>
                          <a:latin typeface="Calibri" panose="020F0502020204030204" pitchFamily="34" charset="0"/>
                        </a:rPr>
                        <a:t>Zoo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5378762"/>
                  </a:ext>
                </a:extLst>
              </a:tr>
              <a:tr h="584200">
                <a:tc>
                  <a:txBody>
                    <a:bodyPr/>
                    <a:lstStyle/>
                    <a:p>
                      <a:pPr marL="119063" marR="0" lvl="0" indent="0" algn="l" defTabSz="914400" rtl="0" eaLnBrk="1" fontAlgn="auto" latinLnBrk="0" hangingPunct="1">
                        <a:lnSpc>
                          <a:spcPct val="100000"/>
                        </a:lnSpc>
                        <a:spcBef>
                          <a:spcPts val="0"/>
                        </a:spcBef>
                        <a:spcAft>
                          <a:spcPts val="0"/>
                        </a:spcAft>
                        <a:buClrTx/>
                        <a:buSzTx/>
                        <a:buFontTx/>
                        <a:buNone/>
                        <a:tabLst/>
                        <a:defRPr/>
                      </a:pPr>
                      <a:r>
                        <a:rPr lang="en-US" sz="2000" i="1" dirty="0">
                          <a:solidFill>
                            <a:schemeClr val="tx1"/>
                          </a:solidFill>
                          <a:latin typeface="Calibri" panose="020F0502020204030204" pitchFamily="34" charset="0"/>
                        </a:rPr>
                        <a:t>March 20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0" i="1" dirty="0">
                          <a:solidFill>
                            <a:schemeClr val="tx1"/>
                          </a:solidFill>
                          <a:latin typeface="Calibri" panose="020F0502020204030204" pitchFamily="34" charset="0"/>
                        </a:rPr>
                        <a:t>TB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0" i="1" dirty="0">
                          <a:solidFill>
                            <a:schemeClr val="tx1"/>
                          </a:solidFill>
                          <a:latin typeface="Calibri" panose="020F0502020204030204" pitchFamily="34" charset="0"/>
                        </a:rPr>
                        <a:t>TB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34123543"/>
                  </a:ext>
                </a:extLst>
              </a:tr>
              <a:tr h="584200">
                <a:tc>
                  <a:txBody>
                    <a:bodyPr/>
                    <a:lstStyle/>
                    <a:p>
                      <a:pPr marL="119063" marR="0" lvl="0" indent="0" algn="l" defTabSz="914400" rtl="0" eaLnBrk="1" fontAlgn="auto" latinLnBrk="0" hangingPunct="1">
                        <a:lnSpc>
                          <a:spcPct val="100000"/>
                        </a:lnSpc>
                        <a:spcBef>
                          <a:spcPts val="0"/>
                        </a:spcBef>
                        <a:spcAft>
                          <a:spcPts val="0"/>
                        </a:spcAft>
                        <a:buClrTx/>
                        <a:buSzTx/>
                        <a:buFontTx/>
                        <a:buNone/>
                        <a:tabLst/>
                        <a:defRPr/>
                      </a:pPr>
                      <a:r>
                        <a:rPr lang="en-US" sz="2000" i="1" dirty="0">
                          <a:solidFill>
                            <a:schemeClr val="tx1"/>
                          </a:solidFill>
                          <a:latin typeface="Calibri" panose="020F0502020204030204" pitchFamily="34" charset="0"/>
                        </a:rPr>
                        <a:t>June 20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0" i="1" dirty="0">
                          <a:solidFill>
                            <a:schemeClr val="tx1"/>
                          </a:solidFill>
                          <a:latin typeface="Calibri" panose="020F0502020204030204" pitchFamily="34" charset="0"/>
                        </a:rPr>
                        <a:t>TB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0" i="1" dirty="0">
                          <a:solidFill>
                            <a:schemeClr val="tx1"/>
                          </a:solidFill>
                          <a:latin typeface="Calibri" panose="020F0502020204030204" pitchFamily="34" charset="0"/>
                        </a:rPr>
                        <a:t>TB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71844767"/>
                  </a:ext>
                </a:extLst>
              </a:tr>
              <a:tr h="584200">
                <a:tc>
                  <a:txBody>
                    <a:bodyPr/>
                    <a:lstStyle/>
                    <a:p>
                      <a:pPr marL="119063" marR="0" lvl="0" indent="0" algn="l" defTabSz="914400" rtl="0" eaLnBrk="1" fontAlgn="auto" latinLnBrk="0" hangingPunct="1">
                        <a:lnSpc>
                          <a:spcPct val="100000"/>
                        </a:lnSpc>
                        <a:spcBef>
                          <a:spcPts val="0"/>
                        </a:spcBef>
                        <a:spcAft>
                          <a:spcPts val="0"/>
                        </a:spcAft>
                        <a:buClrTx/>
                        <a:buSzTx/>
                        <a:buFontTx/>
                        <a:buNone/>
                        <a:tabLst/>
                        <a:defRPr/>
                      </a:pPr>
                      <a:r>
                        <a:rPr lang="en-US" sz="2000" i="1" dirty="0">
                          <a:solidFill>
                            <a:schemeClr val="tx1"/>
                          </a:solidFill>
                          <a:latin typeface="Calibri" panose="020F0502020204030204" pitchFamily="34" charset="0"/>
                        </a:rPr>
                        <a:t>September 20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0" i="1" dirty="0">
                          <a:solidFill>
                            <a:schemeClr val="tx1"/>
                          </a:solidFill>
                          <a:latin typeface="Calibri" panose="020F0502020204030204" pitchFamily="34" charset="0"/>
                        </a:rPr>
                        <a:t>TB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0" i="1" dirty="0">
                          <a:solidFill>
                            <a:schemeClr val="tx1"/>
                          </a:solidFill>
                          <a:latin typeface="Calibri" panose="020F0502020204030204" pitchFamily="34" charset="0"/>
                        </a:rPr>
                        <a:t>TB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84500559"/>
                  </a:ext>
                </a:extLst>
              </a:tr>
            </a:tbl>
          </a:graphicData>
        </a:graphic>
      </p:graphicFrame>
    </p:spTree>
    <p:extLst>
      <p:ext uri="{BB962C8B-B14F-4D97-AF65-F5344CB8AC3E}">
        <p14:creationId xmlns:p14="http://schemas.microsoft.com/office/powerpoint/2010/main" val="3318444941"/>
      </p:ext>
    </p:extLst>
  </p:cSld>
  <p:clrMapOvr>
    <a:masterClrMapping/>
  </p:clrMapOvr>
  <p:transition/>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0841E-0EC5-4D3F-A792-321966BF50D8}"/>
              </a:ext>
            </a:extLst>
          </p:cNvPr>
          <p:cNvSpPr>
            <a:spLocks noGrp="1"/>
          </p:cNvSpPr>
          <p:nvPr>
            <p:ph type="title"/>
          </p:nvPr>
        </p:nvSpPr>
        <p:spPr>
          <a:xfrm>
            <a:off x="736600" y="109538"/>
            <a:ext cx="5892800" cy="762000"/>
          </a:xfrm>
        </p:spPr>
        <p:txBody>
          <a:bodyPr/>
          <a:lstStyle/>
          <a:p>
            <a:r>
              <a:rPr lang="en-US" dirty="0">
                <a:latin typeface="Calibri" panose="020F0502020204030204" pitchFamily="34" charset="0"/>
                <a:cs typeface="Calibri" panose="020F0502020204030204" pitchFamily="34" charset="0"/>
              </a:rPr>
              <a:t>Appendix A: Long-Term Housing Initiative Overview by Vendor </a:t>
            </a:r>
          </a:p>
        </p:txBody>
      </p:sp>
      <p:graphicFrame>
        <p:nvGraphicFramePr>
          <p:cNvPr id="3" name="Content Placeholder 3">
            <a:extLst>
              <a:ext uri="{FF2B5EF4-FFF2-40B4-BE49-F238E27FC236}">
                <a16:creationId xmlns:a16="http://schemas.microsoft.com/office/drawing/2014/main" id="{F1AFFBEB-CB8F-458A-B23E-2D0627E05870}"/>
              </a:ext>
            </a:extLst>
          </p:cNvPr>
          <p:cNvGraphicFramePr>
            <a:graphicFrameLocks/>
          </p:cNvGraphicFramePr>
          <p:nvPr>
            <p:extLst>
              <p:ext uri="{D42A27DB-BD31-4B8C-83A1-F6EECF244321}">
                <p14:modId xmlns:p14="http://schemas.microsoft.com/office/powerpoint/2010/main" val="691953530"/>
              </p:ext>
            </p:extLst>
          </p:nvPr>
        </p:nvGraphicFramePr>
        <p:xfrm>
          <a:off x="0" y="1059169"/>
          <a:ext cx="9144001" cy="5265431"/>
        </p:xfrm>
        <a:graphic>
          <a:graphicData uri="http://schemas.openxmlformats.org/drawingml/2006/table">
            <a:tbl>
              <a:tblPr/>
              <a:tblGrid>
                <a:gridCol w="1752600">
                  <a:extLst>
                    <a:ext uri="{9D8B030D-6E8A-4147-A177-3AD203B41FA5}">
                      <a16:colId xmlns:a16="http://schemas.microsoft.com/office/drawing/2014/main" val="1012071894"/>
                    </a:ext>
                  </a:extLst>
                </a:gridCol>
                <a:gridCol w="990600">
                  <a:extLst>
                    <a:ext uri="{9D8B030D-6E8A-4147-A177-3AD203B41FA5}">
                      <a16:colId xmlns:a16="http://schemas.microsoft.com/office/drawing/2014/main" val="3289875192"/>
                    </a:ext>
                  </a:extLst>
                </a:gridCol>
                <a:gridCol w="609600">
                  <a:extLst>
                    <a:ext uri="{9D8B030D-6E8A-4147-A177-3AD203B41FA5}">
                      <a16:colId xmlns:a16="http://schemas.microsoft.com/office/drawing/2014/main" val="1174819373"/>
                    </a:ext>
                  </a:extLst>
                </a:gridCol>
                <a:gridCol w="914400">
                  <a:extLst>
                    <a:ext uri="{9D8B030D-6E8A-4147-A177-3AD203B41FA5}">
                      <a16:colId xmlns:a16="http://schemas.microsoft.com/office/drawing/2014/main" val="1931057818"/>
                    </a:ext>
                  </a:extLst>
                </a:gridCol>
                <a:gridCol w="762000">
                  <a:extLst>
                    <a:ext uri="{9D8B030D-6E8A-4147-A177-3AD203B41FA5}">
                      <a16:colId xmlns:a16="http://schemas.microsoft.com/office/drawing/2014/main" val="1960474596"/>
                    </a:ext>
                  </a:extLst>
                </a:gridCol>
                <a:gridCol w="914400">
                  <a:extLst>
                    <a:ext uri="{9D8B030D-6E8A-4147-A177-3AD203B41FA5}">
                      <a16:colId xmlns:a16="http://schemas.microsoft.com/office/drawing/2014/main" val="2976934278"/>
                    </a:ext>
                  </a:extLst>
                </a:gridCol>
                <a:gridCol w="762000">
                  <a:extLst>
                    <a:ext uri="{9D8B030D-6E8A-4147-A177-3AD203B41FA5}">
                      <a16:colId xmlns:a16="http://schemas.microsoft.com/office/drawing/2014/main" val="2676243776"/>
                    </a:ext>
                  </a:extLst>
                </a:gridCol>
                <a:gridCol w="838200">
                  <a:extLst>
                    <a:ext uri="{9D8B030D-6E8A-4147-A177-3AD203B41FA5}">
                      <a16:colId xmlns:a16="http://schemas.microsoft.com/office/drawing/2014/main" val="729762377"/>
                    </a:ext>
                  </a:extLst>
                </a:gridCol>
                <a:gridCol w="777476">
                  <a:extLst>
                    <a:ext uri="{9D8B030D-6E8A-4147-A177-3AD203B41FA5}">
                      <a16:colId xmlns:a16="http://schemas.microsoft.com/office/drawing/2014/main" val="216693399"/>
                    </a:ext>
                  </a:extLst>
                </a:gridCol>
                <a:gridCol w="822725">
                  <a:extLst>
                    <a:ext uri="{9D8B030D-6E8A-4147-A177-3AD203B41FA5}">
                      <a16:colId xmlns:a16="http://schemas.microsoft.com/office/drawing/2014/main" val="327199948"/>
                    </a:ext>
                  </a:extLst>
                </a:gridCol>
              </a:tblGrid>
              <a:tr h="289621">
                <a:tc gridSpan="10">
                  <a:txBody>
                    <a:bodyPr/>
                    <a:lstStyle/>
                    <a:p>
                      <a:pPr marL="0" marR="0">
                        <a:spcBef>
                          <a:spcPts val="0"/>
                        </a:spcBef>
                        <a:spcAft>
                          <a:spcPts val="0"/>
                        </a:spcAft>
                      </a:pPr>
                      <a:r>
                        <a:rPr lang="en-US" sz="1800" b="1" dirty="0">
                          <a:solidFill>
                            <a:schemeClr val="bg1"/>
                          </a:solidFill>
                          <a:effectLst/>
                          <a:latin typeface="Calibri" panose="020F0502020204030204" pitchFamily="34" charset="0"/>
                        </a:rPr>
                        <a:t>Long Term Housing Vendor Overview</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hMerge="1">
                  <a:txBody>
                    <a:bodyPr/>
                    <a:lstStyle/>
                    <a:p>
                      <a:pPr marL="0" marR="0">
                        <a:spcBef>
                          <a:spcPts val="0"/>
                        </a:spcBef>
                        <a:spcAft>
                          <a:spcPts val="0"/>
                        </a:spcAft>
                      </a:pPr>
                      <a:endParaRPr lang="en-US" sz="10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hMerge="1">
                  <a:txBody>
                    <a:bodyPr/>
                    <a:lstStyle/>
                    <a:p>
                      <a:pPr marL="0" marR="0">
                        <a:spcBef>
                          <a:spcPts val="0"/>
                        </a:spcBef>
                        <a:spcAft>
                          <a:spcPts val="0"/>
                        </a:spcAft>
                      </a:pPr>
                      <a:endParaRPr lang="en-US" sz="10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hMerge="1">
                  <a:txBody>
                    <a:bodyPr/>
                    <a:lstStyle/>
                    <a:p>
                      <a:pPr marL="0" marR="0">
                        <a:spcBef>
                          <a:spcPts val="0"/>
                        </a:spcBef>
                        <a:spcAft>
                          <a:spcPts val="0"/>
                        </a:spcAft>
                      </a:pPr>
                      <a:endParaRPr lang="en-US" sz="10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hMerge="1">
                  <a:txBody>
                    <a:bodyPr/>
                    <a:lstStyle/>
                    <a:p>
                      <a:pPr marL="0" marR="0">
                        <a:spcBef>
                          <a:spcPts val="0"/>
                        </a:spcBef>
                        <a:spcAft>
                          <a:spcPts val="0"/>
                        </a:spcAft>
                      </a:pPr>
                      <a:endParaRPr lang="en-US" sz="10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hMerge="1">
                  <a:txBody>
                    <a:bodyPr/>
                    <a:lstStyle/>
                    <a:p>
                      <a:pPr marL="0" marR="0">
                        <a:spcBef>
                          <a:spcPts val="0"/>
                        </a:spcBef>
                        <a:spcAft>
                          <a:spcPts val="0"/>
                        </a:spcAft>
                      </a:pPr>
                      <a:endParaRPr lang="en-US" sz="10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hMerge="1">
                  <a:txBody>
                    <a:bodyPr/>
                    <a:lstStyle/>
                    <a:p>
                      <a:pPr marL="0" marR="0">
                        <a:spcBef>
                          <a:spcPts val="0"/>
                        </a:spcBef>
                        <a:spcAft>
                          <a:spcPts val="0"/>
                        </a:spcAft>
                      </a:pPr>
                      <a:endParaRPr lang="en-US" sz="10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hMerge="1">
                  <a:txBody>
                    <a:bodyPr/>
                    <a:lstStyle/>
                    <a:p>
                      <a:pPr marL="0" marR="0">
                        <a:spcBef>
                          <a:spcPts val="0"/>
                        </a:spcBef>
                        <a:spcAft>
                          <a:spcPts val="0"/>
                        </a:spcAft>
                      </a:pPr>
                      <a:endParaRPr lang="en-US" sz="10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hMerge="1">
                  <a:txBody>
                    <a:bodyPr/>
                    <a:lstStyle/>
                    <a:p>
                      <a:pPr marL="0" marR="0">
                        <a:spcBef>
                          <a:spcPts val="0"/>
                        </a:spcBef>
                        <a:spcAft>
                          <a:spcPts val="0"/>
                        </a:spcAft>
                      </a:pPr>
                      <a:endParaRPr lang="en-US" sz="10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hMerge="1">
                  <a:txBody>
                    <a:bodyPr/>
                    <a:lstStyle/>
                    <a:p>
                      <a:pPr marL="0" marR="0">
                        <a:spcBef>
                          <a:spcPts val="0"/>
                        </a:spcBef>
                        <a:spcAft>
                          <a:spcPts val="0"/>
                        </a:spcAft>
                      </a:pPr>
                      <a:endParaRPr lang="en-US" sz="10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410951078"/>
                  </a:ext>
                </a:extLst>
              </a:tr>
              <a:tr h="580227">
                <a:tc>
                  <a:txBody>
                    <a:bodyPr/>
                    <a:lstStyle/>
                    <a:p>
                      <a:pPr marL="0" marR="0" algn="ctr">
                        <a:spcBef>
                          <a:spcPts val="0"/>
                        </a:spcBef>
                        <a:spcAft>
                          <a:spcPts val="0"/>
                        </a:spcAft>
                      </a:pPr>
                      <a:r>
                        <a:rPr lang="en-US" sz="1200" b="1" dirty="0">
                          <a:effectLst/>
                          <a:latin typeface="Calibri" panose="020F0502020204030204" pitchFamily="34" charset="0"/>
                        </a:rPr>
                        <a:t>Vendor</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rPr>
                        <a:t>Region</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B4C6E7"/>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rPr>
                        <a:t>#Slots FY22</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rPr>
                        <a:t>FY22 Contract $</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rPr>
                        <a:t>Proposed #Slots FY23</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rPr>
                        <a:t>FY23 Proposed*</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rPr>
                        <a:t>Proposed #Slots FY24</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rPr>
                        <a:t>FY24 Proposed</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rPr>
                        <a:t>Proposed #Slots FY25</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b="1" dirty="0">
                          <a:solidFill>
                            <a:srgbClr val="000000"/>
                          </a:solidFill>
                          <a:effectLst/>
                          <a:latin typeface="Calibri" panose="020F0502020204030204" pitchFamily="34" charset="0"/>
                        </a:rPr>
                        <a:t>FY25 Proposed</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838783571"/>
                  </a:ext>
                </a:extLst>
              </a:tr>
              <a:tr h="212457">
                <a:tc>
                  <a:txBody>
                    <a:bodyPr/>
                    <a:lstStyle/>
                    <a:p>
                      <a:pPr marL="0" marR="0" algn="ctr">
                        <a:spcBef>
                          <a:spcPts val="0"/>
                        </a:spcBef>
                        <a:spcAft>
                          <a:spcPts val="0"/>
                        </a:spcAft>
                      </a:pPr>
                      <a:r>
                        <a:rPr lang="en-US" sz="1200" dirty="0">
                          <a:effectLst/>
                          <a:latin typeface="Calibri" panose="020F0502020204030204" pitchFamily="34" charset="0"/>
                        </a:rPr>
                        <a:t>Amherst Community Connections</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Calibri" panose="020F0502020204030204" pitchFamily="34" charset="0"/>
                        </a:rPr>
                        <a:t>Western</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0</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400,000</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400,00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1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400,00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4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980046168"/>
                  </a:ext>
                </a:extLst>
              </a:tr>
              <a:tr h="212457">
                <a:tc>
                  <a:txBody>
                    <a:bodyPr/>
                    <a:lstStyle/>
                    <a:p>
                      <a:pPr marL="0" marR="0" algn="ctr">
                        <a:spcBef>
                          <a:spcPts val="0"/>
                        </a:spcBef>
                        <a:spcAft>
                          <a:spcPts val="0"/>
                        </a:spcAft>
                      </a:pPr>
                      <a:r>
                        <a:rPr lang="en-US" sz="1200">
                          <a:effectLst/>
                          <a:latin typeface="Calibri" panose="020F0502020204030204" pitchFamily="34" charset="0"/>
                        </a:rPr>
                        <a:t>Center for Human Development</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Calibri" panose="020F0502020204030204" pitchFamily="34" charset="0"/>
                        </a:rPr>
                        <a:t>Western</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45</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800,000</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45</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8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45</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8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45</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1,800,00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76800180"/>
                  </a:ext>
                </a:extLst>
              </a:tr>
              <a:tr h="193080">
                <a:tc>
                  <a:txBody>
                    <a:bodyPr/>
                    <a:lstStyle/>
                    <a:p>
                      <a:pPr marL="0" marR="0" algn="ctr">
                        <a:spcBef>
                          <a:spcPts val="0"/>
                        </a:spcBef>
                        <a:spcAft>
                          <a:spcPts val="0"/>
                        </a:spcAft>
                      </a:pPr>
                      <a:r>
                        <a:rPr lang="en-US" sz="1200">
                          <a:effectLst/>
                          <a:latin typeface="Calibri" panose="020F0502020204030204" pitchFamily="34" charset="0"/>
                        </a:rPr>
                        <a:t>Commonwealth Land Trust</a:t>
                      </a:r>
                      <a:r>
                        <a:rPr lang="en-US" sz="1200" b="1">
                          <a:effectLst/>
                          <a:latin typeface="Calibri" panose="020F0502020204030204" pitchFamily="34" charset="0"/>
                        </a:rPr>
                        <a:t> </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effectLst/>
                          <a:latin typeface="Calibri" panose="020F0502020204030204" pitchFamily="34" charset="0"/>
                        </a:rPr>
                        <a:t>NE</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8</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320,000</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1</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44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12</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48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2</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480,00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579443523"/>
                  </a:ext>
                </a:extLst>
              </a:tr>
              <a:tr h="193080">
                <a:tc>
                  <a:txBody>
                    <a:bodyPr/>
                    <a:lstStyle/>
                    <a:p>
                      <a:pPr marL="0" marR="0" algn="ctr">
                        <a:spcBef>
                          <a:spcPts val="0"/>
                        </a:spcBef>
                        <a:spcAft>
                          <a:spcPts val="0"/>
                        </a:spcAft>
                      </a:pPr>
                      <a:r>
                        <a:rPr lang="en-US" sz="1200">
                          <a:effectLst/>
                          <a:latin typeface="Calibri" panose="020F0502020204030204" pitchFamily="34" charset="0"/>
                        </a:rPr>
                        <a:t>Commonwealth Land Trust </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effectLst/>
                          <a:latin typeface="Calibri" panose="020F0502020204030204" pitchFamily="34" charset="0"/>
                        </a:rPr>
                        <a:t>Boston</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30</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200,000</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3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2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3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2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3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2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982373523"/>
                  </a:ext>
                </a:extLst>
              </a:tr>
              <a:tr h="212457">
                <a:tc>
                  <a:txBody>
                    <a:bodyPr/>
                    <a:lstStyle/>
                    <a:p>
                      <a:pPr marL="0" marR="0" algn="ctr">
                        <a:spcBef>
                          <a:spcPts val="0"/>
                        </a:spcBef>
                        <a:spcAft>
                          <a:spcPts val="0"/>
                        </a:spcAft>
                      </a:pPr>
                      <a:r>
                        <a:rPr lang="en-US" sz="1200">
                          <a:effectLst/>
                          <a:latin typeface="Calibri" panose="020F0502020204030204" pitchFamily="34" charset="0"/>
                        </a:rPr>
                        <a:t>Clinical Support Options</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dirty="0">
                          <a:effectLst/>
                          <a:latin typeface="Calibri" panose="020F0502020204030204" pitchFamily="34" charset="0"/>
                        </a:rPr>
                        <a:t>Western</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70</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2,800,000</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4,0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4,0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4,0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269420309"/>
                  </a:ext>
                </a:extLst>
              </a:tr>
              <a:tr h="212457">
                <a:tc>
                  <a:txBody>
                    <a:bodyPr/>
                    <a:lstStyle/>
                    <a:p>
                      <a:pPr marL="0" marR="0" algn="ctr">
                        <a:spcBef>
                          <a:spcPts val="0"/>
                        </a:spcBef>
                        <a:spcAft>
                          <a:spcPts val="0"/>
                        </a:spcAft>
                      </a:pPr>
                      <a:r>
                        <a:rPr lang="en-US" sz="1200">
                          <a:effectLst/>
                          <a:latin typeface="Calibri" panose="020F0502020204030204" pitchFamily="34" charset="0"/>
                        </a:rPr>
                        <a:t>Eliot CHS</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effectLst/>
                          <a:latin typeface="Calibri" panose="020F0502020204030204" pitchFamily="34" charset="0"/>
                        </a:rPr>
                        <a:t>NE</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 </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 </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24</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96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52</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2,08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76</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3,04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037990769"/>
                  </a:ext>
                </a:extLst>
              </a:tr>
              <a:tr h="193080">
                <a:tc>
                  <a:txBody>
                    <a:bodyPr/>
                    <a:lstStyle/>
                    <a:p>
                      <a:pPr marL="0" marR="0" algn="ctr">
                        <a:spcBef>
                          <a:spcPts val="0"/>
                        </a:spcBef>
                        <a:spcAft>
                          <a:spcPts val="0"/>
                        </a:spcAft>
                      </a:pPr>
                      <a:r>
                        <a:rPr lang="en-US" sz="1200">
                          <a:effectLst/>
                          <a:latin typeface="Calibri" panose="020F0502020204030204" pitchFamily="34" charset="0"/>
                        </a:rPr>
                        <a:t>Father Bill’s &amp; Mainspring </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effectLst/>
                          <a:latin typeface="Calibri" panose="020F0502020204030204" pitchFamily="34" charset="0"/>
                        </a:rPr>
                        <a:t>MW, SE</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20</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800,000</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2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8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2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800,00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2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8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1909374537"/>
                  </a:ext>
                </a:extLst>
              </a:tr>
              <a:tr h="212457">
                <a:tc>
                  <a:txBody>
                    <a:bodyPr/>
                    <a:lstStyle/>
                    <a:p>
                      <a:pPr marL="0" marR="0" algn="ctr">
                        <a:spcBef>
                          <a:spcPts val="0"/>
                        </a:spcBef>
                        <a:spcAft>
                          <a:spcPts val="0"/>
                        </a:spcAft>
                      </a:pPr>
                      <a:r>
                        <a:rPr lang="en-US" sz="1200" dirty="0">
                          <a:effectLst/>
                          <a:latin typeface="Calibri" panose="020F0502020204030204" pitchFamily="34" charset="0"/>
                        </a:rPr>
                        <a:t>Health Imperatives</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effectLst/>
                          <a:latin typeface="Calibri" panose="020F0502020204030204" pitchFamily="34" charset="0"/>
                        </a:rPr>
                        <a:t>Boston</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 </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 </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4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4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400,00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99202508"/>
                  </a:ext>
                </a:extLst>
              </a:tr>
              <a:tr h="212457">
                <a:tc>
                  <a:txBody>
                    <a:bodyPr/>
                    <a:lstStyle/>
                    <a:p>
                      <a:pPr marL="0" marR="0" algn="ctr">
                        <a:spcBef>
                          <a:spcPts val="0"/>
                        </a:spcBef>
                        <a:spcAft>
                          <a:spcPts val="0"/>
                        </a:spcAft>
                      </a:pPr>
                      <a:r>
                        <a:rPr lang="en-US" sz="1200">
                          <a:effectLst/>
                          <a:latin typeface="Calibri" panose="020F0502020204030204" pitchFamily="34" charset="0"/>
                        </a:rPr>
                        <a:t>Justice Resource Institute</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effectLst/>
                          <a:latin typeface="Calibri" panose="020F0502020204030204" pitchFamily="34" charset="0"/>
                        </a:rPr>
                        <a:t>Boston</a:t>
                      </a: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24</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960,000</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3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2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3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2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3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2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715092046"/>
                  </a:ext>
                </a:extLst>
              </a:tr>
              <a:tr h="212457">
                <a:tc>
                  <a:txBody>
                    <a:bodyPr/>
                    <a:lstStyle/>
                    <a:p>
                      <a:pPr marL="0" marR="0" algn="ctr">
                        <a:spcBef>
                          <a:spcPts val="0"/>
                        </a:spcBef>
                        <a:spcAft>
                          <a:spcPts val="0"/>
                        </a:spcAft>
                      </a:pPr>
                      <a:r>
                        <a:rPr lang="en-US" sz="1200">
                          <a:effectLst/>
                          <a:latin typeface="Calibri" panose="020F0502020204030204" pitchFamily="34" charset="0"/>
                        </a:rPr>
                        <a:t>River Valley</a:t>
                      </a:r>
                      <a:r>
                        <a:rPr lang="en-US" sz="1200" b="1">
                          <a:effectLst/>
                          <a:latin typeface="Calibri" panose="020F0502020204030204" pitchFamily="34" charset="0"/>
                        </a:rPr>
                        <a:t> </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effectLst/>
                          <a:latin typeface="Calibri" panose="020F0502020204030204" pitchFamily="34" charset="0"/>
                        </a:rPr>
                        <a:t>Western</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20</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800,000</a:t>
                      </a:r>
                      <a:endParaRPr lang="en-US" sz="1200" dirty="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2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8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2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8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2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800,00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093828279"/>
                  </a:ext>
                </a:extLst>
              </a:tr>
              <a:tr h="212457">
                <a:tc>
                  <a:txBody>
                    <a:bodyPr/>
                    <a:lstStyle/>
                    <a:p>
                      <a:pPr marL="0" marR="0" algn="ctr">
                        <a:spcBef>
                          <a:spcPts val="0"/>
                        </a:spcBef>
                        <a:spcAft>
                          <a:spcPts val="0"/>
                        </a:spcAft>
                      </a:pPr>
                      <a:r>
                        <a:rPr lang="en-US" sz="1200">
                          <a:effectLst/>
                          <a:latin typeface="Calibri" panose="020F0502020204030204" pitchFamily="34" charset="0"/>
                        </a:rPr>
                        <a:t>South Middlesex Opportunity Council</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effectLst/>
                          <a:latin typeface="Calibri" panose="020F0502020204030204" pitchFamily="34" charset="0"/>
                        </a:rPr>
                        <a:t>NE/Central</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14</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560,000</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4</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56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14</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56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4</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56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596653273"/>
                  </a:ext>
                </a:extLst>
              </a:tr>
              <a:tr h="193080">
                <a:tc>
                  <a:txBody>
                    <a:bodyPr/>
                    <a:lstStyle/>
                    <a:p>
                      <a:pPr marL="0" marR="0" algn="ctr">
                        <a:spcBef>
                          <a:spcPts val="0"/>
                        </a:spcBef>
                        <a:spcAft>
                          <a:spcPts val="0"/>
                        </a:spcAft>
                      </a:pPr>
                      <a:r>
                        <a:rPr lang="en-US" sz="1200">
                          <a:effectLst/>
                          <a:latin typeface="Calibri" panose="020F0502020204030204" pitchFamily="34" charset="0"/>
                        </a:rPr>
                        <a:t>South Middlesex Opportunity Council</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effectLst/>
                          <a:latin typeface="Calibri" panose="020F0502020204030204" pitchFamily="34" charset="0"/>
                        </a:rPr>
                        <a:t>Worcester </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14</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560,000</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4</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56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14</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56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4</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56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3573708252"/>
                  </a:ext>
                </a:extLst>
              </a:tr>
              <a:tr h="193080">
                <a:tc>
                  <a:txBody>
                    <a:bodyPr/>
                    <a:lstStyle/>
                    <a:p>
                      <a:pPr marL="0" marR="0" algn="ctr">
                        <a:spcBef>
                          <a:spcPts val="0"/>
                        </a:spcBef>
                        <a:spcAft>
                          <a:spcPts val="0"/>
                        </a:spcAft>
                      </a:pPr>
                      <a:r>
                        <a:rPr lang="en-US" sz="1200">
                          <a:effectLst/>
                          <a:latin typeface="Calibri" panose="020F0502020204030204" pitchFamily="34" charset="0"/>
                        </a:rPr>
                        <a:t>South Middlesex Opportunity Council</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effectLst/>
                          <a:latin typeface="Calibri" panose="020F0502020204030204" pitchFamily="34" charset="0"/>
                        </a:rPr>
                        <a:t>Springfield </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14</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560,000</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4</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56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14</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560,00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14</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56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823844502"/>
                  </a:ext>
                </a:extLst>
              </a:tr>
              <a:tr h="193080">
                <a:tc>
                  <a:txBody>
                    <a:bodyPr/>
                    <a:lstStyle/>
                    <a:p>
                      <a:pPr marL="0" marR="0" algn="ctr">
                        <a:spcBef>
                          <a:spcPts val="0"/>
                        </a:spcBef>
                        <a:spcAft>
                          <a:spcPts val="0"/>
                        </a:spcAft>
                      </a:pPr>
                      <a:r>
                        <a:rPr lang="en-US" sz="1200">
                          <a:effectLst/>
                          <a:latin typeface="Calibri" panose="020F0502020204030204" pitchFamily="34" charset="0"/>
                        </a:rPr>
                        <a:t>Victory Programs</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effectLst/>
                          <a:latin typeface="Calibri" panose="020F0502020204030204" pitchFamily="34" charset="0"/>
                        </a:rPr>
                        <a:t>Boston</a:t>
                      </a: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30</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1,200,000</a:t>
                      </a:r>
                      <a:endParaRPr lang="en-US" sz="1200">
                        <a:effectLst/>
                        <a:latin typeface="Calibri" panose="020F0502020204030204" pitchFamily="34" charset="0"/>
                      </a:endParaRPr>
                    </a:p>
                  </a:txBody>
                  <a:tcPr marL="62452" marR="6245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3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2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3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1,200,00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3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2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27804928"/>
                  </a:ext>
                </a:extLst>
              </a:tr>
              <a:tr h="386818">
                <a:tc gridSpan="2">
                  <a:txBody>
                    <a:bodyPr/>
                    <a:lstStyle/>
                    <a:p>
                      <a:pPr marL="0" marR="0" algn="ctr">
                        <a:spcBef>
                          <a:spcPts val="0"/>
                        </a:spcBef>
                        <a:spcAft>
                          <a:spcPts val="0"/>
                        </a:spcAft>
                      </a:pPr>
                      <a:r>
                        <a:rPr lang="en-US" sz="1200" b="1" dirty="0">
                          <a:effectLst/>
                          <a:latin typeface="Calibri" panose="020F0502020204030204" pitchFamily="34" charset="0"/>
                        </a:rPr>
                        <a:t>TOTALS  </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299</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1,96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CBAD"/>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372</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4,88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401</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a:solidFill>
                            <a:srgbClr val="000000"/>
                          </a:solidFill>
                          <a:effectLst/>
                          <a:latin typeface="Calibri" panose="020F0502020204030204" pitchFamily="34" charset="0"/>
                        </a:rPr>
                        <a:t>16,040,000</a:t>
                      </a:r>
                      <a:endParaRPr lang="en-US" sz="120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425</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tc>
                  <a:txBody>
                    <a:bodyPr/>
                    <a:lstStyle/>
                    <a:p>
                      <a:pPr marL="0" marR="0" algn="ctr">
                        <a:spcBef>
                          <a:spcPts val="0"/>
                        </a:spcBef>
                        <a:spcAft>
                          <a:spcPts val="0"/>
                        </a:spcAft>
                      </a:pPr>
                      <a:r>
                        <a:rPr lang="en-US" sz="1200" dirty="0">
                          <a:solidFill>
                            <a:srgbClr val="000000"/>
                          </a:solidFill>
                          <a:effectLst/>
                          <a:latin typeface="Calibri" panose="020F0502020204030204" pitchFamily="34" charset="0"/>
                        </a:rPr>
                        <a:t>17,000,000</a:t>
                      </a:r>
                      <a:endParaRPr lang="en-US" sz="1200" dirty="0">
                        <a:effectLst/>
                        <a:latin typeface="Calibri" panose="020F0502020204030204" pitchFamily="34" charset="0"/>
                      </a:endParaRPr>
                    </a:p>
                  </a:txBody>
                  <a:tcPr marL="62452" marR="62452"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2CC"/>
                    </a:solidFill>
                  </a:tcPr>
                </a:tc>
                <a:extLst>
                  <a:ext uri="{0D108BD9-81ED-4DB2-BD59-A6C34878D82A}">
                    <a16:rowId xmlns:a16="http://schemas.microsoft.com/office/drawing/2014/main" val="4149717506"/>
                  </a:ext>
                </a:extLst>
              </a:tr>
            </a:tbl>
          </a:graphicData>
        </a:graphic>
      </p:graphicFrame>
    </p:spTree>
    <p:extLst>
      <p:ext uri="{BB962C8B-B14F-4D97-AF65-F5344CB8AC3E}">
        <p14:creationId xmlns:p14="http://schemas.microsoft.com/office/powerpoint/2010/main" val="1772551218"/>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243641" y="558140"/>
            <a:ext cx="5450306" cy="5830785"/>
          </a:xfrm>
        </p:spPr>
        <p:txBody>
          <a:bodyPr>
            <a:normAutofit fontScale="90000"/>
          </a:bodyPr>
          <a:lstStyle/>
          <a:p>
            <a:pPr marL="0" marR="0">
              <a:spcBef>
                <a:spcPts val="0"/>
              </a:spcBef>
              <a:spcAft>
                <a:spcPts val="0"/>
              </a:spcAft>
            </a:pPr>
            <a:br>
              <a:rPr lang="en-US" sz="4800" b="1" dirty="0">
                <a:latin typeface="Times New Roman" panose="02020603050405020304" pitchFamily="18" charset="0"/>
                <a:cs typeface="Times New Roman" panose="02020603050405020304" pitchFamily="18" charset="0"/>
              </a:rPr>
            </a:br>
            <a:br>
              <a:rPr lang="en-US" sz="4800" b="1" dirty="0">
                <a:latin typeface="Times New Roman" panose="02020603050405020304" pitchFamily="18" charset="0"/>
                <a:cs typeface="Times New Roman" panose="02020603050405020304" pitchFamily="18" charset="0"/>
              </a:rPr>
            </a:br>
            <a:br>
              <a:rPr lang="en-US" sz="2700" b="1" dirty="0">
                <a:latin typeface="Times New Roman" panose="02020603050405020304" pitchFamily="18" charset="0"/>
                <a:cs typeface="Times New Roman" panose="02020603050405020304" pitchFamily="18" charset="0"/>
              </a:rPr>
            </a:br>
            <a:br>
              <a:rPr lang="en-US" sz="2700" b="1" dirty="0">
                <a:latin typeface="Times New Roman" panose="02020603050405020304" pitchFamily="18" charset="0"/>
                <a:cs typeface="Times New Roman" panose="02020603050405020304" pitchFamily="18" charset="0"/>
              </a:rPr>
            </a:br>
            <a:r>
              <a:rPr lang="en-US" sz="4900" dirty="0">
                <a:latin typeface="Times New Roman" panose="02020603050405020304" pitchFamily="18" charset="0"/>
                <a:cs typeface="Times New Roman" panose="02020603050405020304" pitchFamily="18" charset="0"/>
              </a:rPr>
              <a:t>Statewide Opioid Settlement Payment Update</a:t>
            </a:r>
            <a:br>
              <a:rPr lang="en-US" sz="4900" dirty="0">
                <a:latin typeface="Times New Roman" panose="02020603050405020304" pitchFamily="18" charset="0"/>
                <a:cs typeface="Times New Roman" panose="02020603050405020304" pitchFamily="18" charset="0"/>
              </a:rPr>
            </a:br>
            <a:r>
              <a:rPr lang="en-US" sz="2700" dirty="0">
                <a:latin typeface="Times New Roman" panose="02020603050405020304" pitchFamily="18" charset="0"/>
                <a:cs typeface="Times New Roman" panose="02020603050405020304" pitchFamily="18" charset="0"/>
              </a:rPr>
              <a:t>***</a:t>
            </a:r>
            <a:br>
              <a:rPr lang="en-US" sz="2700" dirty="0">
                <a:latin typeface="Times New Roman" panose="02020603050405020304" pitchFamily="18" charset="0"/>
                <a:cs typeface="Times New Roman" panose="02020603050405020304" pitchFamily="18" charset="0"/>
              </a:rPr>
            </a:br>
            <a:r>
              <a:rPr lang="en-US" sz="3100" dirty="0">
                <a:latin typeface="Times New Roman" panose="02020603050405020304" pitchFamily="18" charset="0"/>
                <a:ea typeface="Times New Roman" panose="02020603050405020304" pitchFamily="18" charset="0"/>
                <a:cs typeface="Times New Roman" panose="02020603050405020304" pitchFamily="18" charset="0"/>
              </a:rPr>
              <a:t>Opioid Recovery and Remediation Fund Council</a:t>
            </a:r>
            <a:br>
              <a:rPr lang="en-US" sz="3100" dirty="0">
                <a:latin typeface="Times New Roman" panose="02020603050405020304" pitchFamily="18" charset="0"/>
                <a:ea typeface="Times New Roman" panose="02020603050405020304" pitchFamily="18" charset="0"/>
                <a:cs typeface="Times New Roman" panose="02020603050405020304" pitchFamily="18" charset="0"/>
              </a:rPr>
            </a:br>
            <a:r>
              <a:rPr lang="en-US" sz="3100" dirty="0">
                <a:latin typeface="Times New Roman" panose="02020603050405020304" pitchFamily="18" charset="0"/>
                <a:ea typeface="Times New Roman" panose="02020603050405020304" pitchFamily="18" charset="0"/>
                <a:cs typeface="Times New Roman" panose="02020603050405020304" pitchFamily="18" charset="0"/>
              </a:rPr>
              <a:t>October 4, 2022</a:t>
            </a:r>
            <a:br>
              <a:rPr lang="en-US" sz="2700" dirty="0">
                <a:effectLst/>
                <a:latin typeface="Times New Roman" panose="02020603050405020304" pitchFamily="18" charset="0"/>
                <a:ea typeface="Times New Roman" panose="02020603050405020304" pitchFamily="18" charset="0"/>
                <a:cs typeface="Times New Roman" panose="02020603050405020304" pitchFamily="18" charset="0"/>
              </a:rPr>
            </a:br>
            <a:r>
              <a:rPr lang="en-US" sz="2400" dirty="0">
                <a:latin typeface="Times New Roman" panose="02020603050405020304" pitchFamily="18" charset="0"/>
                <a:cs typeface="Times New Roman" panose="02020603050405020304" pitchFamily="18" charset="0"/>
              </a:rPr>
              <a:t>***</a:t>
            </a:r>
            <a:br>
              <a:rPr lang="en-US" sz="2200" dirty="0">
                <a:effectLst/>
                <a:latin typeface="Times New Roman" panose="02020603050405020304" pitchFamily="18" charset="0"/>
                <a:ea typeface="Times New Roman" panose="02020603050405020304" pitchFamily="18" charset="0"/>
                <a:cs typeface="Times New Roman" panose="02020603050405020304" pitchFamily="18" charset="0"/>
              </a:rPr>
            </a:br>
            <a:r>
              <a:rPr lang="en-US" sz="3100" dirty="0">
                <a:effectLst/>
                <a:latin typeface="Times New Roman" panose="02020603050405020304" pitchFamily="18" charset="0"/>
                <a:ea typeface="Times New Roman" panose="02020603050405020304" pitchFamily="18" charset="0"/>
                <a:cs typeface="Times New Roman" panose="02020603050405020304" pitchFamily="18" charset="0"/>
              </a:rPr>
              <a:t>Gillian Feiner </a:t>
            </a:r>
            <a:br>
              <a:rPr lang="en-US" sz="3100" dirty="0">
                <a:effectLst/>
                <a:latin typeface="Times New Roman" panose="02020603050405020304" pitchFamily="18" charset="0"/>
                <a:ea typeface="Times New Roman" panose="02020603050405020304" pitchFamily="18" charset="0"/>
                <a:cs typeface="Times New Roman" panose="02020603050405020304" pitchFamily="18" charset="0"/>
              </a:rPr>
            </a:br>
            <a:r>
              <a:rPr lang="en-US" sz="3100" dirty="0">
                <a:effectLst/>
                <a:latin typeface="Times New Roman" panose="02020603050405020304" pitchFamily="18" charset="0"/>
                <a:ea typeface="Times New Roman" panose="02020603050405020304" pitchFamily="18" charset="0"/>
                <a:cs typeface="Times New Roman" panose="02020603050405020304" pitchFamily="18" charset="0"/>
              </a:rPr>
              <a:t>Senior Enforcement Counsel </a:t>
            </a:r>
            <a:br>
              <a:rPr lang="en-US" sz="3100" dirty="0">
                <a:effectLst/>
                <a:latin typeface="Times New Roman" panose="02020603050405020304" pitchFamily="18" charset="0"/>
                <a:ea typeface="Times New Roman" panose="02020603050405020304" pitchFamily="18" charset="0"/>
                <a:cs typeface="Times New Roman" panose="02020603050405020304" pitchFamily="18" charset="0"/>
              </a:rPr>
            </a:br>
            <a:r>
              <a:rPr lang="en-US" sz="3100" dirty="0">
                <a:effectLst/>
                <a:latin typeface="Times New Roman" panose="02020603050405020304" pitchFamily="18" charset="0"/>
                <a:ea typeface="Times New Roman" panose="02020603050405020304" pitchFamily="18" charset="0"/>
                <a:cs typeface="Times New Roman" panose="02020603050405020304" pitchFamily="18" charset="0"/>
              </a:rPr>
              <a:t>Office of the Attorney General</a:t>
            </a:r>
            <a:br>
              <a:rPr lang="en-US" sz="2700" dirty="0">
                <a:effectLst/>
                <a:latin typeface="Times New Roman" panose="02020603050405020304" pitchFamily="18" charset="0"/>
                <a:ea typeface="Times New Roman" panose="02020603050405020304" pitchFamily="18" charset="0"/>
                <a:cs typeface="Times New Roman" panose="02020603050405020304" pitchFamily="18" charset="0"/>
              </a:rPr>
            </a:br>
            <a:r>
              <a:rPr lang="en-US" sz="2700" dirty="0">
                <a:effectLst/>
                <a:latin typeface="Times New Roman" panose="02020603050405020304" pitchFamily="18" charset="0"/>
                <a:ea typeface="Times New Roman" panose="02020603050405020304" pitchFamily="18" charset="0"/>
                <a:cs typeface="Times New Roman" panose="02020603050405020304" pitchFamily="18" charset="0"/>
              </a:rPr>
              <a:t> </a:t>
            </a:r>
            <a:br>
              <a:rPr lang="en-US" sz="2700" dirty="0">
                <a:effectLst/>
                <a:latin typeface="Times New Roman" panose="02020603050405020304" pitchFamily="18" charset="0"/>
                <a:ea typeface="Times New Roman" panose="02020603050405020304" pitchFamily="18" charset="0"/>
                <a:cs typeface="Times New Roman" panose="02020603050405020304" pitchFamily="18" charset="0"/>
              </a:rPr>
            </a:br>
            <a:br>
              <a:rPr lang="en-US" sz="2700" b="1" dirty="0">
                <a:effectLst/>
                <a:latin typeface="Times New Roman" panose="02020603050405020304" pitchFamily="18" charset="0"/>
                <a:ea typeface="Calibri" panose="020F0502020204030204" pitchFamily="34" charset="0"/>
                <a:cs typeface="Times New Roman" panose="02020603050405020304" pitchFamily="18" charset="0"/>
              </a:rPr>
            </a:br>
            <a:br>
              <a:rPr lang="en-US" sz="4800" b="1" dirty="0">
                <a:latin typeface="Times New Roman" panose="02020603050405020304" pitchFamily="18" charset="0"/>
                <a:cs typeface="Times New Roman" panose="02020603050405020304" pitchFamily="18" charset="0"/>
              </a:rPr>
            </a:br>
            <a:r>
              <a:rPr lang="en-US" sz="4800" b="1" dirty="0">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23129693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66CD0-B95E-4A8B-906A-14849168BD1C}"/>
              </a:ext>
            </a:extLst>
          </p:cNvPr>
          <p:cNvSpPr>
            <a:spLocks noGrp="1"/>
          </p:cNvSpPr>
          <p:nvPr>
            <p:ph type="title"/>
          </p:nvPr>
        </p:nvSpPr>
        <p:spPr/>
        <p:txBody>
          <a:bodyPr>
            <a:normAutofit fontScale="90000"/>
          </a:bodyPr>
          <a:lstStyle/>
          <a:p>
            <a:r>
              <a:rPr lang="en-US" dirty="0"/>
              <a:t>Estimated Distributor and J&amp;J Settlement Payments to ORRF</a:t>
            </a:r>
          </a:p>
        </p:txBody>
      </p:sp>
      <p:pic>
        <p:nvPicPr>
          <p:cNvPr id="9" name="Content Placeholder 8">
            <a:extLst>
              <a:ext uri="{FF2B5EF4-FFF2-40B4-BE49-F238E27FC236}">
                <a16:creationId xmlns:a16="http://schemas.microsoft.com/office/drawing/2014/main" id="{B9DFF9EE-072E-4681-B56B-26FF26AD4FAF}"/>
              </a:ext>
            </a:extLst>
          </p:cNvPr>
          <p:cNvPicPr>
            <a:picLocks noGrp="1" noChangeAspect="1"/>
          </p:cNvPicPr>
          <p:nvPr>
            <p:ph idx="1"/>
          </p:nvPr>
        </p:nvPicPr>
        <p:blipFill>
          <a:blip r:embed="rId3"/>
          <a:stretch>
            <a:fillRect/>
          </a:stretch>
        </p:blipFill>
        <p:spPr>
          <a:xfrm>
            <a:off x="544443" y="1409249"/>
            <a:ext cx="8055114" cy="5067753"/>
          </a:xfrm>
        </p:spPr>
      </p:pic>
    </p:spTree>
    <p:extLst>
      <p:ext uri="{BB962C8B-B14F-4D97-AF65-F5344CB8AC3E}">
        <p14:creationId xmlns:p14="http://schemas.microsoft.com/office/powerpoint/2010/main" val="12423211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0B4A3-6321-419E-AE01-C014D56A6D27}"/>
              </a:ext>
            </a:extLst>
          </p:cNvPr>
          <p:cNvSpPr>
            <a:spLocks noGrp="1"/>
          </p:cNvSpPr>
          <p:nvPr>
            <p:ph type="title"/>
          </p:nvPr>
        </p:nvSpPr>
        <p:spPr/>
        <p:txBody>
          <a:bodyPr>
            <a:normAutofit/>
          </a:bodyPr>
          <a:lstStyle/>
          <a:p>
            <a:r>
              <a:rPr lang="en-US" dirty="0"/>
              <a:t>2022 ORRF Deposits</a:t>
            </a:r>
          </a:p>
        </p:txBody>
      </p:sp>
      <p:sp>
        <p:nvSpPr>
          <p:cNvPr id="3" name="Content Placeholder 2">
            <a:extLst>
              <a:ext uri="{FF2B5EF4-FFF2-40B4-BE49-F238E27FC236}">
                <a16:creationId xmlns:a16="http://schemas.microsoft.com/office/drawing/2014/main" id="{486367DC-D327-4827-AF5F-CB4954AEC567}"/>
              </a:ext>
            </a:extLst>
          </p:cNvPr>
          <p:cNvSpPr>
            <a:spLocks noGrp="1"/>
          </p:cNvSpPr>
          <p:nvPr>
            <p:ph idx="1"/>
          </p:nvPr>
        </p:nvSpPr>
        <p:spPr/>
        <p:txBody>
          <a:bodyPr/>
          <a:lstStyle/>
          <a:p>
            <a:r>
              <a:rPr lang="en-US" dirty="0"/>
              <a:t>June 15:</a:t>
            </a:r>
          </a:p>
          <a:p>
            <a:pPr lvl="1"/>
            <a:r>
              <a:rPr lang="en-US" dirty="0"/>
              <a:t>$12.3M </a:t>
            </a:r>
          </a:p>
          <a:p>
            <a:r>
              <a:rPr lang="en-US" dirty="0"/>
              <a:t>September 30:</a:t>
            </a:r>
          </a:p>
          <a:p>
            <a:pPr lvl="1"/>
            <a:r>
              <a:rPr lang="en-US" dirty="0"/>
              <a:t> </a:t>
            </a:r>
            <a:r>
              <a:rPr lang="en-US" sz="2800" dirty="0">
                <a:effectLst/>
                <a:latin typeface="Calibri" panose="020F0502020204030204" pitchFamily="34" charset="0"/>
                <a:ea typeface="Times New Roman" panose="02020603050405020304" pitchFamily="18" charset="0"/>
              </a:rPr>
              <a:t>$13.9M  </a:t>
            </a:r>
            <a:endParaRPr lang="en-US" dirty="0"/>
          </a:p>
          <a:p>
            <a:r>
              <a:rPr lang="en-US" dirty="0"/>
              <a:t>October 2022 (expected):</a:t>
            </a:r>
          </a:p>
          <a:p>
            <a:pPr lvl="1"/>
            <a:r>
              <a:rPr lang="en-US" dirty="0"/>
              <a:t> $44.1M  </a:t>
            </a:r>
          </a:p>
          <a:p>
            <a:pPr marL="457200" lvl="1" indent="0">
              <a:buNone/>
            </a:pPr>
            <a:endParaRPr lang="en-US" dirty="0"/>
          </a:p>
          <a:p>
            <a:pPr marL="457200" lvl="1" indent="0">
              <a:buNone/>
            </a:pPr>
            <a:endParaRPr lang="en-US" dirty="0"/>
          </a:p>
          <a:p>
            <a:endParaRPr lang="en-US" dirty="0"/>
          </a:p>
        </p:txBody>
      </p:sp>
    </p:spTree>
    <p:extLst>
      <p:ext uri="{BB962C8B-B14F-4D97-AF65-F5344CB8AC3E}">
        <p14:creationId xmlns:p14="http://schemas.microsoft.com/office/powerpoint/2010/main" val="2509645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9A295-96B4-4A74-92E6-438982563405}"/>
              </a:ext>
            </a:extLst>
          </p:cNvPr>
          <p:cNvSpPr>
            <a:spLocks noGrp="1"/>
          </p:cNvSpPr>
          <p:nvPr>
            <p:ph type="title"/>
          </p:nvPr>
        </p:nvSpPr>
        <p:spPr>
          <a:xfrm>
            <a:off x="1752600" y="106365"/>
            <a:ext cx="6934200" cy="1143000"/>
          </a:xfrm>
        </p:spPr>
        <p:txBody>
          <a:bodyPr>
            <a:normAutofit fontScale="90000"/>
          </a:bodyPr>
          <a:lstStyle/>
          <a:p>
            <a:r>
              <a:rPr lang="en-US" dirty="0"/>
              <a:t>Estimated Mallinckrodt Payments to the ORRF</a:t>
            </a:r>
          </a:p>
        </p:txBody>
      </p:sp>
      <p:sp>
        <p:nvSpPr>
          <p:cNvPr id="24" name="Content Placeholder 23">
            <a:extLst>
              <a:ext uri="{FF2B5EF4-FFF2-40B4-BE49-F238E27FC236}">
                <a16:creationId xmlns:a16="http://schemas.microsoft.com/office/drawing/2014/main" id="{4E515CC4-E8AD-4EF1-86C9-CA06680B66BD}"/>
              </a:ext>
            </a:extLst>
          </p:cNvPr>
          <p:cNvSpPr>
            <a:spLocks noGrp="1"/>
          </p:cNvSpPr>
          <p:nvPr>
            <p:ph idx="1"/>
          </p:nvPr>
        </p:nvSpPr>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pic>
        <p:nvPicPr>
          <p:cNvPr id="7" name="Picture 6">
            <a:extLst>
              <a:ext uri="{FF2B5EF4-FFF2-40B4-BE49-F238E27FC236}">
                <a16:creationId xmlns:a16="http://schemas.microsoft.com/office/drawing/2014/main" id="{0F8E40BF-777F-4AAC-A7D1-534EA15DFBCC}"/>
              </a:ext>
            </a:extLst>
          </p:cNvPr>
          <p:cNvPicPr>
            <a:picLocks noChangeAspect="1"/>
          </p:cNvPicPr>
          <p:nvPr/>
        </p:nvPicPr>
        <p:blipFill>
          <a:blip r:embed="rId3"/>
          <a:stretch>
            <a:fillRect/>
          </a:stretch>
        </p:blipFill>
        <p:spPr>
          <a:xfrm>
            <a:off x="1130632" y="1600202"/>
            <a:ext cx="6882736" cy="4754521"/>
          </a:xfrm>
          <a:prstGeom prst="rect">
            <a:avLst/>
          </a:prstGeom>
        </p:spPr>
      </p:pic>
    </p:spTree>
    <p:extLst>
      <p:ext uri="{BB962C8B-B14F-4D97-AF65-F5344CB8AC3E}">
        <p14:creationId xmlns:p14="http://schemas.microsoft.com/office/powerpoint/2010/main" val="11663790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2C0FC-3D65-407F-8BA1-ACB926BB432D}"/>
              </a:ext>
            </a:extLst>
          </p:cNvPr>
          <p:cNvSpPr>
            <a:spLocks noGrp="1"/>
          </p:cNvSpPr>
          <p:nvPr>
            <p:ph type="title"/>
          </p:nvPr>
        </p:nvSpPr>
        <p:spPr/>
        <p:txBody>
          <a:bodyPr/>
          <a:lstStyle/>
          <a:p>
            <a:r>
              <a:rPr lang="en-US" dirty="0"/>
              <a:t>EOHHS Finance Overview of ORRF</a:t>
            </a:r>
          </a:p>
        </p:txBody>
      </p:sp>
      <p:graphicFrame>
        <p:nvGraphicFramePr>
          <p:cNvPr id="15" name="Table 14">
            <a:extLst>
              <a:ext uri="{FF2B5EF4-FFF2-40B4-BE49-F238E27FC236}">
                <a16:creationId xmlns:a16="http://schemas.microsoft.com/office/drawing/2014/main" id="{B44785D9-DFB3-4F49-999E-5E3BD18FFEEF}"/>
              </a:ext>
            </a:extLst>
          </p:cNvPr>
          <p:cNvGraphicFramePr>
            <a:graphicFrameLocks noGrp="1"/>
          </p:cNvGraphicFramePr>
          <p:nvPr>
            <p:extLst>
              <p:ext uri="{D42A27DB-BD31-4B8C-83A1-F6EECF244321}">
                <p14:modId xmlns:p14="http://schemas.microsoft.com/office/powerpoint/2010/main" val="1213654642"/>
              </p:ext>
            </p:extLst>
          </p:nvPr>
        </p:nvGraphicFramePr>
        <p:xfrm>
          <a:off x="457200" y="1600201"/>
          <a:ext cx="8229600" cy="4212519"/>
        </p:xfrm>
        <a:graphic>
          <a:graphicData uri="http://schemas.openxmlformats.org/drawingml/2006/table">
            <a:tbl>
              <a:tblPr/>
              <a:tblGrid>
                <a:gridCol w="4603511">
                  <a:extLst>
                    <a:ext uri="{9D8B030D-6E8A-4147-A177-3AD203B41FA5}">
                      <a16:colId xmlns:a16="http://schemas.microsoft.com/office/drawing/2014/main" val="3972268621"/>
                    </a:ext>
                  </a:extLst>
                </a:gridCol>
                <a:gridCol w="3626089">
                  <a:extLst>
                    <a:ext uri="{9D8B030D-6E8A-4147-A177-3AD203B41FA5}">
                      <a16:colId xmlns:a16="http://schemas.microsoft.com/office/drawing/2014/main" val="4115958818"/>
                    </a:ext>
                  </a:extLst>
                </a:gridCol>
              </a:tblGrid>
              <a:tr h="478684">
                <a:tc gridSpan="2">
                  <a:txBody>
                    <a:bodyPr/>
                    <a:lstStyle/>
                    <a:p>
                      <a:pPr algn="ctr" fontAlgn="b"/>
                      <a:r>
                        <a:rPr lang="en-US" sz="1800" b="1" i="0" u="none" strike="noStrike" dirty="0">
                          <a:solidFill>
                            <a:srgbClr val="000000"/>
                          </a:solidFill>
                          <a:effectLst/>
                          <a:latin typeface="Calibri" panose="020F0502020204030204" pitchFamily="34" charset="0"/>
                        </a:rPr>
                        <a:t>Current ORRF Revenue and Expenditure Breakdown for FY22, FY2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EA9DB"/>
                    </a:solidFill>
                  </a:tcPr>
                </a:tc>
                <a:tc hMerge="1">
                  <a:txBody>
                    <a:bodyPr/>
                    <a:lstStyle/>
                    <a:p>
                      <a:endParaRPr lang="en-US"/>
                    </a:p>
                  </a:txBody>
                  <a:tcPr/>
                </a:tc>
                <a:extLst>
                  <a:ext uri="{0D108BD9-81ED-4DB2-BD59-A6C34878D82A}">
                    <a16:rowId xmlns:a16="http://schemas.microsoft.com/office/drawing/2014/main" val="4283457876"/>
                  </a:ext>
                </a:extLst>
              </a:tr>
              <a:tr h="448414">
                <a:tc>
                  <a:txBody>
                    <a:bodyPr/>
                    <a:lstStyle/>
                    <a:p>
                      <a:pPr algn="l" fontAlgn="b"/>
                      <a:r>
                        <a:rPr lang="en-US" sz="1600" b="1" i="0" u="none" strike="noStrike">
                          <a:solidFill>
                            <a:srgbClr val="000000"/>
                          </a:solidFill>
                          <a:effectLst/>
                          <a:latin typeface="Calibri" panose="020F0502020204030204" pitchFamily="34" charset="0"/>
                        </a:rPr>
                        <a:t>Total Revenu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1" i="0" u="none" strike="noStrike" dirty="0">
                          <a:solidFill>
                            <a:srgbClr val="000000"/>
                          </a:solidFill>
                          <a:effectLst/>
                          <a:latin typeface="Calibri" panose="020F0502020204030204" pitchFamily="34" charset="0"/>
                        </a:rPr>
                        <a:t>  $                                              35,447,802.8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1258772"/>
                  </a:ext>
                </a:extLst>
              </a:tr>
              <a:tr h="448414">
                <a:tc>
                  <a:txBody>
                    <a:bodyPr/>
                    <a:lstStyle/>
                    <a:p>
                      <a:pPr algn="l" fontAlgn="b"/>
                      <a:r>
                        <a:rPr lang="en-US" sz="1600" b="0" i="0" u="none" strike="noStrike" dirty="0">
                          <a:solidFill>
                            <a:srgbClr val="000000"/>
                          </a:solidFill>
                          <a:effectLst/>
                          <a:latin typeface="Calibri" panose="020F0502020204030204" pitchFamily="34" charset="0"/>
                        </a:rPr>
                        <a:t>Expansion of Harm Reduction Programming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r" fontAlgn="ctr"/>
                      <a:r>
                        <a:rPr lang="en-US" sz="1600" b="0" i="0" u="none" strike="noStrike" dirty="0">
                          <a:solidFill>
                            <a:srgbClr val="000000"/>
                          </a:solidFill>
                          <a:effectLst/>
                          <a:latin typeface="Calibri" panose="020F0502020204030204" pitchFamily="34" charset="0"/>
                        </a:rPr>
                        <a:t> $                                                (3,4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237464865"/>
                  </a:ext>
                </a:extLst>
              </a:tr>
              <a:tr h="448414">
                <a:tc>
                  <a:txBody>
                    <a:bodyPr/>
                    <a:lstStyle/>
                    <a:p>
                      <a:pPr algn="l" fontAlgn="ctr"/>
                      <a:r>
                        <a:rPr lang="en-US" sz="1600" b="0" i="0" u="none" strike="noStrike" dirty="0">
                          <a:solidFill>
                            <a:srgbClr val="000000"/>
                          </a:solidFill>
                          <a:effectLst/>
                          <a:latin typeface="Calibri" panose="020F0502020204030204" pitchFamily="34" charset="0"/>
                        </a:rPr>
                        <a:t>Expansion of Low-Threshold Access to MOU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600" b="0" i="0" u="none" strike="noStrike" dirty="0">
                          <a:solidFill>
                            <a:srgbClr val="000000"/>
                          </a:solidFill>
                          <a:effectLst/>
                          <a:latin typeface="Calibri" panose="020F0502020204030204" pitchFamily="34" charset="0"/>
                        </a:rPr>
                        <a:t> $                                                (3,1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273962"/>
                  </a:ext>
                </a:extLst>
              </a:tr>
              <a:tr h="594937">
                <a:tc>
                  <a:txBody>
                    <a:bodyPr/>
                    <a:lstStyle/>
                    <a:p>
                      <a:pPr algn="l" fontAlgn="ctr"/>
                      <a:r>
                        <a:rPr lang="en-US" sz="1600" b="0" i="0" u="none" strike="noStrike" dirty="0">
                          <a:solidFill>
                            <a:srgbClr val="000000"/>
                          </a:solidFill>
                          <a:effectLst/>
                          <a:latin typeface="Calibri" panose="020F0502020204030204" pitchFamily="34" charset="0"/>
                        </a:rPr>
                        <a:t>Expansion of Low Barrier Housing Options and Support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r" fontAlgn="ctr"/>
                      <a:r>
                        <a:rPr lang="en-US" sz="1600" b="0" i="0" u="none" strike="noStrike" dirty="0">
                          <a:solidFill>
                            <a:srgbClr val="000000"/>
                          </a:solidFill>
                          <a:effectLst/>
                          <a:latin typeface="Calibri" panose="020F0502020204030204" pitchFamily="34" charset="0"/>
                        </a:rPr>
                        <a:t>$                                                (2,00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615591264"/>
                  </a:ext>
                </a:extLst>
              </a:tr>
              <a:tr h="448414">
                <a:tc>
                  <a:txBody>
                    <a:bodyPr/>
                    <a:lstStyle/>
                    <a:p>
                      <a:pPr algn="l" fontAlgn="b"/>
                      <a:r>
                        <a:rPr lang="en-US" sz="1600" b="0" i="0" u="none" strike="noStrike" dirty="0">
                          <a:solidFill>
                            <a:srgbClr val="000000"/>
                          </a:solidFill>
                          <a:effectLst/>
                          <a:latin typeface="Calibri" panose="020F0502020204030204" pitchFamily="34" charset="0"/>
                        </a:rPr>
                        <a:t>Community Outreach and Engagemen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                                                   (750,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5301413"/>
                  </a:ext>
                </a:extLst>
              </a:tr>
              <a:tr h="448414">
                <a:tc>
                  <a:txBody>
                    <a:bodyPr/>
                    <a:lstStyle/>
                    <a:p>
                      <a:pPr algn="l" fontAlgn="b"/>
                      <a:r>
                        <a:rPr lang="en-US" sz="1600" b="0" i="0" u="none" strike="noStrike" dirty="0">
                          <a:solidFill>
                            <a:srgbClr val="000000"/>
                          </a:solidFill>
                          <a:effectLst/>
                          <a:latin typeface="Calibri" panose="020F0502020204030204" pitchFamily="34" charset="0"/>
                        </a:rPr>
                        <a:t>Student Loan Forgiveness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600" b="0" i="0" u="none" strike="noStrike" dirty="0">
                          <a:solidFill>
                            <a:srgbClr val="000000"/>
                          </a:solidFill>
                          <a:effectLst/>
                          <a:latin typeface="Calibri" panose="020F0502020204030204" pitchFamily="34" charset="0"/>
                        </a:rPr>
                        <a:t>$                                                   (15,0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3359891"/>
                  </a:ext>
                </a:extLst>
              </a:tr>
              <a:tr h="448414">
                <a:tc>
                  <a:txBody>
                    <a:bodyPr/>
                    <a:lstStyle/>
                    <a:p>
                      <a:pPr algn="l" fontAlgn="b"/>
                      <a:r>
                        <a:rPr lang="en-US" sz="1600" b="0" i="0" u="none" strike="noStrike" dirty="0">
                          <a:solidFill>
                            <a:srgbClr val="000000"/>
                          </a:solidFill>
                          <a:effectLst/>
                          <a:latin typeface="Calibri" panose="020F0502020204030204" pitchFamily="34" charset="0"/>
                        </a:rPr>
                        <a:t>Strategic Spending Pl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b="0" i="0" u="none" strike="noStrike" dirty="0">
                          <a:solidFill>
                            <a:srgbClr val="000000"/>
                          </a:solidFill>
                          <a:effectLst/>
                          <a:latin typeface="Calibri" panose="020F0502020204030204" pitchFamily="34" charset="0"/>
                        </a:rPr>
                        <a:t>  $                                                       (432,7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3040290"/>
                  </a:ext>
                </a:extLst>
              </a:tr>
              <a:tr h="448414">
                <a:tc>
                  <a:txBody>
                    <a:bodyPr/>
                    <a:lstStyle/>
                    <a:p>
                      <a:pPr algn="l" fontAlgn="b"/>
                      <a:r>
                        <a:rPr lang="en-US" sz="1600" b="1" i="0" u="none" strike="noStrike" dirty="0">
                          <a:solidFill>
                            <a:srgbClr val="000000"/>
                          </a:solidFill>
                          <a:effectLst/>
                          <a:latin typeface="Calibri" panose="020F0502020204030204" pitchFamily="34" charset="0"/>
                        </a:rPr>
                        <a:t>Total Funding Available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b"/>
                      <a:r>
                        <a:rPr lang="en-US" sz="1600" b="1" i="0" u="none" strike="noStrike" dirty="0">
                          <a:solidFill>
                            <a:srgbClr val="000000"/>
                          </a:solidFill>
                          <a:effectLst/>
                          <a:latin typeface="Calibri" panose="020F0502020204030204" pitchFamily="34" charset="0"/>
                        </a:rPr>
                        <a:t>  $                                              10,765,102.8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693821502"/>
                  </a:ext>
                </a:extLst>
              </a:tr>
            </a:tbl>
          </a:graphicData>
        </a:graphic>
      </p:graphicFrame>
      <p:sp>
        <p:nvSpPr>
          <p:cNvPr id="5" name="TextBox 4">
            <a:extLst>
              <a:ext uri="{FF2B5EF4-FFF2-40B4-BE49-F238E27FC236}">
                <a16:creationId xmlns:a16="http://schemas.microsoft.com/office/drawing/2014/main" id="{5454EAD0-78EE-E815-1754-782A3445DEE1}"/>
              </a:ext>
            </a:extLst>
          </p:cNvPr>
          <p:cNvSpPr txBox="1"/>
          <p:nvPr/>
        </p:nvSpPr>
        <p:spPr>
          <a:xfrm>
            <a:off x="304800" y="5902877"/>
            <a:ext cx="4536819" cy="369332"/>
          </a:xfrm>
          <a:prstGeom prst="rect">
            <a:avLst/>
          </a:prstGeom>
          <a:noFill/>
        </p:spPr>
        <p:txBody>
          <a:bodyPr wrap="none" rtlCol="0">
            <a:spAutoFit/>
          </a:bodyPr>
          <a:lstStyle/>
          <a:p>
            <a:r>
              <a:rPr lang="en-US" dirty="0"/>
              <a:t>*</a:t>
            </a:r>
            <a:r>
              <a:rPr lang="en-US" sz="1100" i="1" dirty="0"/>
              <a:t>Admin costs reflect expenses related to Strategic Planning initiative</a:t>
            </a:r>
            <a:endParaRPr lang="en-US" dirty="0"/>
          </a:p>
        </p:txBody>
      </p:sp>
    </p:spTree>
    <p:extLst>
      <p:ext uri="{BB962C8B-B14F-4D97-AF65-F5344CB8AC3E}">
        <p14:creationId xmlns:p14="http://schemas.microsoft.com/office/powerpoint/2010/main" val="234710607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64715"/>
            <a:ext cx="4648200" cy="571500"/>
          </a:xfrm>
        </p:spPr>
        <p:txBody>
          <a:bodyPr anchor="ctr"/>
          <a:lstStyle/>
          <a:p>
            <a:r>
              <a:rPr lang="en-US" dirty="0"/>
              <a:t>Update on Initial Allocation for Trust Fund Dollars</a:t>
            </a:r>
          </a:p>
        </p:txBody>
      </p:sp>
      <p:sp>
        <p:nvSpPr>
          <p:cNvPr id="2" name="TextBox 1">
            <a:extLst>
              <a:ext uri="{FF2B5EF4-FFF2-40B4-BE49-F238E27FC236}">
                <a16:creationId xmlns:a16="http://schemas.microsoft.com/office/drawing/2014/main" id="{67269E66-E761-EA67-50A4-6FE88407EC50}"/>
              </a:ext>
            </a:extLst>
          </p:cNvPr>
          <p:cNvSpPr txBox="1"/>
          <p:nvPr/>
        </p:nvSpPr>
        <p:spPr>
          <a:xfrm>
            <a:off x="0" y="1066800"/>
            <a:ext cx="8991600" cy="6599755"/>
          </a:xfrm>
          <a:prstGeom prst="rect">
            <a:avLst/>
          </a:prstGeom>
          <a:noFill/>
        </p:spPr>
        <p:txBody>
          <a:bodyPr wrap="square" rtlCol="0">
            <a:spAutoFit/>
          </a:bodyPr>
          <a:lstStyle/>
          <a:p>
            <a:r>
              <a:rPr lang="en-US" b="1" u="sng" dirty="0"/>
              <a:t>Expansion of Harm Reduction Services </a:t>
            </a:r>
          </a:p>
          <a:p>
            <a:endParaRPr lang="en-US" sz="1400" b="1" u="sng" dirty="0">
              <a:latin typeface="Arial (body)"/>
            </a:endParaRPr>
          </a:p>
          <a:p>
            <a:pPr marL="342900" marR="0" lvl="0" indent="-342900">
              <a:lnSpc>
                <a:spcPct val="115000"/>
              </a:lnSpc>
              <a:spcBef>
                <a:spcPts val="0"/>
              </a:spcBef>
              <a:spcAft>
                <a:spcPts val="0"/>
              </a:spcAft>
              <a:buFont typeface="Symbol" panose="05050102010706020507" pitchFamily="18" charset="2"/>
              <a:buChar char=""/>
            </a:pPr>
            <a:r>
              <a:rPr lang="en-US" sz="1400" dirty="0">
                <a:effectLst/>
                <a:latin typeface="Arial (body)"/>
                <a:ea typeface="Calibri" panose="020F0502020204030204" pitchFamily="34" charset="0"/>
                <a:cs typeface="Times New Roman" panose="02020603050405020304" pitchFamily="18" charset="0"/>
              </a:rPr>
              <a:t>Rolled out Community Naloxone Purchasing Program allowing community-based programs to purchase naloxone through the State Office of Pharmacy Services at subsidized, public interest pricing. </a:t>
            </a:r>
          </a:p>
          <a:p>
            <a:pPr marR="0" lvl="0">
              <a:lnSpc>
                <a:spcPct val="115000"/>
              </a:lnSpc>
              <a:spcBef>
                <a:spcPts val="0"/>
              </a:spcBef>
              <a:spcAft>
                <a:spcPts val="0"/>
              </a:spcAft>
            </a:pPr>
            <a:endParaRPr lang="en-US" sz="1400" dirty="0">
              <a:effectLst/>
              <a:latin typeface="Arial (body)"/>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400" dirty="0">
                <a:effectLst/>
                <a:latin typeface="Arial (body)"/>
                <a:ea typeface="Calibri" panose="020F0502020204030204" pitchFamily="34" charset="0"/>
                <a:cs typeface="Times New Roman" panose="02020603050405020304" pitchFamily="18" charset="0"/>
              </a:rPr>
              <a:t>Developed a competitive application opportunity for existing harm reduction partners to collaborate, expand through sub-contractual arrangements with organizations that reach historically underserved populations and communities including Black, Indigenous, and people of color (BIPOC) individuals who are at high risk for experiencing overdose.</a:t>
            </a:r>
          </a:p>
          <a:p>
            <a:pPr marR="0" lvl="0">
              <a:lnSpc>
                <a:spcPct val="115000"/>
              </a:lnSpc>
              <a:spcBef>
                <a:spcPts val="0"/>
              </a:spcBef>
              <a:spcAft>
                <a:spcPts val="0"/>
              </a:spcAft>
            </a:pPr>
            <a:endParaRPr lang="en-US" sz="1400" dirty="0">
              <a:effectLst/>
              <a:latin typeface="Arial (body)"/>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1000"/>
              </a:spcAft>
              <a:buFont typeface="Symbol" panose="05050102010706020507" pitchFamily="18" charset="2"/>
              <a:buChar char=""/>
            </a:pPr>
            <a:r>
              <a:rPr lang="en-US" sz="1400" dirty="0">
                <a:effectLst/>
                <a:latin typeface="Arial (body)"/>
                <a:ea typeface="Calibri" panose="020F0502020204030204" pitchFamily="34" charset="0"/>
                <a:cs typeface="Times New Roman" panose="02020603050405020304" pitchFamily="18" charset="0"/>
              </a:rPr>
              <a:t>Increased access to fentanyl test strips by making them available at no-cost through the -newly established Massachusetts Clearinghouse </a:t>
            </a:r>
          </a:p>
          <a:p>
            <a:pPr marL="342900" marR="0" lvl="0" indent="-342900">
              <a:lnSpc>
                <a:spcPct val="115000"/>
              </a:lnSpc>
              <a:spcBef>
                <a:spcPts val="0"/>
              </a:spcBef>
              <a:spcAft>
                <a:spcPts val="1000"/>
              </a:spcAft>
              <a:buFont typeface="Symbol" panose="05050102010706020507" pitchFamily="18" charset="2"/>
              <a:buChar char=""/>
            </a:pPr>
            <a:endParaRPr lang="en-US" b="1" u="sng" dirty="0">
              <a:latin typeface="Arial (body)"/>
              <a:ea typeface="Calibri" panose="020F0502020204030204" pitchFamily="34" charset="0"/>
              <a:cs typeface="Times New Roman" panose="02020603050405020304" pitchFamily="18" charset="0"/>
            </a:endParaRPr>
          </a:p>
          <a:p>
            <a:pPr marR="0" lvl="0">
              <a:lnSpc>
                <a:spcPct val="115000"/>
              </a:lnSpc>
              <a:spcBef>
                <a:spcPts val="0"/>
              </a:spcBef>
              <a:spcAft>
                <a:spcPts val="1000"/>
              </a:spcAft>
            </a:pPr>
            <a:r>
              <a:rPr lang="en-US" b="1" u="sng" dirty="0">
                <a:effectLst/>
                <a:latin typeface="Arial (body)"/>
                <a:ea typeface="Calibri" panose="020F0502020204030204" pitchFamily="34" charset="0"/>
                <a:cs typeface="Times New Roman" panose="02020603050405020304" pitchFamily="18" charset="0"/>
              </a:rPr>
              <a:t>Increased Access to Medication for Opioid Use Disorder </a:t>
            </a:r>
          </a:p>
          <a:p>
            <a:pPr marL="342900" marR="0" lvl="0" indent="-342900">
              <a:lnSpc>
                <a:spcPct val="115000"/>
              </a:lnSpc>
              <a:spcBef>
                <a:spcPts val="0"/>
              </a:spcBef>
              <a:spcAft>
                <a:spcPts val="0"/>
              </a:spcAft>
              <a:buFont typeface="Symbol" panose="05050102010706020507" pitchFamily="18" charset="2"/>
              <a:buChar char=""/>
            </a:pPr>
            <a:r>
              <a:rPr lang="en-US" sz="1400" dirty="0">
                <a:effectLst/>
                <a:latin typeface="Arial (body)"/>
                <a:ea typeface="Calibri" panose="020F0502020204030204" pitchFamily="34" charset="0"/>
                <a:cs typeface="Times New Roman" panose="02020603050405020304" pitchFamily="18" charset="0"/>
              </a:rPr>
              <a:t>Increased access to MOUD in underserved areas through opening three new opioid treatment programs in Orange,  Holyoke, and Plymouth respectively. The addition of these two sites will build upon existing OTP expansion efforts that have yielded an increase approximately 2,000 OTP patients over the 2-year period since Covid </a:t>
            </a:r>
          </a:p>
          <a:p>
            <a:pPr marR="0" lvl="0">
              <a:lnSpc>
                <a:spcPct val="115000"/>
              </a:lnSpc>
              <a:spcBef>
                <a:spcPts val="0"/>
              </a:spcBef>
              <a:spcAft>
                <a:spcPts val="0"/>
              </a:spcAft>
            </a:pPr>
            <a:endParaRPr lang="en-US" sz="1400" dirty="0">
              <a:effectLst/>
              <a:latin typeface="Arial (body)"/>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1000"/>
              </a:spcAft>
              <a:buFont typeface="Symbol" panose="05050102010706020507" pitchFamily="18" charset="2"/>
              <a:buChar char=""/>
            </a:pPr>
            <a:r>
              <a:rPr lang="en-US" sz="1400" dirty="0">
                <a:effectLst/>
                <a:latin typeface="Arial (body)"/>
                <a:ea typeface="Calibri" panose="020F0502020204030204" pitchFamily="34" charset="0"/>
                <a:cs typeface="Times New Roman" panose="02020603050405020304" pitchFamily="18" charset="0"/>
              </a:rPr>
              <a:t>Expanded access to MOUDs by adding </a:t>
            </a:r>
            <a:r>
              <a:rPr lang="en-US" sz="1400" dirty="0">
                <a:latin typeface="Arial (body)"/>
                <a:ea typeface="Calibri" panose="020F0502020204030204" pitchFamily="34" charset="0"/>
                <a:cs typeface="Times New Roman" panose="02020603050405020304" pitchFamily="18" charset="0"/>
              </a:rPr>
              <a:t>1 </a:t>
            </a:r>
            <a:r>
              <a:rPr lang="en-US" sz="1400" dirty="0">
                <a:effectLst/>
                <a:latin typeface="Arial (body)"/>
                <a:ea typeface="Calibri" panose="020F0502020204030204" pitchFamily="34" charset="0"/>
                <a:cs typeface="Times New Roman" panose="02020603050405020304" pitchFamily="18" charset="0"/>
              </a:rPr>
              <a:t>new mobile methadone delivery program.</a:t>
            </a:r>
          </a:p>
          <a:p>
            <a:pPr marR="0" lvl="0">
              <a:lnSpc>
                <a:spcPct val="115000"/>
              </a:lnSpc>
              <a:spcBef>
                <a:spcPts val="0"/>
              </a:spcBef>
              <a:spcAft>
                <a:spcPts val="1000"/>
              </a:spcAft>
            </a:pPr>
            <a:endParaRPr lang="en-US" sz="1400" dirty="0">
              <a:effectLst/>
              <a:latin typeface="Arial (body)"/>
              <a:ea typeface="Calibri" panose="020F0502020204030204" pitchFamily="34" charset="0"/>
              <a:cs typeface="Times New Roman" panose="02020603050405020304" pitchFamily="18" charset="0"/>
            </a:endParaRPr>
          </a:p>
          <a:p>
            <a:endParaRPr lang="en-US" b="1" u="sng" dirty="0"/>
          </a:p>
        </p:txBody>
      </p:sp>
    </p:spTree>
    <p:extLst>
      <p:ext uri="{BB962C8B-B14F-4D97-AF65-F5344CB8AC3E}">
        <p14:creationId xmlns:p14="http://schemas.microsoft.com/office/powerpoint/2010/main" val="414929505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52400"/>
            <a:ext cx="4305300" cy="571500"/>
          </a:xfrm>
        </p:spPr>
        <p:txBody>
          <a:bodyPr anchor="ctr"/>
          <a:lstStyle/>
          <a:p>
            <a:r>
              <a:rPr lang="en-US" dirty="0"/>
              <a:t>Update on Initial Allocation for Trust Fund Dollars</a:t>
            </a:r>
          </a:p>
        </p:txBody>
      </p:sp>
      <p:sp>
        <p:nvSpPr>
          <p:cNvPr id="2" name="TextBox 1">
            <a:extLst>
              <a:ext uri="{FF2B5EF4-FFF2-40B4-BE49-F238E27FC236}">
                <a16:creationId xmlns:a16="http://schemas.microsoft.com/office/drawing/2014/main" id="{E3599A9D-D484-8D27-2A15-61B825B9CDD8}"/>
              </a:ext>
            </a:extLst>
          </p:cNvPr>
          <p:cNvSpPr txBox="1"/>
          <p:nvPr/>
        </p:nvSpPr>
        <p:spPr>
          <a:xfrm>
            <a:off x="0" y="1143000"/>
            <a:ext cx="8839200" cy="5154744"/>
          </a:xfrm>
          <a:prstGeom prst="rect">
            <a:avLst/>
          </a:prstGeom>
          <a:noFill/>
        </p:spPr>
        <p:txBody>
          <a:bodyPr wrap="square" rtlCol="0">
            <a:spAutoFit/>
          </a:bodyPr>
          <a:lstStyle/>
          <a:p>
            <a:r>
              <a:rPr lang="en-US" sz="1800" b="1" u="sng" dirty="0">
                <a:effectLst/>
                <a:latin typeface="Arial (body)"/>
                <a:ea typeface="Times New Roman" panose="02020603050405020304" pitchFamily="18" charset="0"/>
              </a:rPr>
              <a:t>Expansion of Supportive Housing Programs</a:t>
            </a:r>
          </a:p>
          <a:p>
            <a:endParaRPr lang="en-US" b="1" u="sng" dirty="0">
              <a:latin typeface="Arial (body)"/>
              <a:ea typeface="Times New Roman" panose="02020603050405020304" pitchFamily="18" charset="0"/>
            </a:endParaRPr>
          </a:p>
          <a:p>
            <a:pPr marL="342900" marR="0" lvl="0" indent="-342900">
              <a:lnSpc>
                <a:spcPct val="115000"/>
              </a:lnSpc>
              <a:spcBef>
                <a:spcPts val="0"/>
              </a:spcBef>
              <a:spcAft>
                <a:spcPts val="1000"/>
              </a:spcAft>
              <a:buFont typeface="Symbol" panose="05050102010706020507" pitchFamily="18" charset="2"/>
              <a:buChar char=""/>
            </a:pPr>
            <a:r>
              <a:rPr lang="en-US" sz="1800" dirty="0">
                <a:solidFill>
                  <a:srgbClr val="000000"/>
                </a:solidFill>
                <a:effectLst/>
                <a:latin typeface="Arial (body)"/>
                <a:ea typeface="Calibri" panose="020F0502020204030204" pitchFamily="34" charset="0"/>
                <a:cs typeface="Times New Roman" panose="02020603050405020304" pitchFamily="18" charset="0"/>
              </a:rPr>
              <a:t>Expanded statewide capacity of 14 providers that has resulted in a total of 380 units contracted for FY23. As of August, 233 of these units have been filled despite ongoing staffing hiring challenges. </a:t>
            </a:r>
            <a:endParaRPr lang="en-US" sz="1800" dirty="0">
              <a:effectLst/>
              <a:latin typeface="Arial (body)"/>
              <a:ea typeface="Calibri" panose="020F0502020204030204" pitchFamily="34" charset="0"/>
              <a:cs typeface="Times New Roman" panose="02020603050405020304" pitchFamily="18" charset="0"/>
            </a:endParaRPr>
          </a:p>
          <a:p>
            <a:endParaRPr lang="en-US" sz="1800" b="1" u="sng">
              <a:effectLst/>
              <a:latin typeface="Arial (body)"/>
              <a:ea typeface="Times New Roman" panose="02020603050405020304" pitchFamily="18" charset="0"/>
            </a:endParaRPr>
          </a:p>
          <a:p>
            <a:endParaRPr lang="en-US" sz="1800" b="1" u="sng" dirty="0">
              <a:effectLst/>
              <a:latin typeface="Arial (body)"/>
              <a:ea typeface="Times New Roman" panose="02020603050405020304" pitchFamily="18" charset="0"/>
            </a:endParaRPr>
          </a:p>
          <a:p>
            <a:r>
              <a:rPr lang="en-US" b="1" u="sng" dirty="0">
                <a:latin typeface="Arial (body)"/>
              </a:rPr>
              <a:t>Community Outreach and Engagement </a:t>
            </a:r>
          </a:p>
          <a:p>
            <a:endParaRPr lang="en-US" dirty="0"/>
          </a:p>
          <a:p>
            <a:pPr marL="342900" marR="0" lvl="0" indent="-342900">
              <a:lnSpc>
                <a:spcPct val="115000"/>
              </a:lnSpc>
              <a:spcBef>
                <a:spcPts val="0"/>
              </a:spcBef>
              <a:spcAft>
                <a:spcPts val="0"/>
              </a:spcAft>
              <a:buFont typeface="Symbol" panose="05050102010706020507" pitchFamily="18" charset="2"/>
              <a:buChar char=""/>
            </a:pPr>
            <a:r>
              <a:rPr lang="en-US" sz="1800" dirty="0">
                <a:effectLst/>
                <a:latin typeface="Arial (body)"/>
                <a:ea typeface="Calibri" panose="020F0502020204030204" pitchFamily="34" charset="0"/>
                <a:cs typeface="Times New Roman" panose="02020603050405020304" pitchFamily="18" charset="0"/>
              </a:rPr>
              <a:t>Conducted state and national environmental scan of community outreach programming for people who use opioids. Key findings that there is no existing community outreach model specifically for this population and that Massachusetts is on the cutting edge of innovation in this area by developing a new model</a:t>
            </a:r>
          </a:p>
          <a:p>
            <a:pPr marL="342900" marR="0" lvl="0" indent="-342900">
              <a:lnSpc>
                <a:spcPct val="115000"/>
              </a:lnSpc>
              <a:spcBef>
                <a:spcPts val="0"/>
              </a:spcBef>
              <a:spcAft>
                <a:spcPts val="1000"/>
              </a:spcAft>
              <a:buFont typeface="Symbol" panose="05050102010706020507" pitchFamily="18" charset="2"/>
              <a:buChar char=""/>
            </a:pPr>
            <a:r>
              <a:rPr lang="en-US" sz="1800" dirty="0">
                <a:effectLst/>
                <a:latin typeface="Arial (body)"/>
                <a:ea typeface="Calibri" panose="020F0502020204030204" pitchFamily="34" charset="0"/>
                <a:cs typeface="Times New Roman" panose="02020603050405020304" pitchFamily="18" charset="0"/>
              </a:rPr>
              <a:t>Finalizing a new proposed model for community outreach based off findings from landscape analysis. </a:t>
            </a:r>
          </a:p>
          <a:p>
            <a:endParaRPr lang="en-US" dirty="0"/>
          </a:p>
        </p:txBody>
      </p:sp>
    </p:spTree>
    <p:extLst>
      <p:ext uri="{BB962C8B-B14F-4D97-AF65-F5344CB8AC3E}">
        <p14:creationId xmlns:p14="http://schemas.microsoft.com/office/powerpoint/2010/main" val="410688120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2.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IO_GUID" val="9d17b555-8c43-4daf-b24f-c79a4aa4d19b"/>
  <p:tag name="MIO_EK" val="42861"/>
  <p:tag name="MIO_EKGUID" val="3b1b7961-dadc-47b3-811e-ee9a303aded2"/>
  <p:tag name="MIO_UPDATE" val="True"/>
  <p:tag name="MIO_VERSION" val="05.05.2017 17:21:48"/>
  <p:tag name="MIO_DBID" val="0996782E-0DCE-4534-9728-383C597952E9"/>
  <p:tag name="MIO_LASTDOWNLOADED" val="05.05.2017 17:21:48"/>
  <p:tag name="MIO_OBJECTNAME" val="8 Staged Timeline Business Diagram"/>
  <p:tag name="MIO_LASTEDITORNAME" val="Farnaz Habib Piran"/>
</p:tagLst>
</file>

<file path=ppt/tags/tag6.xml><?xml version="1.0" encoding="utf-8"?>
<p:tagLst xmlns:a="http://schemas.openxmlformats.org/drawingml/2006/main" xmlns:r="http://schemas.openxmlformats.org/officeDocument/2006/relationships" xmlns:p="http://schemas.openxmlformats.org/presentationml/2006/main">
  <p:tag name="MIO_GUID" val="746f0834-4386-42d5-834f-0c8ef7d66e22"/>
  <p:tag name="MIO_EK" val="42898"/>
  <p:tag name="MIO_EKGUID" val="06c19da1-00f6-4554-bb3d-374582d8a7d7"/>
  <p:tag name="MIO_UPDATE" val="True"/>
  <p:tag name="MIO_VERSION" val="05.05.2017 17:23:25"/>
  <p:tag name="MIO_DBID" val="0996782E-0DCE-4534-9728-383C597952E9"/>
  <p:tag name="MIO_LASTDOWNLOADED" val="05.05.2017 17:23:25"/>
  <p:tag name="MIO_OBJECTNAME" val="Perform Market Research"/>
  <p:tag name="MIO_LASTEDITORNAME" val="Farnaz Habib Piran"/>
</p:tagLst>
</file>

<file path=ppt/theme/theme1.xml><?xml version="1.0" encoding="utf-8"?>
<a:theme xmlns:a="http://schemas.openxmlformats.org/drawingml/2006/main" name="1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AGO PowerPoint Template 2018">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GO PowerPoint Template 2018" id="{30024D83-0ABA-4B76-AD7F-C8007E12ABDE}" vid="{D14E4917-813A-4C09-AB7B-636CD35ADF4C}"/>
    </a:ext>
  </a:extLst>
</a:theme>
</file>

<file path=ppt/theme/theme3.xml><?xml version="1.0" encoding="utf-8"?>
<a:theme xmlns:a="http://schemas.openxmlformats.org/drawingml/2006/main" name="7_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5" id="{659B43EE-7A79-4F3F-B552-6A972C0A24E4}" vid="{929CAD13-9DD4-476E-80D1-F4C35CC6156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89F930D9323CA47A909AE2CF4C9F351" ma:contentTypeVersion="5" ma:contentTypeDescription="Create a new document." ma:contentTypeScope="" ma:versionID="f426f62497805208d699a1514ea4f69b">
  <xsd:schema xmlns:xsd="http://www.w3.org/2001/XMLSchema" xmlns:xs="http://www.w3.org/2001/XMLSchema" xmlns:p="http://schemas.microsoft.com/office/2006/metadata/properties" xmlns:ns3="75b29da9-7512-4ff8-84cc-0b8e167e62a3" xmlns:ns4="32381bbe-c37a-420c-955f-414a93ed7286" targetNamespace="http://schemas.microsoft.com/office/2006/metadata/properties" ma:root="true" ma:fieldsID="eefcbc105277eb5913d03aac06e12714" ns3:_="" ns4:_="">
    <xsd:import namespace="75b29da9-7512-4ff8-84cc-0b8e167e62a3"/>
    <xsd:import namespace="32381bbe-c37a-420c-955f-414a93ed728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b29da9-7512-4ff8-84cc-0b8e167e62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2381bbe-c37a-420c-955f-414a93ed728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0859577-D92B-41F5-8B78-185056C078E2}">
  <ds:schemaRefs>
    <ds:schemaRef ds:uri="http://schemas.microsoft.com/sharepoint/v3/contenttype/forms"/>
  </ds:schemaRefs>
</ds:datastoreItem>
</file>

<file path=customXml/itemProps2.xml><?xml version="1.0" encoding="utf-8"?>
<ds:datastoreItem xmlns:ds="http://schemas.openxmlformats.org/officeDocument/2006/customXml" ds:itemID="{25110EC9-E807-419E-87EF-7101ED4FB8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b29da9-7512-4ff8-84cc-0b8e167e62a3"/>
    <ds:schemaRef ds:uri="32381bbe-c37a-420c-955f-414a93ed72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CC64E78-5E4A-48B4-830D-D7D42F0E9DA6}">
  <ds:schemaRefs>
    <ds:schemaRef ds:uri="http://purl.org/dc/elements/1.1/"/>
    <ds:schemaRef ds:uri="http://purl.org/dc/terms/"/>
    <ds:schemaRef ds:uri="32381bbe-c37a-420c-955f-414a93ed7286"/>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75b29da9-7512-4ff8-84cc-0b8e167e62a3"/>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55072</TotalTime>
  <Words>2475</Words>
  <Application>Microsoft Office PowerPoint</Application>
  <PresentationFormat>On-screen Show (4:3)</PresentationFormat>
  <Paragraphs>488</Paragraphs>
  <Slides>25</Slides>
  <Notes>15</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2</vt:i4>
      </vt:variant>
      <vt:variant>
        <vt:lpstr>Slide Titles</vt:lpstr>
      </vt:variant>
      <vt:variant>
        <vt:i4>25</vt:i4>
      </vt:variant>
    </vt:vector>
  </HeadingPairs>
  <TitlesOfParts>
    <vt:vector size="41" baseType="lpstr">
      <vt:lpstr>Arial</vt:lpstr>
      <vt:lpstr>Arial (body)</vt:lpstr>
      <vt:lpstr>Calibri</vt:lpstr>
      <vt:lpstr>Calibri Light</vt:lpstr>
      <vt:lpstr>Courier New</vt:lpstr>
      <vt:lpstr>KPMG Extralight</vt:lpstr>
      <vt:lpstr>Symbol</vt:lpstr>
      <vt:lpstr>Times New Roman</vt:lpstr>
      <vt:lpstr>TimesNewRomanPS-ItalicMT</vt:lpstr>
      <vt:lpstr>Univers 45 Light</vt:lpstr>
      <vt:lpstr>Univers for KPMG</vt:lpstr>
      <vt:lpstr>1_Blue Presentation Template - MA HHS - small logos</vt:lpstr>
      <vt:lpstr>AGO PowerPoint Template 2018</vt:lpstr>
      <vt:lpstr>7_KPMG_Widescreen_16:9 02/02/2016</vt:lpstr>
      <vt:lpstr>think-cell Slide</vt:lpstr>
      <vt:lpstr>think-cell Folie</vt:lpstr>
      <vt:lpstr>PowerPoint Presentation</vt:lpstr>
      <vt:lpstr>Agenda</vt:lpstr>
      <vt:lpstr>    Statewide Opioid Settlement Payment Update *** Opioid Recovery and Remediation Fund Council October 4, 2022 *** Gillian Feiner  Senior Enforcement Counsel  Office of the Attorney General      </vt:lpstr>
      <vt:lpstr>Estimated Distributor and J&amp;J Settlement Payments to ORRF</vt:lpstr>
      <vt:lpstr>2022 ORRF Deposits</vt:lpstr>
      <vt:lpstr>Estimated Mallinckrodt Payments to the ORRF</vt:lpstr>
      <vt:lpstr>EOHHS Finance Overview of ORRF</vt:lpstr>
      <vt:lpstr>Update on Initial Allocation for Trust Fund Dollars</vt:lpstr>
      <vt:lpstr>Update on Initial Allocation for Trust Fund Dollars</vt:lpstr>
      <vt:lpstr>PowerPoint Presentation</vt:lpstr>
      <vt:lpstr>Wellfleet/Yarmouth Mobile Methadone Van </vt:lpstr>
      <vt:lpstr>Wellfleet/Yarmouth Mobile Methadone Van </vt:lpstr>
      <vt:lpstr>HEALing Communities Study </vt:lpstr>
      <vt:lpstr>Pew Charitable Trust Report </vt:lpstr>
      <vt:lpstr>Massachusetts Executive Office of Health and Human Services  Opioid Recovery and Remediation Trust Fund (ORRF)       Eveline Van Beek,  Principal  Kyle MacDonald, Senior Associate </vt:lpstr>
      <vt:lpstr>Agenda</vt:lpstr>
      <vt:lpstr>Introduction</vt:lpstr>
      <vt:lpstr>Our journey to develop the Strategic Plan</vt:lpstr>
      <vt:lpstr>PowerPoint Presentation</vt:lpstr>
      <vt:lpstr>PowerPoint Presentation</vt:lpstr>
      <vt:lpstr>  Thank you!</vt:lpstr>
      <vt:lpstr>Appendix </vt:lpstr>
      <vt:lpstr>PowerPoint Presentation</vt:lpstr>
      <vt:lpstr>Upcoming Meetings</vt:lpstr>
      <vt:lpstr>Appendix A: Long-Term Housing Initiative Overview by Vendo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abriel.R.Cohen@MassMail.State.MA.US</dc:creator>
  <cp:lastModifiedBy>Cuddy, Josh (EHS)</cp:lastModifiedBy>
  <cp:revision>1030</cp:revision>
  <cp:lastPrinted>2022-06-28T13:39:33Z</cp:lastPrinted>
  <dcterms:created xsi:type="dcterms:W3CDTF">2014-04-27T20:43:35Z</dcterms:created>
  <dcterms:modified xsi:type="dcterms:W3CDTF">2022-09-30T17:46: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9F930D9323CA47A909AE2CF4C9F351</vt:lpwstr>
  </property>
</Properties>
</file>